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4"/>
  </p:notesMasterIdLst>
  <p:sldIdLst>
    <p:sldId id="256" r:id="rId2"/>
    <p:sldId id="269" r:id="rId3"/>
    <p:sldId id="263" r:id="rId4"/>
    <p:sldId id="343" r:id="rId5"/>
    <p:sldId id="345" r:id="rId6"/>
    <p:sldId id="346" r:id="rId7"/>
    <p:sldId id="347" r:id="rId8"/>
    <p:sldId id="348" r:id="rId9"/>
    <p:sldId id="349" r:id="rId10"/>
    <p:sldId id="350" r:id="rId11"/>
    <p:sldId id="351" r:id="rId12"/>
    <p:sldId id="344" r:id="rId1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00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Средний стиль 2 — акцент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2838BEF-8BB2-4498-84A7-C5851F593DF1}" styleName="Средний стиль 4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12" d="100"/>
          <a:sy n="112" d="100"/>
        </p:scale>
        <p:origin x="46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2AAAE8-7B63-468D-A8B5-389C68A6861F}" type="datetimeFigureOut">
              <a:rPr lang="ru-RU" smtClean="0"/>
              <a:t>21.04.2025</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847E496-87DA-4B71-9D39-4E028183BEA4}" type="slidenum">
              <a:rPr lang="ru-RU" smtClean="0"/>
              <a:t>‹#›</a:t>
            </a:fld>
            <a:endParaRPr lang="ru-RU"/>
          </a:p>
        </p:txBody>
      </p:sp>
    </p:spTree>
    <p:extLst>
      <p:ext uri="{BB962C8B-B14F-4D97-AF65-F5344CB8AC3E}">
        <p14:creationId xmlns:p14="http://schemas.microsoft.com/office/powerpoint/2010/main" val="17553116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unsplash.com/@aranxa_esteve?utm_source=unsplash&amp;utm_medium=referral&amp;utm_content=creditCopyText"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unsplash.com/s/photos/event?utm_source=unsplash&amp;utm_medium=referral&amp;utm_content=creditCopyText"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unsplash.com/@aranxa_esteve?utm_source=unsplash&amp;utm_medium=referral&amp;utm_content=creditCopyText"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unsplash.com/s/photos/event?utm_source=unsplash&amp;utm_medium=referral&amp;utm_content=creditCopyText"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unsplash.com/@aranxa_esteve?utm_source=unsplash&amp;utm_medium=referral&amp;utm_content=creditCopyText"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unsplash.com/s/photos/event?utm_source=unsplash&amp;utm_medium=referral&amp;utm_content=creditCopyText"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unsplash.com/@aranxa_esteve?utm_source=unsplash&amp;utm_medium=referral&amp;utm_content=creditCopyText"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unsplash.com/s/photos/event?utm_source=unsplash&amp;utm_medium=referral&amp;utm_content=creditCopyText"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unsplash.com/@aranxa_esteve?utm_source=unsplash&amp;utm_medium=referral&amp;utm_content=creditCopyText"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unsplash.com/s/photos/event?utm_source=unsplash&amp;utm_medium=referral&amp;utm_content=creditCopyText"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unsplash.com/@aranxa_esteve?utm_source=unsplash&amp;utm_medium=referral&amp;utm_content=creditCopyText"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unsplash.com/s/photos/event?utm_source=unsplash&amp;utm_medium=referral&amp;utm_content=creditCopyText"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unsplash.com/@aranxa_esteve?utm_source=unsplash&amp;utm_medium=referral&amp;utm_content=creditCopyText"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unsplash.com/s/photos/event?utm_source=unsplash&amp;utm_medium=referral&amp;utm_content=creditCopyText"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unsplash.com/@aranxa_esteve?utm_source=unsplash&amp;utm_medium=referral&amp;utm_content=creditCopyText"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unsplash.com/s/photos/event?utm_source=unsplash&amp;utm_medium=referral&amp;utm_content=creditCopyTex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err="1">
                <a:hlinkClick r:id="rId3"/>
              </a:rPr>
              <a:t>Aranxa</a:t>
            </a:r>
            <a:r>
              <a:rPr lang="en-US" dirty="0">
                <a:hlinkClick r:id="rId3"/>
              </a:rPr>
              <a:t> </a:t>
            </a:r>
            <a:r>
              <a:rPr lang="en-US" dirty="0" err="1">
                <a:hlinkClick r:id="rId3"/>
              </a:rPr>
              <a:t>Esteve</a:t>
            </a:r>
            <a:r>
              <a:rPr lang="en-US" dirty="0"/>
              <a:t> on </a:t>
            </a:r>
            <a:r>
              <a:rPr lang="en-US" dirty="0" err="1">
                <a:hlinkClick r:id="rId4"/>
              </a:rPr>
              <a:t>Unsplash</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t>4</a:t>
            </a:fld>
            <a:endParaRPr lang="en-ID"/>
          </a:p>
        </p:txBody>
      </p:sp>
    </p:spTree>
    <p:extLst>
      <p:ext uri="{BB962C8B-B14F-4D97-AF65-F5344CB8AC3E}">
        <p14:creationId xmlns:p14="http://schemas.microsoft.com/office/powerpoint/2010/main" val="21538346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err="1">
                <a:hlinkClick r:id="rId3"/>
              </a:rPr>
              <a:t>Aranxa</a:t>
            </a:r>
            <a:r>
              <a:rPr lang="en-US" dirty="0">
                <a:hlinkClick r:id="rId3"/>
              </a:rPr>
              <a:t> </a:t>
            </a:r>
            <a:r>
              <a:rPr lang="en-US" dirty="0" err="1">
                <a:hlinkClick r:id="rId3"/>
              </a:rPr>
              <a:t>Esteve</a:t>
            </a:r>
            <a:r>
              <a:rPr lang="en-US" dirty="0"/>
              <a:t> on </a:t>
            </a:r>
            <a:r>
              <a:rPr lang="en-US" dirty="0" err="1">
                <a:hlinkClick r:id="rId4"/>
              </a:rPr>
              <a:t>Unsplash</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t>5</a:t>
            </a:fld>
            <a:endParaRPr lang="en-ID"/>
          </a:p>
        </p:txBody>
      </p:sp>
    </p:spTree>
    <p:extLst>
      <p:ext uri="{BB962C8B-B14F-4D97-AF65-F5344CB8AC3E}">
        <p14:creationId xmlns:p14="http://schemas.microsoft.com/office/powerpoint/2010/main" val="36590185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err="1">
                <a:hlinkClick r:id="rId3"/>
              </a:rPr>
              <a:t>Aranxa</a:t>
            </a:r>
            <a:r>
              <a:rPr lang="en-US" dirty="0">
                <a:hlinkClick r:id="rId3"/>
              </a:rPr>
              <a:t> </a:t>
            </a:r>
            <a:r>
              <a:rPr lang="en-US" dirty="0" err="1">
                <a:hlinkClick r:id="rId3"/>
              </a:rPr>
              <a:t>Esteve</a:t>
            </a:r>
            <a:r>
              <a:rPr lang="en-US" dirty="0"/>
              <a:t> on </a:t>
            </a:r>
            <a:r>
              <a:rPr lang="en-US" dirty="0" err="1">
                <a:hlinkClick r:id="rId4"/>
              </a:rPr>
              <a:t>Unsplash</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t>6</a:t>
            </a:fld>
            <a:endParaRPr lang="en-ID"/>
          </a:p>
        </p:txBody>
      </p:sp>
    </p:spTree>
    <p:extLst>
      <p:ext uri="{BB962C8B-B14F-4D97-AF65-F5344CB8AC3E}">
        <p14:creationId xmlns:p14="http://schemas.microsoft.com/office/powerpoint/2010/main" val="13842962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err="1">
                <a:hlinkClick r:id="rId3"/>
              </a:rPr>
              <a:t>Aranxa</a:t>
            </a:r>
            <a:r>
              <a:rPr lang="en-US" dirty="0">
                <a:hlinkClick r:id="rId3"/>
              </a:rPr>
              <a:t> </a:t>
            </a:r>
            <a:r>
              <a:rPr lang="en-US" dirty="0" err="1">
                <a:hlinkClick r:id="rId3"/>
              </a:rPr>
              <a:t>Esteve</a:t>
            </a:r>
            <a:r>
              <a:rPr lang="en-US" dirty="0"/>
              <a:t> on </a:t>
            </a:r>
            <a:r>
              <a:rPr lang="en-US" dirty="0" err="1">
                <a:hlinkClick r:id="rId4"/>
              </a:rPr>
              <a:t>Unsplash</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t>7</a:t>
            </a:fld>
            <a:endParaRPr lang="en-ID"/>
          </a:p>
        </p:txBody>
      </p:sp>
    </p:spTree>
    <p:extLst>
      <p:ext uri="{BB962C8B-B14F-4D97-AF65-F5344CB8AC3E}">
        <p14:creationId xmlns:p14="http://schemas.microsoft.com/office/powerpoint/2010/main" val="3054914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err="1">
                <a:hlinkClick r:id="rId3"/>
              </a:rPr>
              <a:t>Aranxa</a:t>
            </a:r>
            <a:r>
              <a:rPr lang="en-US" dirty="0">
                <a:hlinkClick r:id="rId3"/>
              </a:rPr>
              <a:t> </a:t>
            </a:r>
            <a:r>
              <a:rPr lang="en-US" dirty="0" err="1">
                <a:hlinkClick r:id="rId3"/>
              </a:rPr>
              <a:t>Esteve</a:t>
            </a:r>
            <a:r>
              <a:rPr lang="en-US" dirty="0"/>
              <a:t> on </a:t>
            </a:r>
            <a:r>
              <a:rPr lang="en-US" dirty="0" err="1">
                <a:hlinkClick r:id="rId4"/>
              </a:rPr>
              <a:t>Unsplash</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t>8</a:t>
            </a:fld>
            <a:endParaRPr lang="en-ID"/>
          </a:p>
        </p:txBody>
      </p:sp>
    </p:spTree>
    <p:extLst>
      <p:ext uri="{BB962C8B-B14F-4D97-AF65-F5344CB8AC3E}">
        <p14:creationId xmlns:p14="http://schemas.microsoft.com/office/powerpoint/2010/main" val="573508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err="1">
                <a:hlinkClick r:id="rId3"/>
              </a:rPr>
              <a:t>Aranxa</a:t>
            </a:r>
            <a:r>
              <a:rPr lang="en-US" dirty="0">
                <a:hlinkClick r:id="rId3"/>
              </a:rPr>
              <a:t> </a:t>
            </a:r>
            <a:r>
              <a:rPr lang="en-US" dirty="0" err="1">
                <a:hlinkClick r:id="rId3"/>
              </a:rPr>
              <a:t>Esteve</a:t>
            </a:r>
            <a:r>
              <a:rPr lang="en-US" dirty="0"/>
              <a:t> on </a:t>
            </a:r>
            <a:r>
              <a:rPr lang="en-US" dirty="0" err="1">
                <a:hlinkClick r:id="rId4"/>
              </a:rPr>
              <a:t>Unsplash</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t>9</a:t>
            </a:fld>
            <a:endParaRPr lang="en-ID"/>
          </a:p>
        </p:txBody>
      </p:sp>
    </p:spTree>
    <p:extLst>
      <p:ext uri="{BB962C8B-B14F-4D97-AF65-F5344CB8AC3E}">
        <p14:creationId xmlns:p14="http://schemas.microsoft.com/office/powerpoint/2010/main" val="15971696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err="1">
                <a:hlinkClick r:id="rId3"/>
              </a:rPr>
              <a:t>Aranxa</a:t>
            </a:r>
            <a:r>
              <a:rPr lang="en-US" dirty="0">
                <a:hlinkClick r:id="rId3"/>
              </a:rPr>
              <a:t> </a:t>
            </a:r>
            <a:r>
              <a:rPr lang="en-US" dirty="0" err="1">
                <a:hlinkClick r:id="rId3"/>
              </a:rPr>
              <a:t>Esteve</a:t>
            </a:r>
            <a:r>
              <a:rPr lang="en-US" dirty="0"/>
              <a:t> on </a:t>
            </a:r>
            <a:r>
              <a:rPr lang="en-US" dirty="0" err="1">
                <a:hlinkClick r:id="rId4"/>
              </a:rPr>
              <a:t>Unsplash</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t>10</a:t>
            </a:fld>
            <a:endParaRPr lang="en-ID"/>
          </a:p>
        </p:txBody>
      </p:sp>
    </p:spTree>
    <p:extLst>
      <p:ext uri="{BB962C8B-B14F-4D97-AF65-F5344CB8AC3E}">
        <p14:creationId xmlns:p14="http://schemas.microsoft.com/office/powerpoint/2010/main" val="14898708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err="1">
                <a:hlinkClick r:id="rId3"/>
              </a:rPr>
              <a:t>Aranxa</a:t>
            </a:r>
            <a:r>
              <a:rPr lang="en-US" dirty="0">
                <a:hlinkClick r:id="rId3"/>
              </a:rPr>
              <a:t> </a:t>
            </a:r>
            <a:r>
              <a:rPr lang="en-US" dirty="0" err="1">
                <a:hlinkClick r:id="rId3"/>
              </a:rPr>
              <a:t>Esteve</a:t>
            </a:r>
            <a:r>
              <a:rPr lang="en-US" dirty="0"/>
              <a:t> on </a:t>
            </a:r>
            <a:r>
              <a:rPr lang="en-US" dirty="0" err="1">
                <a:hlinkClick r:id="rId4"/>
              </a:rPr>
              <a:t>Unsplash</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t>11</a:t>
            </a:fld>
            <a:endParaRPr lang="en-ID"/>
          </a:p>
        </p:txBody>
      </p:sp>
    </p:spTree>
    <p:extLst>
      <p:ext uri="{BB962C8B-B14F-4D97-AF65-F5344CB8AC3E}">
        <p14:creationId xmlns:p14="http://schemas.microsoft.com/office/powerpoint/2010/main" val="36185085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en-US" dirty="0"/>
          </a:p>
        </p:txBody>
      </p:sp>
      <p:sp>
        <p:nvSpPr>
          <p:cNvPr id="4" name="Date Placeholder 3"/>
          <p:cNvSpPr>
            <a:spLocks noGrp="1"/>
          </p:cNvSpPr>
          <p:nvPr>
            <p:ph type="dt" sz="half" idx="10"/>
          </p:nvPr>
        </p:nvSpPr>
        <p:spPr/>
        <p:txBody>
          <a:bodyPr/>
          <a:lstStyle/>
          <a:p>
            <a:fld id="{2245B34F-EC8D-454F-9882-95A213DFD72C}" type="datetimeFigureOut">
              <a:rPr lang="ru-RU" smtClean="0"/>
              <a:t>21.04.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8AD0477D-0D85-4578-B12D-54F946DDF8DB}" type="slidenum">
              <a:rPr lang="ru-RU" smtClean="0"/>
              <a:t>‹#›</a:t>
            </a:fld>
            <a:endParaRPr lang="ru-RU"/>
          </a:p>
        </p:txBody>
      </p:sp>
      <p:pic>
        <p:nvPicPr>
          <p:cNvPr id="7" name="Рисунок 6">
            <a:extLst>
              <a:ext uri="{FF2B5EF4-FFF2-40B4-BE49-F238E27FC236}">
                <a16:creationId xmlns:a16="http://schemas.microsoft.com/office/drawing/2014/main" id="{F8ECF9E6-3688-753B-007C-3E91E02854C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1934017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2245B34F-EC8D-454F-9882-95A213DFD72C}" type="datetimeFigureOut">
              <a:rPr lang="ru-RU" smtClean="0"/>
              <a:t>21.04.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8AD0477D-0D85-4578-B12D-54F946DDF8DB}" type="slidenum">
              <a:rPr lang="ru-RU" smtClean="0"/>
              <a:t>‹#›</a:t>
            </a:fld>
            <a:endParaRPr lang="ru-RU"/>
          </a:p>
        </p:txBody>
      </p:sp>
    </p:spTree>
    <p:extLst>
      <p:ext uri="{BB962C8B-B14F-4D97-AF65-F5344CB8AC3E}">
        <p14:creationId xmlns:p14="http://schemas.microsoft.com/office/powerpoint/2010/main" val="3317721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ru-RU"/>
              <a:t>Образец заголовка</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2245B34F-EC8D-454F-9882-95A213DFD72C}" type="datetimeFigureOut">
              <a:rPr lang="ru-RU" smtClean="0"/>
              <a:t>21.04.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8AD0477D-0D85-4578-B12D-54F946DDF8DB}" type="slidenum">
              <a:rPr lang="ru-RU" smtClean="0"/>
              <a:t>‹#›</a:t>
            </a:fld>
            <a:endParaRPr lang="ru-RU"/>
          </a:p>
        </p:txBody>
      </p:sp>
    </p:spTree>
    <p:extLst>
      <p:ext uri="{BB962C8B-B14F-4D97-AF65-F5344CB8AC3E}">
        <p14:creationId xmlns:p14="http://schemas.microsoft.com/office/powerpoint/2010/main" val="38626733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0E9CE6-D695-4A97-904F-0B1E0F5B2B96}"/>
              </a:ext>
            </a:extLst>
          </p:cNvPr>
          <p:cNvSpPr>
            <a:spLocks noGrp="1"/>
          </p:cNvSpPr>
          <p:nvPr>
            <p:ph idx="1"/>
          </p:nvPr>
        </p:nvSpPr>
        <p:spPr>
          <a:xfrm>
            <a:off x="619125" y="1266826"/>
            <a:ext cx="10953750" cy="4910138"/>
          </a:xfrm>
        </p:spPr>
        <p:txBody>
          <a:bodyPr lIns="0" tIns="0" rIns="0" bIns="0">
            <a:noAutofit/>
          </a:bodyPr>
          <a:lstStyle>
            <a:lvl1pPr>
              <a:defRPr sz="1600">
                <a:solidFill>
                  <a:srgbClr val="262626"/>
                </a:solidFill>
              </a:defRPr>
            </a:lvl1pPr>
            <a:lvl2pPr>
              <a:defRPr sz="1400">
                <a:solidFill>
                  <a:srgbClr val="262626"/>
                </a:solidFill>
              </a:defRPr>
            </a:lvl2pPr>
            <a:lvl3pPr>
              <a:defRPr sz="1200">
                <a:solidFill>
                  <a:srgbClr val="262626"/>
                </a:solidFill>
              </a:defRPr>
            </a:lvl3pPr>
            <a:lvl4pPr>
              <a:defRPr sz="1100">
                <a:solidFill>
                  <a:srgbClr val="262626"/>
                </a:solidFill>
              </a:defRPr>
            </a:lvl4pPr>
            <a:lvl5pPr>
              <a:defRPr sz="1100">
                <a:solidFill>
                  <a:srgbClr val="26262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5B3C9FED-4D2D-4126-A07C-F1FA222A7FE3}"/>
              </a:ext>
            </a:extLst>
          </p:cNvPr>
          <p:cNvSpPr>
            <a:spLocks noGrp="1"/>
          </p:cNvSpPr>
          <p:nvPr>
            <p:ph type="ftr" sz="quarter" idx="11"/>
          </p:nvPr>
        </p:nvSpPr>
        <p:spPr>
          <a:xfrm>
            <a:off x="1219481" y="6457949"/>
            <a:ext cx="2244725" cy="161926"/>
          </a:xfrm>
        </p:spPr>
        <p:txBody>
          <a:bodyPr lIns="0" tIns="0" rIns="0" bIns="0"/>
          <a:lstStyle>
            <a:lvl1pPr algn="l">
              <a:defRPr sz="1000"/>
            </a:lvl1pPr>
          </a:lstStyle>
          <a:p>
            <a:r>
              <a:rPr lang="en-US"/>
              <a:t>Your Footer Here</a:t>
            </a:r>
            <a:endParaRPr lang="en-US" dirty="0"/>
          </a:p>
        </p:txBody>
      </p:sp>
      <p:sp>
        <p:nvSpPr>
          <p:cNvPr id="6" name="Slide Number Placeholder 5">
            <a:extLst>
              <a:ext uri="{FF2B5EF4-FFF2-40B4-BE49-F238E27FC236}">
                <a16:creationId xmlns:a16="http://schemas.microsoft.com/office/drawing/2014/main" id="{A2A72D21-5469-4781-A0AB-F64319D6C33F}"/>
              </a:ext>
            </a:extLst>
          </p:cNvPr>
          <p:cNvSpPr>
            <a:spLocks noGrp="1"/>
          </p:cNvSpPr>
          <p:nvPr>
            <p:ph type="sldNum" sz="quarter" idx="12"/>
          </p:nvPr>
        </p:nvSpPr>
        <p:spPr>
          <a:xfrm>
            <a:off x="619126" y="6439694"/>
            <a:ext cx="354802" cy="198436"/>
          </a:xfrm>
        </p:spPr>
        <p:txBody>
          <a:bodyPr lIns="0" tIns="0" rIns="0" bIns="0"/>
          <a:lstStyle>
            <a:lvl1pPr algn="ctr">
              <a:defRPr b="1">
                <a:solidFill>
                  <a:srgbClr val="262626"/>
                </a:solidFill>
                <a:latin typeface="+mj-lt"/>
              </a:defRPr>
            </a:lvl1pPr>
          </a:lstStyle>
          <a:p>
            <a:fld id="{BC95CAA3-FD71-430B-8996-36DBD2965298}" type="slidenum">
              <a:rPr lang="en-US" smtClean="0"/>
              <a:pPr/>
              <a:t>‹#›</a:t>
            </a:fld>
            <a:endParaRPr lang="en-US" dirty="0"/>
          </a:p>
        </p:txBody>
      </p:sp>
      <p:sp>
        <p:nvSpPr>
          <p:cNvPr id="7" name="Title 1">
            <a:extLst>
              <a:ext uri="{FF2B5EF4-FFF2-40B4-BE49-F238E27FC236}">
                <a16:creationId xmlns:a16="http://schemas.microsoft.com/office/drawing/2014/main" id="{189F119F-6658-45A9-ADDC-57A5030776A8}"/>
              </a:ext>
            </a:extLst>
          </p:cNvPr>
          <p:cNvSpPr>
            <a:spLocks noGrp="1"/>
          </p:cNvSpPr>
          <p:nvPr>
            <p:ph type="ctrTitle"/>
          </p:nvPr>
        </p:nvSpPr>
        <p:spPr>
          <a:xfrm>
            <a:off x="619125" y="418306"/>
            <a:ext cx="10953750" cy="387798"/>
          </a:xfrm>
        </p:spPr>
        <p:txBody>
          <a:bodyPr lIns="0" tIns="0" rIns="0" bIns="0" anchor="t">
            <a:spAutoFit/>
          </a:bodyPr>
          <a:lstStyle>
            <a:lvl1pPr algn="l">
              <a:defRPr sz="2800" b="1">
                <a:solidFill>
                  <a:srgbClr val="262626"/>
                </a:solidFill>
                <a:latin typeface="Georgia" panose="02040502050405020303" pitchFamily="18"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1E7741CE-B5EB-4335-8494-4F6C03DB8FF6}"/>
              </a:ext>
            </a:extLst>
          </p:cNvPr>
          <p:cNvCxnSpPr>
            <a:cxnSpLocks/>
          </p:cNvCxnSpPr>
          <p:nvPr userDrawn="1"/>
        </p:nvCxnSpPr>
        <p:spPr>
          <a:xfrm>
            <a:off x="1078568" y="6423819"/>
            <a:ext cx="0" cy="230187"/>
          </a:xfrm>
          <a:prstGeom prst="line">
            <a:avLst/>
          </a:prstGeom>
          <a:ln w="12700">
            <a:solidFill>
              <a:srgbClr val="0195BC"/>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D1885A4E-075E-4165-9C5B-C21CCD151070}"/>
              </a:ext>
            </a:extLst>
          </p:cNvPr>
          <p:cNvGrpSpPr/>
          <p:nvPr userDrawn="1"/>
        </p:nvGrpSpPr>
        <p:grpSpPr>
          <a:xfrm>
            <a:off x="609600" y="957263"/>
            <a:ext cx="433388" cy="61912"/>
            <a:chOff x="609600" y="957263"/>
            <a:chExt cx="433388" cy="61912"/>
          </a:xfrm>
        </p:grpSpPr>
        <p:sp>
          <p:nvSpPr>
            <p:cNvPr id="13" name="Rectangle 12">
              <a:extLst>
                <a:ext uri="{FF2B5EF4-FFF2-40B4-BE49-F238E27FC236}">
                  <a16:creationId xmlns:a16="http://schemas.microsoft.com/office/drawing/2014/main" id="{3EECBFE9-AFDD-48DE-BF69-265B3822484E}"/>
                </a:ext>
              </a:extLst>
            </p:cNvPr>
            <p:cNvSpPr/>
            <p:nvPr userDrawn="1"/>
          </p:nvSpPr>
          <p:spPr>
            <a:xfrm rot="5400000">
              <a:off x="831057" y="807244"/>
              <a:ext cx="61912" cy="361950"/>
            </a:xfrm>
            <a:prstGeom prst="rect">
              <a:avLst/>
            </a:prstGeom>
            <a:solidFill>
              <a:srgbClr val="0195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CBBF3A5-F376-4DDC-942D-B33729206984}"/>
                </a:ext>
              </a:extLst>
            </p:cNvPr>
            <p:cNvSpPr/>
            <p:nvPr userDrawn="1"/>
          </p:nvSpPr>
          <p:spPr>
            <a:xfrm rot="5400000">
              <a:off x="614363" y="952500"/>
              <a:ext cx="61912" cy="71437"/>
            </a:xfrm>
            <a:prstGeom prst="rect">
              <a:avLst/>
            </a:prstGeom>
            <a:solidFill>
              <a:srgbClr val="246C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386770894"/>
      </p:ext>
    </p:extLst>
  </p:cSld>
  <p:clrMapOvr>
    <a:masterClrMapping/>
  </p:clrMapOvr>
  <p:extLst>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2245B34F-EC8D-454F-9882-95A213DFD72C}" type="datetimeFigureOut">
              <a:rPr lang="ru-RU" smtClean="0"/>
              <a:t>21.04.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8AD0477D-0D85-4578-B12D-54F946DDF8DB}" type="slidenum">
              <a:rPr lang="ru-RU" smtClean="0"/>
              <a:t>‹#›</a:t>
            </a:fld>
            <a:endParaRPr lang="ru-RU"/>
          </a:p>
        </p:txBody>
      </p:sp>
    </p:spTree>
    <p:extLst>
      <p:ext uri="{BB962C8B-B14F-4D97-AF65-F5344CB8AC3E}">
        <p14:creationId xmlns:p14="http://schemas.microsoft.com/office/powerpoint/2010/main" val="39838500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fld id="{2245B34F-EC8D-454F-9882-95A213DFD72C}" type="datetimeFigureOut">
              <a:rPr lang="ru-RU" smtClean="0"/>
              <a:t>21.04.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8AD0477D-0D85-4578-B12D-54F946DDF8DB}" type="slidenum">
              <a:rPr lang="ru-RU" smtClean="0"/>
              <a:t>‹#›</a:t>
            </a:fld>
            <a:endParaRPr lang="ru-RU"/>
          </a:p>
        </p:txBody>
      </p:sp>
    </p:spTree>
    <p:extLst>
      <p:ext uri="{BB962C8B-B14F-4D97-AF65-F5344CB8AC3E}">
        <p14:creationId xmlns:p14="http://schemas.microsoft.com/office/powerpoint/2010/main" val="19866798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Date Placeholder 4"/>
          <p:cNvSpPr>
            <a:spLocks noGrp="1"/>
          </p:cNvSpPr>
          <p:nvPr>
            <p:ph type="dt" sz="half" idx="10"/>
          </p:nvPr>
        </p:nvSpPr>
        <p:spPr/>
        <p:txBody>
          <a:bodyPr/>
          <a:lstStyle/>
          <a:p>
            <a:fld id="{2245B34F-EC8D-454F-9882-95A213DFD72C}" type="datetimeFigureOut">
              <a:rPr lang="ru-RU" smtClean="0"/>
              <a:t>21.04.2025</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8AD0477D-0D85-4578-B12D-54F946DDF8DB}" type="slidenum">
              <a:rPr lang="ru-RU" smtClean="0"/>
              <a:t>‹#›</a:t>
            </a:fld>
            <a:endParaRPr lang="ru-RU"/>
          </a:p>
        </p:txBody>
      </p:sp>
    </p:spTree>
    <p:extLst>
      <p:ext uri="{BB962C8B-B14F-4D97-AF65-F5344CB8AC3E}">
        <p14:creationId xmlns:p14="http://schemas.microsoft.com/office/powerpoint/2010/main" val="5968550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ru-RU"/>
              <a:t>Образец заголовка</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Content Placeholder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Content Placeholder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p:txBody>
          <a:bodyPr/>
          <a:lstStyle/>
          <a:p>
            <a:fld id="{2245B34F-EC8D-454F-9882-95A213DFD72C}" type="datetimeFigureOut">
              <a:rPr lang="ru-RU" smtClean="0"/>
              <a:t>21.04.2025</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8AD0477D-0D85-4578-B12D-54F946DDF8DB}" type="slidenum">
              <a:rPr lang="ru-RU" smtClean="0"/>
              <a:t>‹#›</a:t>
            </a:fld>
            <a:endParaRPr lang="ru-RU"/>
          </a:p>
        </p:txBody>
      </p:sp>
    </p:spTree>
    <p:extLst>
      <p:ext uri="{BB962C8B-B14F-4D97-AF65-F5344CB8AC3E}">
        <p14:creationId xmlns:p14="http://schemas.microsoft.com/office/powerpoint/2010/main" val="39178855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Date Placeholder 2"/>
          <p:cNvSpPr>
            <a:spLocks noGrp="1"/>
          </p:cNvSpPr>
          <p:nvPr>
            <p:ph type="dt" sz="half" idx="10"/>
          </p:nvPr>
        </p:nvSpPr>
        <p:spPr/>
        <p:txBody>
          <a:bodyPr/>
          <a:lstStyle/>
          <a:p>
            <a:fld id="{2245B34F-EC8D-454F-9882-95A213DFD72C}" type="datetimeFigureOut">
              <a:rPr lang="ru-RU" smtClean="0"/>
              <a:t>21.04.2025</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8AD0477D-0D85-4578-B12D-54F946DDF8DB}" type="slidenum">
              <a:rPr lang="ru-RU" smtClean="0"/>
              <a:t>‹#›</a:t>
            </a:fld>
            <a:endParaRPr lang="ru-RU"/>
          </a:p>
        </p:txBody>
      </p:sp>
    </p:spTree>
    <p:extLst>
      <p:ext uri="{BB962C8B-B14F-4D97-AF65-F5344CB8AC3E}">
        <p14:creationId xmlns:p14="http://schemas.microsoft.com/office/powerpoint/2010/main" val="2055409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245B34F-EC8D-454F-9882-95A213DFD72C}" type="datetimeFigureOut">
              <a:rPr lang="ru-RU" smtClean="0"/>
              <a:t>21.04.2025</a:t>
            </a:fld>
            <a:endParaRPr lang="ru-RU"/>
          </a:p>
        </p:txBody>
      </p:sp>
      <p:sp>
        <p:nvSpPr>
          <p:cNvPr id="3" name="Footer Placeholder 2"/>
          <p:cNvSpPr>
            <a:spLocks noGrp="1"/>
          </p:cNvSpPr>
          <p:nvPr>
            <p:ph type="ftr" sz="quarter" idx="11"/>
          </p:nvPr>
        </p:nvSpPr>
        <p:spPr/>
        <p:txBody>
          <a:bodyPr/>
          <a:lstStyle/>
          <a:p>
            <a:endParaRPr lang="ru-RU"/>
          </a:p>
        </p:txBody>
      </p:sp>
      <p:sp>
        <p:nvSpPr>
          <p:cNvPr id="4" name="Slide Number Placeholder 3"/>
          <p:cNvSpPr>
            <a:spLocks noGrp="1"/>
          </p:cNvSpPr>
          <p:nvPr>
            <p:ph type="sldNum" sz="quarter" idx="12"/>
          </p:nvPr>
        </p:nvSpPr>
        <p:spPr/>
        <p:txBody>
          <a:bodyPr/>
          <a:lstStyle/>
          <a:p>
            <a:fld id="{8AD0477D-0D85-4578-B12D-54F946DDF8DB}" type="slidenum">
              <a:rPr lang="ru-RU" smtClean="0"/>
              <a:t>‹#›</a:t>
            </a:fld>
            <a:endParaRPr lang="ru-RU"/>
          </a:p>
        </p:txBody>
      </p:sp>
    </p:spTree>
    <p:extLst>
      <p:ext uri="{BB962C8B-B14F-4D97-AF65-F5344CB8AC3E}">
        <p14:creationId xmlns:p14="http://schemas.microsoft.com/office/powerpoint/2010/main" val="7741047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fld id="{2245B34F-EC8D-454F-9882-95A213DFD72C}" type="datetimeFigureOut">
              <a:rPr lang="ru-RU" smtClean="0"/>
              <a:t>21.04.2025</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8AD0477D-0D85-4578-B12D-54F946DDF8DB}" type="slidenum">
              <a:rPr lang="ru-RU" smtClean="0"/>
              <a:t>‹#›</a:t>
            </a:fld>
            <a:endParaRPr lang="ru-RU"/>
          </a:p>
        </p:txBody>
      </p:sp>
    </p:spTree>
    <p:extLst>
      <p:ext uri="{BB962C8B-B14F-4D97-AF65-F5344CB8AC3E}">
        <p14:creationId xmlns:p14="http://schemas.microsoft.com/office/powerpoint/2010/main" val="37525333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a:t>Вставка рисунка</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fld id="{2245B34F-EC8D-454F-9882-95A213DFD72C}" type="datetimeFigureOut">
              <a:rPr lang="ru-RU" smtClean="0"/>
              <a:t>21.04.2025</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8AD0477D-0D85-4578-B12D-54F946DDF8DB}" type="slidenum">
              <a:rPr lang="ru-RU" smtClean="0"/>
              <a:t>‹#›</a:t>
            </a:fld>
            <a:endParaRPr lang="ru-RU"/>
          </a:p>
        </p:txBody>
      </p:sp>
    </p:spTree>
    <p:extLst>
      <p:ext uri="{BB962C8B-B14F-4D97-AF65-F5344CB8AC3E}">
        <p14:creationId xmlns:p14="http://schemas.microsoft.com/office/powerpoint/2010/main" val="18166706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245B34F-EC8D-454F-9882-95A213DFD72C}" type="datetimeFigureOut">
              <a:rPr lang="ru-RU" smtClean="0"/>
              <a:t>21.04.2025</a:t>
            </a:fld>
            <a:endParaRPr lang="ru-RU"/>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D0477D-0D85-4578-B12D-54F946DDF8DB}" type="slidenum">
              <a:rPr lang="ru-RU" smtClean="0"/>
              <a:t>‹#›</a:t>
            </a:fld>
            <a:endParaRPr lang="ru-RU"/>
          </a:p>
        </p:txBody>
      </p:sp>
      <p:pic>
        <p:nvPicPr>
          <p:cNvPr id="7" name="Рисунок 6">
            <a:extLst>
              <a:ext uri="{FF2B5EF4-FFF2-40B4-BE49-F238E27FC236}">
                <a16:creationId xmlns:a16="http://schemas.microsoft.com/office/drawing/2014/main" id="{FBD00361-EBC7-DECE-924E-A352141CC504}"/>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1638798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4.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1.bin"/><Relationship Id="rId5" Type="http://schemas.openxmlformats.org/officeDocument/2006/relationships/notesSlide" Target="../notesSlides/notesSlide7.xml"/><Relationship Id="rId4"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1.bin"/><Relationship Id="rId5" Type="http://schemas.openxmlformats.org/officeDocument/2006/relationships/notesSlide" Target="../notesSlides/notesSlide8.xml"/><Relationship Id="rId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6.xml"/><Relationship Id="rId9"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4.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1.bin"/><Relationship Id="rId5" Type="http://schemas.openxmlformats.org/officeDocument/2006/relationships/notesSlide" Target="../notesSlides/notesSlide4.xml"/><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4.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1.bin"/><Relationship Id="rId5" Type="http://schemas.openxmlformats.org/officeDocument/2006/relationships/notesSlide" Target="../notesSlides/notesSlide5.xml"/><Relationship Id="rId4"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4.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1.bin"/><Relationship Id="rId5" Type="http://schemas.openxmlformats.org/officeDocument/2006/relationships/notesSlide" Target="../notesSlides/notesSlide6.xml"/><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Прямоугольник 7">
            <a:extLst>
              <a:ext uri="{FF2B5EF4-FFF2-40B4-BE49-F238E27FC236}">
                <a16:creationId xmlns:a16="http://schemas.microsoft.com/office/drawing/2014/main" id="{BCFD761A-2121-4445-93A1-726583200360}"/>
              </a:ext>
            </a:extLst>
          </p:cNvPr>
          <p:cNvSpPr/>
          <p:nvPr/>
        </p:nvSpPr>
        <p:spPr>
          <a:xfrm>
            <a:off x="697095" y="2608094"/>
            <a:ext cx="10797810" cy="1768980"/>
          </a:xfrm>
          <a:prstGeom prst="rect">
            <a:avLst/>
          </a:prstGeom>
          <a:scene3d>
            <a:camera prst="orthographicFront"/>
            <a:lightRig rig="threePt" dir="t"/>
          </a:scene3d>
          <a:sp3d>
            <a:bevelT w="152400" h="50800" prst="softRound"/>
          </a:sp3d>
        </p:spPr>
        <p:style>
          <a:lnRef idx="0">
            <a:schemeClr val="accent1"/>
          </a:lnRef>
          <a:fillRef idx="3">
            <a:schemeClr val="accent1"/>
          </a:fillRef>
          <a:effectRef idx="3">
            <a:schemeClr val="accent1"/>
          </a:effectRef>
          <a:fontRef idx="minor">
            <a:schemeClr val="lt1"/>
          </a:fontRef>
        </p:style>
        <p:txBody>
          <a:bodyPr rtlCol="0" anchor="ctr"/>
          <a:lstStyle/>
          <a:p>
            <a:pPr algn="ctr"/>
            <a:r>
              <a:rPr lang="uz-Cyrl-UZ" sz="3600" b="1" dirty="0">
                <a:latin typeface="Times New Roman" panose="02020603050405020304" pitchFamily="18" charset="0"/>
                <a:cs typeface="Times New Roman" panose="02020603050405020304" pitchFamily="18" charset="0"/>
              </a:rPr>
              <a:t>ТАЛАБАЛАРНИНГ ИЖТИМОИЙ ФАОЛЛИГИНИ БАҲОЛАШ МЕХАНИЗМИНИ ЖОРИЙ ЭТИШ</a:t>
            </a:r>
            <a:endParaRPr lang="ru-RU" sz="3600" dirty="0">
              <a:latin typeface="Times New Roman" panose="02020603050405020304" pitchFamily="18" charset="0"/>
              <a:cs typeface="Times New Roman" panose="02020603050405020304" pitchFamily="18" charset="0"/>
            </a:endParaRPr>
          </a:p>
        </p:txBody>
      </p:sp>
      <p:pic>
        <p:nvPicPr>
          <p:cNvPr id="2050" name="Picture 2" descr="error logo"/>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5161660" y="214630"/>
            <a:ext cx="2087146" cy="20504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17032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17B9E7-01E9-42D5-8F5D-E014825C78C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6" imgW="351" imgH="351" progId="TCLayout.ActiveDocument.1">
                  <p:embed/>
                </p:oleObj>
              </mc:Choice>
              <mc:Fallback>
                <p:oleObj name="think-cell Slide" r:id="rId6" imgW="351" imgH="351" progId="TCLayout.ActiveDocument.1">
                  <p:embed/>
                  <p:pic>
                    <p:nvPicPr>
                      <p:cNvPr id="4" name="Object 3" hidden="1">
                        <a:extLst>
                          <a:ext uri="{FF2B5EF4-FFF2-40B4-BE49-F238E27FC236}">
                            <a16:creationId xmlns:a16="http://schemas.microsoft.com/office/drawing/2014/main" id="{BD17B9E7-01E9-42D5-8F5D-E014825C78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27F9D39-406C-47E5-89D6-F081726E66A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7021FE75-C335-4112-9A8E-80A794B675BF}"/>
              </a:ext>
            </a:extLst>
          </p:cNvPr>
          <p:cNvSpPr>
            <a:spLocks noGrp="1"/>
          </p:cNvSpPr>
          <p:nvPr>
            <p:ph type="title"/>
          </p:nvPr>
        </p:nvSpPr>
        <p:spPr/>
        <p:txBody>
          <a:bodyPr/>
          <a:lstStyle/>
          <a:p>
            <a:r>
              <a:rPr lang="ru-RU" b="1" dirty="0" err="1" smtClean="0"/>
              <a:t>Баҳолаш</a:t>
            </a:r>
            <a:r>
              <a:rPr lang="ru-RU" b="1" dirty="0" smtClean="0"/>
              <a:t> </a:t>
            </a:r>
            <a:r>
              <a:rPr lang="ru-RU" b="1" dirty="0" err="1" smtClean="0"/>
              <a:t>механизмлари</a:t>
            </a:r>
            <a:endParaRPr lang="en-ID" b="1" dirty="0"/>
          </a:p>
        </p:txBody>
      </p:sp>
      <p:sp>
        <p:nvSpPr>
          <p:cNvPr id="25" name="TextBox 24">
            <a:extLst>
              <a:ext uri="{FF2B5EF4-FFF2-40B4-BE49-F238E27FC236}">
                <a16:creationId xmlns:a16="http://schemas.microsoft.com/office/drawing/2014/main" id="{D98FD0C8-9116-4132-BDF9-A5186FAADD1A}"/>
              </a:ext>
            </a:extLst>
          </p:cNvPr>
          <p:cNvSpPr txBox="1"/>
          <p:nvPr/>
        </p:nvSpPr>
        <p:spPr>
          <a:xfrm>
            <a:off x="6675211" y="2234683"/>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1</a:t>
            </a:r>
          </a:p>
        </p:txBody>
      </p:sp>
      <p:sp>
        <p:nvSpPr>
          <p:cNvPr id="26" name="TextBox 25">
            <a:extLst>
              <a:ext uri="{FF2B5EF4-FFF2-40B4-BE49-F238E27FC236}">
                <a16:creationId xmlns:a16="http://schemas.microsoft.com/office/drawing/2014/main" id="{03A486F9-D21F-43F2-9267-47B6ACAB3897}"/>
              </a:ext>
            </a:extLst>
          </p:cNvPr>
          <p:cNvSpPr txBox="1"/>
          <p:nvPr/>
        </p:nvSpPr>
        <p:spPr>
          <a:xfrm>
            <a:off x="6675211" y="5015985"/>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3</a:t>
            </a:r>
          </a:p>
        </p:txBody>
      </p:sp>
      <p:sp>
        <p:nvSpPr>
          <p:cNvPr id="27" name="TextBox 26">
            <a:extLst>
              <a:ext uri="{FF2B5EF4-FFF2-40B4-BE49-F238E27FC236}">
                <a16:creationId xmlns:a16="http://schemas.microsoft.com/office/drawing/2014/main" id="{EEA6E1D3-5C3B-4863-9561-7D0C513D65C2}"/>
              </a:ext>
            </a:extLst>
          </p:cNvPr>
          <p:cNvSpPr txBox="1"/>
          <p:nvPr/>
        </p:nvSpPr>
        <p:spPr>
          <a:xfrm>
            <a:off x="7232195" y="3625334"/>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2</a:t>
            </a:r>
          </a:p>
        </p:txBody>
      </p:sp>
      <p:graphicFrame>
        <p:nvGraphicFramePr>
          <p:cNvPr id="6" name="Таблица 5"/>
          <p:cNvGraphicFramePr>
            <a:graphicFrameLocks noGrp="1"/>
          </p:cNvGraphicFramePr>
          <p:nvPr/>
        </p:nvGraphicFramePr>
        <p:xfrm>
          <a:off x="1136015" y="1832610"/>
          <a:ext cx="9919970" cy="4088892"/>
        </p:xfrm>
        <a:graphic>
          <a:graphicData uri="http://schemas.openxmlformats.org/drawingml/2006/table">
            <a:tbl>
              <a:tblPr firstRow="1" firstCol="1" bandRow="1">
                <a:tableStyleId>{5C22544A-7EE6-4342-B048-85BDC9FD1C3A}</a:tableStyleId>
              </a:tblPr>
              <a:tblGrid>
                <a:gridCol w="339090">
                  <a:extLst>
                    <a:ext uri="{9D8B030D-6E8A-4147-A177-3AD203B41FA5}">
                      <a16:colId xmlns:a16="http://schemas.microsoft.com/office/drawing/2014/main" val="2529153999"/>
                    </a:ext>
                  </a:extLst>
                </a:gridCol>
                <a:gridCol w="1929765">
                  <a:extLst>
                    <a:ext uri="{9D8B030D-6E8A-4147-A177-3AD203B41FA5}">
                      <a16:colId xmlns:a16="http://schemas.microsoft.com/office/drawing/2014/main" val="2013579592"/>
                    </a:ext>
                  </a:extLst>
                </a:gridCol>
                <a:gridCol w="3870325">
                  <a:extLst>
                    <a:ext uri="{9D8B030D-6E8A-4147-A177-3AD203B41FA5}">
                      <a16:colId xmlns:a16="http://schemas.microsoft.com/office/drawing/2014/main" val="2753517625"/>
                    </a:ext>
                  </a:extLst>
                </a:gridCol>
                <a:gridCol w="450215">
                  <a:extLst>
                    <a:ext uri="{9D8B030D-6E8A-4147-A177-3AD203B41FA5}">
                      <a16:colId xmlns:a16="http://schemas.microsoft.com/office/drawing/2014/main" val="1918712549"/>
                    </a:ext>
                  </a:extLst>
                </a:gridCol>
                <a:gridCol w="3330575">
                  <a:extLst>
                    <a:ext uri="{9D8B030D-6E8A-4147-A177-3AD203B41FA5}">
                      <a16:colId xmlns:a16="http://schemas.microsoft.com/office/drawing/2014/main" val="3588067685"/>
                    </a:ext>
                  </a:extLst>
                </a:gridCol>
              </a:tblGrid>
              <a:tr h="0">
                <a:tc>
                  <a:txBody>
                    <a:bodyPr/>
                    <a:lstStyle/>
                    <a:p>
                      <a:pPr algn="just">
                        <a:lnSpc>
                          <a:spcPct val="107000"/>
                        </a:lnSpc>
                        <a:spcAft>
                          <a:spcPts val="0"/>
                        </a:spcAft>
                      </a:pPr>
                      <a:r>
                        <a:rPr lang="uz-Cyrl-UZ" sz="1400">
                          <a:effectLst/>
                        </a:rPr>
                        <a:t>9</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Театр ва музей, хиёбон, кино, тарихий қадамжоларга ташрифлар</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Талабаларнинг театр, музейлар, кинозалларга ташрифлар сони, Самарқанд, Бухоро, Тошкент, Хива, Қўқон, Шаҳрисабз ва бошқа шу каби қадимий шаҳарларга (ОТМ жойлашган ҳудуддан бошқа жойдаги) қадамжолар, туризм ва экотуризм масканларига қилинган саёҳатлар инобатга олинади.</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5</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Талабалар театр ва музей, хиёбон, кино, тарихий қадамжоларга ташриф буюрганда тасдиқловчи ҳужжатни платформага жойлаштиради. Тасдиқловчи ҳужжат сифатида ҳудуд геолокацияси, ҳудудда тушилган фотосурат инобатга олинади.</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187757741"/>
                  </a:ext>
                </a:extLst>
              </a:tr>
              <a:tr h="0">
                <a:tc>
                  <a:txBody>
                    <a:bodyPr/>
                    <a:lstStyle/>
                    <a:p>
                      <a:pPr algn="just">
                        <a:lnSpc>
                          <a:spcPct val="107000"/>
                        </a:lnSpc>
                        <a:spcAft>
                          <a:spcPts val="0"/>
                        </a:spcAft>
                      </a:pPr>
                      <a:r>
                        <a:rPr lang="uz-Cyrl-UZ" sz="1400">
                          <a:effectLst/>
                        </a:rPr>
                        <a:t>10</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Талабанинг спорт билан шуғулланиши ва соғлом турмуш тарзига амал қилиши</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1. Талабанинг бирорта спорт тўгарагида мунтазам спорт билан шуғуллланиши – 3 баллгача;</a:t>
                      </a:r>
                      <a:endParaRPr lang="ru-RU" sz="1100">
                        <a:effectLst/>
                      </a:endParaRPr>
                    </a:p>
                    <a:p>
                      <a:pPr algn="just">
                        <a:lnSpc>
                          <a:spcPct val="107000"/>
                        </a:lnSpc>
                        <a:spcAft>
                          <a:spcPts val="0"/>
                        </a:spcAft>
                      </a:pPr>
                      <a:r>
                        <a:rPr lang="uz-Cyrl-UZ" sz="1400">
                          <a:effectLst/>
                        </a:rPr>
                        <a:t>2. Талабанинг ўқиш давомида турли зарарли иллатлар (ичиш, чекиш)дан холи эканлиги – 2 балгача</a:t>
                      </a:r>
                      <a:endParaRPr lang="ru-RU" sz="1100">
                        <a:effectLst/>
                      </a:endParaRPr>
                    </a:p>
                    <a:p>
                      <a:pPr algn="just">
                        <a:lnSpc>
                          <a:spcPct val="107000"/>
                        </a:lnSpc>
                        <a:spcAft>
                          <a:spcPts val="0"/>
                        </a:spcAft>
                      </a:pPr>
                      <a:r>
                        <a:rPr lang="uz-Cyrl-UZ" sz="1400">
                          <a:effectLst/>
                        </a:rPr>
                        <a:t>3. Юриш, югуриш, спорт билан шуғулланиш, тоза-озода юриш, саранжом саришталиги (жумладан, ТТЖда ёки ижара хонадонида яшаш вақтидаги тозаликка риоя этиши) инобатга олинади ва максимал 5 балл билан баҳоланади</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5</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dirty="0">
                          <a:effectLst/>
                        </a:rPr>
                        <a:t>Ҳар семестр якунида тьютор (ТТЖда тарбиячи педагог) томонидан талабанинг Соғлом турмуш тарзига амал қилиш 5 баллгача баҳоланган ҳолда платформага киритилади.</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169220884"/>
                  </a:ext>
                </a:extLst>
              </a:tr>
            </a:tbl>
          </a:graphicData>
        </a:graphic>
      </p:graphicFrame>
    </p:spTree>
    <p:extLst>
      <p:ext uri="{BB962C8B-B14F-4D97-AF65-F5344CB8AC3E}">
        <p14:creationId xmlns:p14="http://schemas.microsoft.com/office/powerpoint/2010/main" val="31123729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17B9E7-01E9-42D5-8F5D-E014825C78C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6" imgW="351" imgH="351" progId="TCLayout.ActiveDocument.1">
                  <p:embed/>
                </p:oleObj>
              </mc:Choice>
              <mc:Fallback>
                <p:oleObj name="think-cell Slide" r:id="rId6" imgW="351" imgH="351" progId="TCLayout.ActiveDocument.1">
                  <p:embed/>
                  <p:pic>
                    <p:nvPicPr>
                      <p:cNvPr id="4" name="Object 3" hidden="1">
                        <a:extLst>
                          <a:ext uri="{FF2B5EF4-FFF2-40B4-BE49-F238E27FC236}">
                            <a16:creationId xmlns:a16="http://schemas.microsoft.com/office/drawing/2014/main" id="{BD17B9E7-01E9-42D5-8F5D-E014825C78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27F9D39-406C-47E5-89D6-F081726E66A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7021FE75-C335-4112-9A8E-80A794B675BF}"/>
              </a:ext>
            </a:extLst>
          </p:cNvPr>
          <p:cNvSpPr>
            <a:spLocks noGrp="1"/>
          </p:cNvSpPr>
          <p:nvPr>
            <p:ph type="title"/>
          </p:nvPr>
        </p:nvSpPr>
        <p:spPr/>
        <p:txBody>
          <a:bodyPr/>
          <a:lstStyle/>
          <a:p>
            <a:r>
              <a:rPr lang="ru-RU" b="1" dirty="0" err="1" smtClean="0"/>
              <a:t>Баҳолаш</a:t>
            </a:r>
            <a:r>
              <a:rPr lang="ru-RU" b="1" dirty="0" smtClean="0"/>
              <a:t> </a:t>
            </a:r>
            <a:r>
              <a:rPr lang="ru-RU" b="1" dirty="0" err="1" smtClean="0"/>
              <a:t>механизмлари</a:t>
            </a:r>
            <a:endParaRPr lang="en-ID" b="1" dirty="0"/>
          </a:p>
        </p:txBody>
      </p:sp>
      <p:sp>
        <p:nvSpPr>
          <p:cNvPr id="25" name="TextBox 24">
            <a:extLst>
              <a:ext uri="{FF2B5EF4-FFF2-40B4-BE49-F238E27FC236}">
                <a16:creationId xmlns:a16="http://schemas.microsoft.com/office/drawing/2014/main" id="{D98FD0C8-9116-4132-BDF9-A5186FAADD1A}"/>
              </a:ext>
            </a:extLst>
          </p:cNvPr>
          <p:cNvSpPr txBox="1"/>
          <p:nvPr/>
        </p:nvSpPr>
        <p:spPr>
          <a:xfrm>
            <a:off x="6675211" y="2234683"/>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1</a:t>
            </a:r>
          </a:p>
        </p:txBody>
      </p:sp>
      <p:sp>
        <p:nvSpPr>
          <p:cNvPr id="26" name="TextBox 25">
            <a:extLst>
              <a:ext uri="{FF2B5EF4-FFF2-40B4-BE49-F238E27FC236}">
                <a16:creationId xmlns:a16="http://schemas.microsoft.com/office/drawing/2014/main" id="{03A486F9-D21F-43F2-9267-47B6ACAB3897}"/>
              </a:ext>
            </a:extLst>
          </p:cNvPr>
          <p:cNvSpPr txBox="1"/>
          <p:nvPr/>
        </p:nvSpPr>
        <p:spPr>
          <a:xfrm>
            <a:off x="6675211" y="5015985"/>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3</a:t>
            </a:r>
          </a:p>
        </p:txBody>
      </p:sp>
      <p:sp>
        <p:nvSpPr>
          <p:cNvPr id="27" name="TextBox 26">
            <a:extLst>
              <a:ext uri="{FF2B5EF4-FFF2-40B4-BE49-F238E27FC236}">
                <a16:creationId xmlns:a16="http://schemas.microsoft.com/office/drawing/2014/main" id="{EEA6E1D3-5C3B-4863-9561-7D0C513D65C2}"/>
              </a:ext>
            </a:extLst>
          </p:cNvPr>
          <p:cNvSpPr txBox="1"/>
          <p:nvPr/>
        </p:nvSpPr>
        <p:spPr>
          <a:xfrm>
            <a:off x="7232195" y="3625334"/>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2</a:t>
            </a:r>
          </a:p>
        </p:txBody>
      </p:sp>
      <p:graphicFrame>
        <p:nvGraphicFramePr>
          <p:cNvPr id="5" name="Таблица 4"/>
          <p:cNvGraphicFramePr>
            <a:graphicFrameLocks noGrp="1"/>
          </p:cNvGraphicFramePr>
          <p:nvPr>
            <p:extLst>
              <p:ext uri="{D42A27DB-BD31-4B8C-83A1-F6EECF244321}">
                <p14:modId xmlns:p14="http://schemas.microsoft.com/office/powerpoint/2010/main" val="347869009"/>
              </p:ext>
            </p:extLst>
          </p:nvPr>
        </p:nvGraphicFramePr>
        <p:xfrm>
          <a:off x="905279" y="1869118"/>
          <a:ext cx="9919970" cy="1577785"/>
        </p:xfrm>
        <a:graphic>
          <a:graphicData uri="http://schemas.openxmlformats.org/drawingml/2006/table">
            <a:tbl>
              <a:tblPr firstRow="1" firstCol="1" bandRow="1">
                <a:tableStyleId>{5C22544A-7EE6-4342-B048-85BDC9FD1C3A}</a:tableStyleId>
              </a:tblPr>
              <a:tblGrid>
                <a:gridCol w="339090">
                  <a:extLst>
                    <a:ext uri="{9D8B030D-6E8A-4147-A177-3AD203B41FA5}">
                      <a16:colId xmlns:a16="http://schemas.microsoft.com/office/drawing/2014/main" val="2221603784"/>
                    </a:ext>
                  </a:extLst>
                </a:gridCol>
                <a:gridCol w="1929765">
                  <a:extLst>
                    <a:ext uri="{9D8B030D-6E8A-4147-A177-3AD203B41FA5}">
                      <a16:colId xmlns:a16="http://schemas.microsoft.com/office/drawing/2014/main" val="2569834949"/>
                    </a:ext>
                  </a:extLst>
                </a:gridCol>
                <a:gridCol w="3870325">
                  <a:extLst>
                    <a:ext uri="{9D8B030D-6E8A-4147-A177-3AD203B41FA5}">
                      <a16:colId xmlns:a16="http://schemas.microsoft.com/office/drawing/2014/main" val="2672499893"/>
                    </a:ext>
                  </a:extLst>
                </a:gridCol>
                <a:gridCol w="450215">
                  <a:extLst>
                    <a:ext uri="{9D8B030D-6E8A-4147-A177-3AD203B41FA5}">
                      <a16:colId xmlns:a16="http://schemas.microsoft.com/office/drawing/2014/main" val="1693274661"/>
                    </a:ext>
                  </a:extLst>
                </a:gridCol>
                <a:gridCol w="3330575">
                  <a:extLst>
                    <a:ext uri="{9D8B030D-6E8A-4147-A177-3AD203B41FA5}">
                      <a16:colId xmlns:a16="http://schemas.microsoft.com/office/drawing/2014/main" val="809936383"/>
                    </a:ext>
                  </a:extLst>
                </a:gridCol>
              </a:tblGrid>
              <a:tr h="0">
                <a:tc>
                  <a:txBody>
                    <a:bodyPr/>
                    <a:lstStyle/>
                    <a:p>
                      <a:pPr algn="just">
                        <a:lnSpc>
                          <a:spcPct val="107000"/>
                        </a:lnSpc>
                        <a:spcAft>
                          <a:spcPts val="0"/>
                        </a:spcAft>
                      </a:pPr>
                      <a:r>
                        <a:rPr lang="uz-Cyrl-UZ" sz="1400">
                          <a:effectLst/>
                        </a:rPr>
                        <a:t>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Маънавий-маърифий соҳага оид бошқа йўналишлардаги фаоллиги учун</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dirty="0">
                          <a:effectLst/>
                        </a:rPr>
                        <a:t>Талабанинг тенгдошлари ўртасида ҳамда ижтимоий тармоқларда фаоллиги, ватанпарварлик, тараққийпарварлик, илм-маърифат, тарбия йўналишлардаги тарғибот ишларида иштирок этиши ва бошқа ташаббускорлиги инобатга олинади.</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5</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Ҳар семестр якунида тьютор томонидан Маънавий-маърифий соҳага оид бошқа йўналишлардаги фаоллиги 5 баллгача баҳоланган ҳолда платформага киритилади.</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176991341"/>
                  </a:ext>
                </a:extLst>
              </a:tr>
              <a:tr h="0">
                <a:tc gridSpan="3">
                  <a:txBody>
                    <a:bodyPr/>
                    <a:lstStyle/>
                    <a:p>
                      <a:pPr algn="ctr">
                        <a:lnSpc>
                          <a:spcPct val="107000"/>
                        </a:lnSpc>
                        <a:spcAft>
                          <a:spcPts val="0"/>
                        </a:spcAft>
                      </a:pPr>
                      <a:r>
                        <a:rPr lang="uz-Cyrl-UZ" sz="1400">
                          <a:effectLst/>
                        </a:rPr>
                        <a:t>ЖАМИ</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ru-RU"/>
                    </a:p>
                  </a:txBody>
                  <a:tcPr/>
                </a:tc>
                <a:tc hMerge="1">
                  <a:txBody>
                    <a:bodyPr/>
                    <a:lstStyle/>
                    <a:p>
                      <a:endParaRPr lang="ru-RU"/>
                    </a:p>
                  </a:txBody>
                  <a:tcPr/>
                </a:tc>
                <a:tc>
                  <a:txBody>
                    <a:bodyPr/>
                    <a:lstStyle/>
                    <a:p>
                      <a:pPr algn="just">
                        <a:lnSpc>
                          <a:spcPct val="107000"/>
                        </a:lnSpc>
                        <a:spcAft>
                          <a:spcPts val="0"/>
                        </a:spcAft>
                      </a:pPr>
                      <a:r>
                        <a:rPr lang="uz-Cyrl-UZ" sz="1400">
                          <a:effectLst/>
                        </a:rPr>
                        <a:t>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dirty="0">
                          <a:effectLst/>
                        </a:rPr>
                        <a:t>100</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626997871"/>
                  </a:ext>
                </a:extLst>
              </a:tr>
            </a:tbl>
          </a:graphicData>
        </a:graphic>
      </p:graphicFrame>
      <p:sp>
        <p:nvSpPr>
          <p:cNvPr id="7" name="Rectangle 1"/>
          <p:cNvSpPr>
            <a:spLocks noChangeArrowheads="1"/>
          </p:cNvSpPr>
          <p:nvPr/>
        </p:nvSpPr>
        <p:spPr bwMode="auto">
          <a:xfrm>
            <a:off x="701468" y="3862112"/>
            <a:ext cx="1051560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uz-Cyrl-UZ" altLang="ru-RU" sz="1400" b="1" i="0" u="none" strike="noStrike" cap="none" normalizeH="0" baseline="0" dirty="0"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Изоҳ:</a:t>
            </a:r>
            <a:r>
              <a:rPr kumimoji="0" lang="uz-Cyrl-UZ" altLang="ru-RU" sz="1400" b="0" i="0" u="none" strike="noStrike" cap="none" normalizeH="0" baseline="0" dirty="0"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 Қоида тариқасида талаба муайян сабаб билан </a:t>
            </a:r>
            <a:r>
              <a:rPr kumimoji="0" lang="uz-Cyrl-UZ" altLang="ru-RU" sz="1400" b="0" i="1" u="none" strike="noStrike" cap="none" normalizeH="0" baseline="0" dirty="0"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мисол учун, ОТМнинг ички тартиб қоидалари, Одоб-ахлоқ кодекси талабларини бузганлиги учун)</a:t>
            </a:r>
            <a:r>
              <a:rPr kumimoji="0" lang="uz-Cyrl-UZ" altLang="ru-RU" sz="1400" b="0" i="0" u="none" strike="noStrike" cap="none" normalizeH="0" baseline="0" dirty="0"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 интизомий жазога тортилганда </a:t>
            </a:r>
            <a:r>
              <a:rPr kumimoji="0" lang="uz-Cyrl-UZ" altLang="ru-RU" sz="1400" b="0" i="0" u="none" strike="noStrike" cap="none" normalizeH="0" baseline="0" dirty="0" smtClean="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t>
            </a:r>
            <a:r>
              <a:rPr kumimoji="0" lang="uz-Cyrl-UZ" altLang="ru-RU" sz="1400" b="0" i="0" u="none" strike="noStrike" cap="none" normalizeH="0" baseline="0" dirty="0"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Ижтимоий фаоллик индекси</a:t>
            </a:r>
            <a:r>
              <a:rPr kumimoji="0" lang="uz-Cyrl-UZ" altLang="ru-RU" sz="1400" b="0" i="0" u="none" strike="noStrike" cap="none" normalizeH="0" baseline="0" dirty="0" smtClean="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t>
            </a:r>
            <a:r>
              <a:rPr kumimoji="0" lang="uz-Cyrl-UZ" altLang="ru-RU" sz="1400" b="0" i="0" u="none" strike="noStrike" cap="none" normalizeH="0" baseline="0" dirty="0"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да тўплаган балидан 15 баллгача олиб ташланади. </a:t>
            </a:r>
            <a:r>
              <a:rPr kumimoji="0" lang="ru-RU" altLang="ru-RU" sz="1400" b="0" i="0" u="none" strike="noStrike" cap="none" normalizeH="0" baseline="0" dirty="0" err="1"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Талабанинг</a:t>
            </a:r>
            <a:r>
              <a:rPr kumimoji="0" lang="ru-RU" altLang="ru-RU" sz="1400" b="0" i="0" u="none" strike="noStrike" cap="none" normalizeH="0" baseline="0" dirty="0"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 </a:t>
            </a:r>
            <a:r>
              <a:rPr kumimoji="0" lang="ru-RU" altLang="ru-RU" sz="1400" b="0" i="0" u="none" strike="noStrike" cap="none" normalizeH="0" baseline="0" dirty="0" err="1"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якуний</a:t>
            </a:r>
            <a:r>
              <a:rPr kumimoji="0" lang="uz-Cyrl-UZ" altLang="ru-RU" sz="1400" b="0" i="0" u="none" strike="noStrike" cap="none" normalizeH="0" baseline="0" dirty="0"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 </a:t>
            </a:r>
            <a:r>
              <a:rPr kumimoji="0" lang="ru-RU" altLang="ru-RU" sz="1400" b="0" i="0" u="none" strike="noStrike" cap="none" normalizeH="0" baseline="0" dirty="0" err="1"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саралаш</a:t>
            </a:r>
            <a:r>
              <a:rPr kumimoji="0" lang="ru-RU" altLang="ru-RU" sz="1400" b="0" i="0" u="none" strike="noStrike" cap="none" normalizeH="0" baseline="0" dirty="0"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 </a:t>
            </a:r>
            <a:r>
              <a:rPr kumimoji="0" lang="ru-RU" altLang="ru-RU" sz="1400" b="0" i="0" u="none" strike="noStrike" cap="none" normalizeH="0" baseline="0" dirty="0" err="1"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балли</a:t>
            </a:r>
            <a:r>
              <a:rPr kumimoji="0" lang="ru-RU" altLang="ru-RU" sz="1400" b="0" i="0" u="none" strike="noStrike" cap="none" normalizeH="0" baseline="0" dirty="0"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 56 </a:t>
            </a:r>
            <a:r>
              <a:rPr kumimoji="0" lang="ru-RU" altLang="ru-RU" sz="1400" b="0" i="0" u="none" strike="noStrike" cap="none" normalizeH="0" baseline="0" dirty="0" err="1"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баллдан</a:t>
            </a:r>
            <a:r>
              <a:rPr kumimoji="0" lang="ru-RU" altLang="ru-RU" sz="1400" b="0" i="0" u="none" strike="noStrike" cap="none" normalizeH="0" baseline="0" dirty="0"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 </a:t>
            </a:r>
            <a:r>
              <a:rPr kumimoji="0" lang="ru-RU" altLang="ru-RU" sz="1400" b="0" i="0" u="none" strike="noStrike" cap="none" normalizeH="0" baseline="0" dirty="0" err="1"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кам</a:t>
            </a:r>
            <a:r>
              <a:rPr kumimoji="0" lang="ru-RU" altLang="ru-RU" sz="1400" b="0" i="0" u="none" strike="noStrike" cap="none" normalizeH="0" baseline="0" dirty="0"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 </a:t>
            </a:r>
            <a:r>
              <a:rPr kumimoji="0" lang="ru-RU" altLang="ru-RU" sz="1400" b="0" i="0" u="none" strike="noStrike" cap="none" normalizeH="0" baseline="0" dirty="0" err="1"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бўлган</a:t>
            </a:r>
            <a:r>
              <a:rPr kumimoji="0" lang="ru-RU" altLang="ru-RU" sz="1400" b="0" i="0" u="none" strike="noStrike" cap="none" normalizeH="0" baseline="0" dirty="0"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 </a:t>
            </a:r>
            <a:r>
              <a:rPr kumimoji="0" lang="ru-RU" altLang="ru-RU" sz="1400" b="0" i="0" u="none" strike="noStrike" cap="none" normalizeH="0" baseline="0" dirty="0" err="1"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тақдирда</a:t>
            </a:r>
            <a:r>
              <a:rPr kumimoji="0" lang="ru-RU" altLang="ru-RU" sz="1400" b="0" i="0" u="none" strike="noStrike" cap="none" normalizeH="0" baseline="0" dirty="0"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  </a:t>
            </a:r>
            <a:r>
              <a:rPr kumimoji="0" lang="ru-RU" altLang="ru-RU" sz="1400" b="0" i="0" u="none" strike="noStrike" cap="none" normalizeH="0" baseline="0" dirty="0" err="1"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қизил</a:t>
            </a:r>
            <a:r>
              <a:rPr kumimoji="0" lang="ru-RU" altLang="ru-RU" sz="1400" b="0" i="0" u="none" strike="noStrike" cap="none" normalizeH="0" baseline="0" dirty="0"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 </a:t>
            </a:r>
            <a:r>
              <a:rPr kumimoji="0" lang="ru-RU" altLang="ru-RU" sz="1400" b="0" i="0" u="none" strike="noStrike" cap="none" normalizeH="0" baseline="0" dirty="0" err="1"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тоифага</a:t>
            </a:r>
            <a:r>
              <a:rPr kumimoji="0" lang="ru-RU" altLang="ru-RU" sz="1400" b="0" i="0" u="none" strike="noStrike" cap="none" normalizeH="0" baseline="0" dirty="0"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 </a:t>
            </a:r>
            <a:r>
              <a:rPr kumimoji="0" lang="ru-RU" altLang="ru-RU" sz="1400" b="0" i="0" u="none" strike="noStrike" cap="none" normalizeH="0" baseline="0" dirty="0" err="1"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киритилади</a:t>
            </a:r>
            <a:r>
              <a:rPr kumimoji="0" lang="ru-RU" altLang="ru-RU" sz="1400" b="0" i="0" u="none" strike="noStrike" cap="none" normalizeH="0" baseline="0" dirty="0" smtClean="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a:t>
            </a:r>
            <a:endParaRPr kumimoji="0" lang="ru-RU" altLang="ru-RU"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5944571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09D14-8530-FE25-5DD5-25965355593F}"/>
              </a:ext>
            </a:extLst>
          </p:cNvPr>
          <p:cNvSpPr txBox="1">
            <a:spLocks/>
          </p:cNvSpPr>
          <p:nvPr/>
        </p:nvSpPr>
        <p:spPr>
          <a:xfrm>
            <a:off x="2447365" y="3044124"/>
            <a:ext cx="7440706"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b="1" dirty="0" err="1"/>
              <a:t>Эътиборингиз</a:t>
            </a:r>
            <a:r>
              <a:rPr lang="ru-RU" b="1" dirty="0"/>
              <a:t> </a:t>
            </a:r>
            <a:r>
              <a:rPr lang="ru-RU" b="1" dirty="0" err="1"/>
              <a:t>учун</a:t>
            </a:r>
            <a:r>
              <a:rPr lang="ru-RU" b="1" dirty="0"/>
              <a:t> </a:t>
            </a:r>
            <a:r>
              <a:rPr lang="ru-RU" b="1" dirty="0" err="1"/>
              <a:t>раҳмат</a:t>
            </a:r>
            <a:r>
              <a:rPr lang="ru-RU" b="1" dirty="0"/>
              <a:t>!</a:t>
            </a:r>
            <a:endParaRPr lang="en-ID" b="1" dirty="0"/>
          </a:p>
        </p:txBody>
      </p:sp>
    </p:spTree>
    <p:extLst>
      <p:ext uri="{BB962C8B-B14F-4D97-AF65-F5344CB8AC3E}">
        <p14:creationId xmlns:p14="http://schemas.microsoft.com/office/powerpoint/2010/main" val="34644780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5412B7D6-9400-4B66-8814-DCF81BEB0C5A}"/>
              </a:ext>
            </a:extLst>
          </p:cNvPr>
          <p:cNvSpPr/>
          <p:nvPr/>
        </p:nvSpPr>
        <p:spPr>
          <a:xfrm rot="5400000" flipH="1">
            <a:off x="0" y="5372100"/>
            <a:ext cx="1485900" cy="14859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4ABBA9B-1329-47B1-9E6B-E01B6F3823E7}"/>
              </a:ext>
            </a:extLst>
          </p:cNvPr>
          <p:cNvSpPr/>
          <p:nvPr/>
        </p:nvSpPr>
        <p:spPr>
          <a:xfrm>
            <a:off x="10058400" y="97712"/>
            <a:ext cx="2133600" cy="1778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6">
            <a:extLst>
              <a:ext uri="{FF2B5EF4-FFF2-40B4-BE49-F238E27FC236}">
                <a16:creationId xmlns:a16="http://schemas.microsoft.com/office/drawing/2014/main" id="{62E62710-286F-4B00-9BF4-C4E48604ED0D}"/>
              </a:ext>
            </a:extLst>
          </p:cNvPr>
          <p:cNvSpPr>
            <a:spLocks noGrp="1"/>
          </p:cNvSpPr>
          <p:nvPr>
            <p:ph type="sldNum" sz="quarter" idx="12"/>
          </p:nvPr>
        </p:nvSpPr>
        <p:spPr/>
        <p:txBody>
          <a:bodyPr/>
          <a:lstStyle/>
          <a:p>
            <a:fld id="{8104C915-17D6-486A-86EC-048CBE10C825}" type="slidenum">
              <a:rPr lang="en-US" smtClean="0"/>
              <a:t>2</a:t>
            </a:fld>
            <a:endParaRPr lang="en-US" dirty="0"/>
          </a:p>
        </p:txBody>
      </p:sp>
      <p:sp>
        <p:nvSpPr>
          <p:cNvPr id="39" name="Freeform 10">
            <a:extLst>
              <a:ext uri="{FF2B5EF4-FFF2-40B4-BE49-F238E27FC236}">
                <a16:creationId xmlns:a16="http://schemas.microsoft.com/office/drawing/2014/main" id="{187350AB-0B8F-43C6-8B82-1F6E0DF44BF3}"/>
              </a:ext>
            </a:extLst>
          </p:cNvPr>
          <p:cNvSpPr>
            <a:spLocks/>
          </p:cNvSpPr>
          <p:nvPr/>
        </p:nvSpPr>
        <p:spPr bwMode="auto">
          <a:xfrm>
            <a:off x="5949254" y="1063625"/>
            <a:ext cx="912813" cy="912812"/>
          </a:xfrm>
          <a:custGeom>
            <a:avLst/>
            <a:gdLst>
              <a:gd name="T0" fmla="*/ 366 w 510"/>
              <a:gd name="T1" fmla="*/ 62 h 510"/>
              <a:gd name="T2" fmla="*/ 448 w 510"/>
              <a:gd name="T3" fmla="*/ 367 h 510"/>
              <a:gd name="T4" fmla="*/ 143 w 510"/>
              <a:gd name="T5" fmla="*/ 448 h 510"/>
              <a:gd name="T6" fmla="*/ 61 w 510"/>
              <a:gd name="T7" fmla="*/ 143 h 510"/>
              <a:gd name="T8" fmla="*/ 366 w 510"/>
              <a:gd name="T9" fmla="*/ 62 h 510"/>
            </a:gdLst>
            <a:ahLst/>
            <a:cxnLst>
              <a:cxn ang="0">
                <a:pos x="T0" y="T1"/>
              </a:cxn>
              <a:cxn ang="0">
                <a:pos x="T2" y="T3"/>
              </a:cxn>
              <a:cxn ang="0">
                <a:pos x="T4" y="T5"/>
              </a:cxn>
              <a:cxn ang="0">
                <a:pos x="T6" y="T7"/>
              </a:cxn>
              <a:cxn ang="0">
                <a:pos x="T8" y="T9"/>
              </a:cxn>
            </a:cxnLst>
            <a:rect l="0" t="0" r="r" b="b"/>
            <a:pathLst>
              <a:path w="510" h="510">
                <a:moveTo>
                  <a:pt x="366" y="62"/>
                </a:moveTo>
                <a:cubicBezTo>
                  <a:pt x="473" y="123"/>
                  <a:pt x="510" y="260"/>
                  <a:pt x="448" y="367"/>
                </a:cubicBezTo>
                <a:cubicBezTo>
                  <a:pt x="387" y="473"/>
                  <a:pt x="250" y="510"/>
                  <a:pt x="143" y="448"/>
                </a:cubicBezTo>
                <a:cubicBezTo>
                  <a:pt x="36" y="387"/>
                  <a:pt x="0" y="250"/>
                  <a:pt x="61" y="143"/>
                </a:cubicBezTo>
                <a:cubicBezTo>
                  <a:pt x="123" y="37"/>
                  <a:pt x="260" y="0"/>
                  <a:pt x="366" y="62"/>
                </a:cubicBezTo>
                <a:close/>
              </a:path>
            </a:pathLst>
          </a:custGeom>
          <a:solidFill>
            <a:schemeClr val="accent1">
              <a:lumMod val="75000"/>
            </a:schemeClr>
          </a:solidFill>
          <a:ln>
            <a:noFill/>
          </a:ln>
          <a:effectLst/>
        </p:spPr>
        <p:txBody>
          <a:bodyPr vert="horz" wrap="square" lIns="91440" tIns="45720" rIns="91440" bIns="45720" numCol="1" anchor="ctr" anchorCtr="0" compatLnSpc="1">
            <a:prstTxWarp prst="textNoShape">
              <a:avLst/>
            </a:prstTxWarp>
          </a:bodyPr>
          <a:lstStyle/>
          <a:p>
            <a:pPr algn="ctr"/>
            <a:r>
              <a:rPr lang="uz-Cyrl-UZ" b="1" dirty="0">
                <a:solidFill>
                  <a:schemeClr val="bg1"/>
                </a:solidFill>
              </a:rPr>
              <a:t>5</a:t>
            </a:r>
            <a:endParaRPr lang="en-US" b="1" dirty="0">
              <a:solidFill>
                <a:schemeClr val="bg1"/>
              </a:solidFill>
            </a:endParaRPr>
          </a:p>
        </p:txBody>
      </p:sp>
      <p:sp>
        <p:nvSpPr>
          <p:cNvPr id="42" name="Freeform 13">
            <a:extLst>
              <a:ext uri="{FF2B5EF4-FFF2-40B4-BE49-F238E27FC236}">
                <a16:creationId xmlns:a16="http://schemas.microsoft.com/office/drawing/2014/main" id="{5AAE9EF0-8A1F-4F5C-BDEB-98A9EC4BE1E7}"/>
              </a:ext>
            </a:extLst>
          </p:cNvPr>
          <p:cNvSpPr>
            <a:spLocks/>
          </p:cNvSpPr>
          <p:nvPr/>
        </p:nvSpPr>
        <p:spPr bwMode="auto">
          <a:xfrm>
            <a:off x="8331646" y="5311775"/>
            <a:ext cx="911225" cy="914400"/>
          </a:xfrm>
          <a:custGeom>
            <a:avLst/>
            <a:gdLst>
              <a:gd name="T0" fmla="*/ 448 w 510"/>
              <a:gd name="T1" fmla="*/ 367 h 511"/>
              <a:gd name="T2" fmla="*/ 143 w 510"/>
              <a:gd name="T3" fmla="*/ 449 h 511"/>
              <a:gd name="T4" fmla="*/ 61 w 510"/>
              <a:gd name="T5" fmla="*/ 144 h 511"/>
              <a:gd name="T6" fmla="*/ 366 w 510"/>
              <a:gd name="T7" fmla="*/ 62 h 511"/>
              <a:gd name="T8" fmla="*/ 448 w 510"/>
              <a:gd name="T9" fmla="*/ 367 h 511"/>
            </a:gdLst>
            <a:ahLst/>
            <a:cxnLst>
              <a:cxn ang="0">
                <a:pos x="T0" y="T1"/>
              </a:cxn>
              <a:cxn ang="0">
                <a:pos x="T2" y="T3"/>
              </a:cxn>
              <a:cxn ang="0">
                <a:pos x="T4" y="T5"/>
              </a:cxn>
              <a:cxn ang="0">
                <a:pos x="T6" y="T7"/>
              </a:cxn>
              <a:cxn ang="0">
                <a:pos x="T8" y="T9"/>
              </a:cxn>
            </a:cxnLst>
            <a:rect l="0" t="0" r="r" b="b"/>
            <a:pathLst>
              <a:path w="510" h="511">
                <a:moveTo>
                  <a:pt x="448" y="367"/>
                </a:moveTo>
                <a:cubicBezTo>
                  <a:pt x="386" y="474"/>
                  <a:pt x="250" y="511"/>
                  <a:pt x="143" y="449"/>
                </a:cubicBezTo>
                <a:cubicBezTo>
                  <a:pt x="36" y="387"/>
                  <a:pt x="0" y="251"/>
                  <a:pt x="61" y="144"/>
                </a:cubicBezTo>
                <a:cubicBezTo>
                  <a:pt x="123" y="37"/>
                  <a:pt x="259" y="0"/>
                  <a:pt x="366" y="62"/>
                </a:cubicBezTo>
                <a:cubicBezTo>
                  <a:pt x="473" y="124"/>
                  <a:pt x="510" y="260"/>
                  <a:pt x="448" y="367"/>
                </a:cubicBezTo>
                <a:close/>
              </a:path>
            </a:pathLst>
          </a:custGeom>
          <a:solidFill>
            <a:schemeClr val="accent1">
              <a:lumMod val="90000"/>
            </a:schemeClr>
          </a:solidFill>
          <a:ln>
            <a:noFill/>
          </a:ln>
          <a:effectLst/>
        </p:spPr>
        <p:txBody>
          <a:bodyPr vert="horz" wrap="square" lIns="91440" tIns="45720" rIns="91440" bIns="45720" numCol="1" anchor="ctr" anchorCtr="0" compatLnSpc="1">
            <a:prstTxWarp prst="textNoShape">
              <a:avLst/>
            </a:prstTxWarp>
          </a:bodyPr>
          <a:lstStyle/>
          <a:p>
            <a:pPr algn="ctr"/>
            <a:r>
              <a:rPr lang="en-US" b="1" dirty="0" smtClean="0">
                <a:solidFill>
                  <a:schemeClr val="bg1"/>
                </a:solidFill>
              </a:rPr>
              <a:t>5</a:t>
            </a:r>
            <a:endParaRPr lang="en-US" b="1" dirty="0">
              <a:solidFill>
                <a:schemeClr val="bg1"/>
              </a:solidFill>
            </a:endParaRPr>
          </a:p>
        </p:txBody>
      </p:sp>
      <p:grpSp>
        <p:nvGrpSpPr>
          <p:cNvPr id="12" name="Group 11">
            <a:extLst>
              <a:ext uri="{FF2B5EF4-FFF2-40B4-BE49-F238E27FC236}">
                <a16:creationId xmlns:a16="http://schemas.microsoft.com/office/drawing/2014/main" id="{0DED3ED2-BE34-4603-A4CC-3F470F93BCA1}"/>
              </a:ext>
            </a:extLst>
          </p:cNvPr>
          <p:cNvGrpSpPr/>
          <p:nvPr/>
        </p:nvGrpSpPr>
        <p:grpSpPr>
          <a:xfrm>
            <a:off x="4353371" y="2797175"/>
            <a:ext cx="3481388" cy="2833688"/>
            <a:chOff x="4353371" y="2797175"/>
            <a:chExt cx="3481388" cy="2833688"/>
          </a:xfrm>
        </p:grpSpPr>
        <p:sp>
          <p:nvSpPr>
            <p:cNvPr id="43" name="Freeform 16">
              <a:extLst>
                <a:ext uri="{FF2B5EF4-FFF2-40B4-BE49-F238E27FC236}">
                  <a16:creationId xmlns:a16="http://schemas.microsoft.com/office/drawing/2014/main" id="{5D1F1FAE-87B5-4561-80AF-C8D767306819}"/>
                </a:ext>
              </a:extLst>
            </p:cNvPr>
            <p:cNvSpPr>
              <a:spLocks/>
            </p:cNvSpPr>
            <p:nvPr/>
          </p:nvSpPr>
          <p:spPr bwMode="auto">
            <a:xfrm>
              <a:off x="5539233" y="5208588"/>
              <a:ext cx="1166813" cy="422275"/>
            </a:xfrm>
            <a:custGeom>
              <a:avLst/>
              <a:gdLst>
                <a:gd name="T0" fmla="*/ 0 w 653"/>
                <a:gd name="T1" fmla="*/ 236 h 236"/>
                <a:gd name="T2" fmla="*/ 24 w 653"/>
                <a:gd name="T3" fmla="*/ 209 h 236"/>
                <a:gd name="T4" fmla="*/ 77 w 653"/>
                <a:gd name="T5" fmla="*/ 202 h 236"/>
                <a:gd name="T6" fmla="*/ 130 w 653"/>
                <a:gd name="T7" fmla="*/ 0 h 236"/>
                <a:gd name="T8" fmla="*/ 523 w 653"/>
                <a:gd name="T9" fmla="*/ 0 h 236"/>
                <a:gd name="T10" fmla="*/ 576 w 653"/>
                <a:gd name="T11" fmla="*/ 202 h 236"/>
                <a:gd name="T12" fmla="*/ 629 w 653"/>
                <a:gd name="T13" fmla="*/ 209 h 236"/>
                <a:gd name="T14" fmla="*/ 653 w 653"/>
                <a:gd name="T15" fmla="*/ 236 h 236"/>
                <a:gd name="T16" fmla="*/ 0 w 653"/>
                <a:gd name="T17"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3" h="236">
                  <a:moveTo>
                    <a:pt x="0" y="236"/>
                  </a:moveTo>
                  <a:cubicBezTo>
                    <a:pt x="0" y="222"/>
                    <a:pt x="10" y="210"/>
                    <a:pt x="24" y="209"/>
                  </a:cubicBezTo>
                  <a:cubicBezTo>
                    <a:pt x="77" y="202"/>
                    <a:pt x="77" y="202"/>
                    <a:pt x="77" y="202"/>
                  </a:cubicBezTo>
                  <a:cubicBezTo>
                    <a:pt x="130" y="0"/>
                    <a:pt x="130" y="0"/>
                    <a:pt x="130" y="0"/>
                  </a:cubicBezTo>
                  <a:cubicBezTo>
                    <a:pt x="523" y="0"/>
                    <a:pt x="523" y="0"/>
                    <a:pt x="523" y="0"/>
                  </a:cubicBezTo>
                  <a:cubicBezTo>
                    <a:pt x="576" y="202"/>
                    <a:pt x="576" y="202"/>
                    <a:pt x="576" y="202"/>
                  </a:cubicBezTo>
                  <a:cubicBezTo>
                    <a:pt x="629" y="209"/>
                    <a:pt x="629" y="209"/>
                    <a:pt x="629" y="209"/>
                  </a:cubicBezTo>
                  <a:cubicBezTo>
                    <a:pt x="642" y="210"/>
                    <a:pt x="653" y="222"/>
                    <a:pt x="653" y="236"/>
                  </a:cubicBezTo>
                  <a:lnTo>
                    <a:pt x="0" y="236"/>
                  </a:ln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5" name="Freeform 17">
              <a:extLst>
                <a:ext uri="{FF2B5EF4-FFF2-40B4-BE49-F238E27FC236}">
                  <a16:creationId xmlns:a16="http://schemas.microsoft.com/office/drawing/2014/main" id="{52C77C7D-F509-4AA1-8B58-1EDF6BCE3F7D}"/>
                </a:ext>
              </a:extLst>
            </p:cNvPr>
            <p:cNvSpPr>
              <a:spLocks/>
            </p:cNvSpPr>
            <p:nvPr/>
          </p:nvSpPr>
          <p:spPr bwMode="auto">
            <a:xfrm>
              <a:off x="5755133" y="5208588"/>
              <a:ext cx="735013" cy="60325"/>
            </a:xfrm>
            <a:custGeom>
              <a:avLst/>
              <a:gdLst>
                <a:gd name="T0" fmla="*/ 0 w 463"/>
                <a:gd name="T1" fmla="*/ 38 h 38"/>
                <a:gd name="T2" fmla="*/ 10 w 463"/>
                <a:gd name="T3" fmla="*/ 0 h 38"/>
                <a:gd name="T4" fmla="*/ 453 w 463"/>
                <a:gd name="T5" fmla="*/ 0 h 38"/>
                <a:gd name="T6" fmla="*/ 463 w 463"/>
                <a:gd name="T7" fmla="*/ 38 h 38"/>
                <a:gd name="T8" fmla="*/ 0 w 463"/>
                <a:gd name="T9" fmla="*/ 38 h 38"/>
              </a:gdLst>
              <a:ahLst/>
              <a:cxnLst>
                <a:cxn ang="0">
                  <a:pos x="T0" y="T1"/>
                </a:cxn>
                <a:cxn ang="0">
                  <a:pos x="T2" y="T3"/>
                </a:cxn>
                <a:cxn ang="0">
                  <a:pos x="T4" y="T5"/>
                </a:cxn>
                <a:cxn ang="0">
                  <a:pos x="T6" y="T7"/>
                </a:cxn>
                <a:cxn ang="0">
                  <a:pos x="T8" y="T9"/>
                </a:cxn>
              </a:cxnLst>
              <a:rect l="0" t="0" r="r" b="b"/>
              <a:pathLst>
                <a:path w="463" h="38">
                  <a:moveTo>
                    <a:pt x="0" y="38"/>
                  </a:moveTo>
                  <a:lnTo>
                    <a:pt x="10" y="0"/>
                  </a:lnTo>
                  <a:lnTo>
                    <a:pt x="453" y="0"/>
                  </a:lnTo>
                  <a:lnTo>
                    <a:pt x="463" y="38"/>
                  </a:lnTo>
                  <a:lnTo>
                    <a:pt x="0" y="38"/>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18">
              <a:extLst>
                <a:ext uri="{FF2B5EF4-FFF2-40B4-BE49-F238E27FC236}">
                  <a16:creationId xmlns:a16="http://schemas.microsoft.com/office/drawing/2014/main" id="{5AC03838-F6BF-4F32-A927-67CFE9F1491F}"/>
                </a:ext>
              </a:extLst>
            </p:cNvPr>
            <p:cNvSpPr>
              <a:spLocks/>
            </p:cNvSpPr>
            <p:nvPr/>
          </p:nvSpPr>
          <p:spPr bwMode="auto">
            <a:xfrm>
              <a:off x="4353371" y="2797175"/>
              <a:ext cx="3481388" cy="2109787"/>
            </a:xfrm>
            <a:custGeom>
              <a:avLst/>
              <a:gdLst>
                <a:gd name="T0" fmla="*/ 0 w 1948"/>
                <a:gd name="T1" fmla="*/ 1180 h 1180"/>
                <a:gd name="T2" fmla="*/ 0 w 1948"/>
                <a:gd name="T3" fmla="*/ 44 h 1180"/>
                <a:gd name="T4" fmla="*/ 44 w 1948"/>
                <a:gd name="T5" fmla="*/ 0 h 1180"/>
                <a:gd name="T6" fmla="*/ 1904 w 1948"/>
                <a:gd name="T7" fmla="*/ 0 h 1180"/>
                <a:gd name="T8" fmla="*/ 1948 w 1948"/>
                <a:gd name="T9" fmla="*/ 44 h 1180"/>
                <a:gd name="T10" fmla="*/ 1948 w 1948"/>
                <a:gd name="T11" fmla="*/ 1180 h 1180"/>
                <a:gd name="T12" fmla="*/ 0 w 1948"/>
                <a:gd name="T13" fmla="*/ 1180 h 1180"/>
              </a:gdLst>
              <a:ahLst/>
              <a:cxnLst>
                <a:cxn ang="0">
                  <a:pos x="T0" y="T1"/>
                </a:cxn>
                <a:cxn ang="0">
                  <a:pos x="T2" y="T3"/>
                </a:cxn>
                <a:cxn ang="0">
                  <a:pos x="T4" y="T5"/>
                </a:cxn>
                <a:cxn ang="0">
                  <a:pos x="T6" y="T7"/>
                </a:cxn>
                <a:cxn ang="0">
                  <a:pos x="T8" y="T9"/>
                </a:cxn>
                <a:cxn ang="0">
                  <a:pos x="T10" y="T11"/>
                </a:cxn>
                <a:cxn ang="0">
                  <a:pos x="T12" y="T13"/>
                </a:cxn>
              </a:cxnLst>
              <a:rect l="0" t="0" r="r" b="b"/>
              <a:pathLst>
                <a:path w="1948" h="1180">
                  <a:moveTo>
                    <a:pt x="0" y="1180"/>
                  </a:moveTo>
                  <a:cubicBezTo>
                    <a:pt x="0" y="44"/>
                    <a:pt x="0" y="44"/>
                    <a:pt x="0" y="44"/>
                  </a:cubicBezTo>
                  <a:cubicBezTo>
                    <a:pt x="0" y="20"/>
                    <a:pt x="20" y="0"/>
                    <a:pt x="44" y="0"/>
                  </a:cubicBezTo>
                  <a:cubicBezTo>
                    <a:pt x="1904" y="0"/>
                    <a:pt x="1904" y="0"/>
                    <a:pt x="1904" y="0"/>
                  </a:cubicBezTo>
                  <a:cubicBezTo>
                    <a:pt x="1928" y="0"/>
                    <a:pt x="1948" y="20"/>
                    <a:pt x="1948" y="44"/>
                  </a:cubicBezTo>
                  <a:cubicBezTo>
                    <a:pt x="1948" y="1180"/>
                    <a:pt x="1948" y="1180"/>
                    <a:pt x="1948" y="1180"/>
                  </a:cubicBezTo>
                  <a:lnTo>
                    <a:pt x="0" y="1180"/>
                  </a:lnTo>
                  <a:close/>
                </a:path>
              </a:pathLst>
            </a:custGeom>
            <a:solidFill>
              <a:srgbClr val="2D2D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9">
              <a:extLst>
                <a:ext uri="{FF2B5EF4-FFF2-40B4-BE49-F238E27FC236}">
                  <a16:creationId xmlns:a16="http://schemas.microsoft.com/office/drawing/2014/main" id="{1CF4F52F-FFFB-4331-A91E-D4B6E8B5820C}"/>
                </a:ext>
              </a:extLst>
            </p:cNvPr>
            <p:cNvSpPr>
              <a:spLocks/>
            </p:cNvSpPr>
            <p:nvPr/>
          </p:nvSpPr>
          <p:spPr bwMode="auto">
            <a:xfrm>
              <a:off x="4353371" y="4906963"/>
              <a:ext cx="3481388" cy="312737"/>
            </a:xfrm>
            <a:custGeom>
              <a:avLst/>
              <a:gdLst>
                <a:gd name="T0" fmla="*/ 1904 w 1948"/>
                <a:gd name="T1" fmla="*/ 175 h 175"/>
                <a:gd name="T2" fmla="*/ 44 w 1948"/>
                <a:gd name="T3" fmla="*/ 175 h 175"/>
                <a:gd name="T4" fmla="*/ 0 w 1948"/>
                <a:gd name="T5" fmla="*/ 131 h 175"/>
                <a:gd name="T6" fmla="*/ 0 w 1948"/>
                <a:gd name="T7" fmla="*/ 0 h 175"/>
                <a:gd name="T8" fmla="*/ 1948 w 1948"/>
                <a:gd name="T9" fmla="*/ 0 h 175"/>
                <a:gd name="T10" fmla="*/ 1948 w 1948"/>
                <a:gd name="T11" fmla="*/ 131 h 175"/>
                <a:gd name="T12" fmla="*/ 1904 w 1948"/>
                <a:gd name="T13" fmla="*/ 175 h 175"/>
              </a:gdLst>
              <a:ahLst/>
              <a:cxnLst>
                <a:cxn ang="0">
                  <a:pos x="T0" y="T1"/>
                </a:cxn>
                <a:cxn ang="0">
                  <a:pos x="T2" y="T3"/>
                </a:cxn>
                <a:cxn ang="0">
                  <a:pos x="T4" y="T5"/>
                </a:cxn>
                <a:cxn ang="0">
                  <a:pos x="T6" y="T7"/>
                </a:cxn>
                <a:cxn ang="0">
                  <a:pos x="T8" y="T9"/>
                </a:cxn>
                <a:cxn ang="0">
                  <a:pos x="T10" y="T11"/>
                </a:cxn>
                <a:cxn ang="0">
                  <a:pos x="T12" y="T13"/>
                </a:cxn>
              </a:cxnLst>
              <a:rect l="0" t="0" r="r" b="b"/>
              <a:pathLst>
                <a:path w="1948" h="175">
                  <a:moveTo>
                    <a:pt x="1904" y="175"/>
                  </a:moveTo>
                  <a:cubicBezTo>
                    <a:pt x="44" y="175"/>
                    <a:pt x="44" y="175"/>
                    <a:pt x="44" y="175"/>
                  </a:cubicBezTo>
                  <a:cubicBezTo>
                    <a:pt x="20" y="175"/>
                    <a:pt x="0" y="156"/>
                    <a:pt x="0" y="131"/>
                  </a:cubicBezTo>
                  <a:cubicBezTo>
                    <a:pt x="0" y="0"/>
                    <a:pt x="0" y="0"/>
                    <a:pt x="0" y="0"/>
                  </a:cubicBezTo>
                  <a:cubicBezTo>
                    <a:pt x="1948" y="0"/>
                    <a:pt x="1948" y="0"/>
                    <a:pt x="1948" y="0"/>
                  </a:cubicBezTo>
                  <a:cubicBezTo>
                    <a:pt x="1948" y="131"/>
                    <a:pt x="1948" y="131"/>
                    <a:pt x="1948" y="131"/>
                  </a:cubicBezTo>
                  <a:cubicBezTo>
                    <a:pt x="1948" y="156"/>
                    <a:pt x="1928" y="175"/>
                    <a:pt x="1904" y="175"/>
                  </a:cubicBez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Rectangle 20">
              <a:extLst>
                <a:ext uri="{FF2B5EF4-FFF2-40B4-BE49-F238E27FC236}">
                  <a16:creationId xmlns:a16="http://schemas.microsoft.com/office/drawing/2014/main" id="{83A0FA64-872A-4D30-AEB2-D61B3DF1C4B5}"/>
                </a:ext>
              </a:extLst>
            </p:cNvPr>
            <p:cNvSpPr>
              <a:spLocks noChangeArrowheads="1"/>
            </p:cNvSpPr>
            <p:nvPr/>
          </p:nvSpPr>
          <p:spPr bwMode="auto">
            <a:xfrm>
              <a:off x="4461321" y="2935288"/>
              <a:ext cx="3263900" cy="18335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21">
              <a:extLst>
                <a:ext uri="{FF2B5EF4-FFF2-40B4-BE49-F238E27FC236}">
                  <a16:creationId xmlns:a16="http://schemas.microsoft.com/office/drawing/2014/main" id="{D8D212EF-3FB8-4740-93AF-A78B124B0D94}"/>
                </a:ext>
              </a:extLst>
            </p:cNvPr>
            <p:cNvSpPr>
              <a:spLocks noChangeArrowheads="1"/>
            </p:cNvSpPr>
            <p:nvPr/>
          </p:nvSpPr>
          <p:spPr bwMode="auto">
            <a:xfrm>
              <a:off x="4461321" y="4606925"/>
              <a:ext cx="3263900" cy="161925"/>
            </a:xfrm>
            <a:prstGeom prst="rect">
              <a:avLst/>
            </a:prstGeom>
            <a:solidFill>
              <a:srgbClr val="89CDCD"/>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Rectangle 22">
              <a:extLst>
                <a:ext uri="{FF2B5EF4-FFF2-40B4-BE49-F238E27FC236}">
                  <a16:creationId xmlns:a16="http://schemas.microsoft.com/office/drawing/2014/main" id="{E73C8D34-F1E5-4F15-BD2A-63116A6C38EA}"/>
                </a:ext>
              </a:extLst>
            </p:cNvPr>
            <p:cNvSpPr>
              <a:spLocks noChangeArrowheads="1"/>
            </p:cNvSpPr>
            <p:nvPr/>
          </p:nvSpPr>
          <p:spPr bwMode="auto">
            <a:xfrm>
              <a:off x="5418583" y="2992438"/>
              <a:ext cx="1350963" cy="87312"/>
            </a:xfrm>
            <a:prstGeom prst="rect">
              <a:avLst/>
            </a:prstGeom>
            <a:solidFill>
              <a:srgbClr val="89CDCD"/>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Rectangle 23">
              <a:extLst>
                <a:ext uri="{FF2B5EF4-FFF2-40B4-BE49-F238E27FC236}">
                  <a16:creationId xmlns:a16="http://schemas.microsoft.com/office/drawing/2014/main" id="{41A6F95B-A68A-45D3-95BB-446C9F86D6FA}"/>
                </a:ext>
              </a:extLst>
            </p:cNvPr>
            <p:cNvSpPr>
              <a:spLocks noChangeArrowheads="1"/>
            </p:cNvSpPr>
            <p:nvPr/>
          </p:nvSpPr>
          <p:spPr bwMode="auto">
            <a:xfrm>
              <a:off x="5693221" y="3108325"/>
              <a:ext cx="800100" cy="87312"/>
            </a:xfrm>
            <a:prstGeom prst="rect">
              <a:avLst/>
            </a:prstGeom>
            <a:solidFill>
              <a:srgbClr val="89CDCD"/>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Rectangle 24">
              <a:extLst>
                <a:ext uri="{FF2B5EF4-FFF2-40B4-BE49-F238E27FC236}">
                  <a16:creationId xmlns:a16="http://schemas.microsoft.com/office/drawing/2014/main" id="{57E79C71-F397-4D46-BBE6-D154503420F9}"/>
                </a:ext>
              </a:extLst>
            </p:cNvPr>
            <p:cNvSpPr>
              <a:spLocks noChangeArrowheads="1"/>
            </p:cNvSpPr>
            <p:nvPr/>
          </p:nvSpPr>
          <p:spPr bwMode="auto">
            <a:xfrm>
              <a:off x="4913758" y="3848100"/>
              <a:ext cx="411163" cy="679450"/>
            </a:xfrm>
            <a:prstGeom prst="rect">
              <a:avLst/>
            </a:prstGeom>
            <a:solidFill>
              <a:srgbClr val="89CDCD"/>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Rectangle 25">
              <a:extLst>
                <a:ext uri="{FF2B5EF4-FFF2-40B4-BE49-F238E27FC236}">
                  <a16:creationId xmlns:a16="http://schemas.microsoft.com/office/drawing/2014/main" id="{7A9062FE-3007-4E81-914B-E231BD9D8A5D}"/>
                </a:ext>
              </a:extLst>
            </p:cNvPr>
            <p:cNvSpPr>
              <a:spLocks noChangeArrowheads="1"/>
            </p:cNvSpPr>
            <p:nvPr/>
          </p:nvSpPr>
          <p:spPr bwMode="auto">
            <a:xfrm>
              <a:off x="4923283" y="3276600"/>
              <a:ext cx="1408113" cy="522287"/>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55" name="Freeform 26">
              <a:extLst>
                <a:ext uri="{FF2B5EF4-FFF2-40B4-BE49-F238E27FC236}">
                  <a16:creationId xmlns:a16="http://schemas.microsoft.com/office/drawing/2014/main" id="{00CADF41-D949-4A48-84A3-FC1D8A3E21F0}"/>
                </a:ext>
              </a:extLst>
            </p:cNvPr>
            <p:cNvSpPr>
              <a:spLocks/>
            </p:cNvSpPr>
            <p:nvPr/>
          </p:nvSpPr>
          <p:spPr bwMode="auto">
            <a:xfrm>
              <a:off x="6234558" y="3489325"/>
              <a:ext cx="42863" cy="93662"/>
            </a:xfrm>
            <a:custGeom>
              <a:avLst/>
              <a:gdLst>
                <a:gd name="T0" fmla="*/ 1 w 24"/>
                <a:gd name="T1" fmla="*/ 6 h 53"/>
                <a:gd name="T2" fmla="*/ 2 w 24"/>
                <a:gd name="T3" fmla="*/ 2 h 53"/>
                <a:gd name="T4" fmla="*/ 6 w 24"/>
                <a:gd name="T5" fmla="*/ 2 h 53"/>
                <a:gd name="T6" fmla="*/ 23 w 24"/>
                <a:gd name="T7" fmla="*/ 25 h 53"/>
                <a:gd name="T8" fmla="*/ 24 w 24"/>
                <a:gd name="T9" fmla="*/ 25 h 53"/>
                <a:gd name="T10" fmla="*/ 24 w 24"/>
                <a:gd name="T11" fmla="*/ 25 h 53"/>
                <a:gd name="T12" fmla="*/ 24 w 24"/>
                <a:gd name="T13" fmla="*/ 25 h 53"/>
                <a:gd name="T14" fmla="*/ 24 w 24"/>
                <a:gd name="T15" fmla="*/ 25 h 53"/>
                <a:gd name="T16" fmla="*/ 24 w 24"/>
                <a:gd name="T17" fmla="*/ 26 h 53"/>
                <a:gd name="T18" fmla="*/ 24 w 24"/>
                <a:gd name="T19" fmla="*/ 26 h 53"/>
                <a:gd name="T20" fmla="*/ 24 w 24"/>
                <a:gd name="T21" fmla="*/ 26 h 53"/>
                <a:gd name="T22" fmla="*/ 24 w 24"/>
                <a:gd name="T23" fmla="*/ 26 h 53"/>
                <a:gd name="T24" fmla="*/ 24 w 24"/>
                <a:gd name="T25" fmla="*/ 26 h 53"/>
                <a:gd name="T26" fmla="*/ 24 w 24"/>
                <a:gd name="T27" fmla="*/ 27 h 53"/>
                <a:gd name="T28" fmla="*/ 24 w 24"/>
                <a:gd name="T29" fmla="*/ 27 h 53"/>
                <a:gd name="T30" fmla="*/ 24 w 24"/>
                <a:gd name="T31" fmla="*/ 27 h 53"/>
                <a:gd name="T32" fmla="*/ 24 w 24"/>
                <a:gd name="T33" fmla="*/ 27 h 53"/>
                <a:gd name="T34" fmla="*/ 24 w 24"/>
                <a:gd name="T35" fmla="*/ 27 h 53"/>
                <a:gd name="T36" fmla="*/ 24 w 24"/>
                <a:gd name="T37" fmla="*/ 27 h 53"/>
                <a:gd name="T38" fmla="*/ 24 w 24"/>
                <a:gd name="T39" fmla="*/ 27 h 53"/>
                <a:gd name="T40" fmla="*/ 24 w 24"/>
                <a:gd name="T41" fmla="*/ 27 h 53"/>
                <a:gd name="T42" fmla="*/ 24 w 24"/>
                <a:gd name="T43" fmla="*/ 27 h 53"/>
                <a:gd name="T44" fmla="*/ 24 w 24"/>
                <a:gd name="T45" fmla="*/ 27 h 53"/>
                <a:gd name="T46" fmla="*/ 24 w 24"/>
                <a:gd name="T47" fmla="*/ 28 h 53"/>
                <a:gd name="T48" fmla="*/ 24 w 24"/>
                <a:gd name="T49" fmla="*/ 28 h 53"/>
                <a:gd name="T50" fmla="*/ 24 w 24"/>
                <a:gd name="T51" fmla="*/ 28 h 53"/>
                <a:gd name="T52" fmla="*/ 24 w 24"/>
                <a:gd name="T53" fmla="*/ 28 h 53"/>
                <a:gd name="T54" fmla="*/ 24 w 24"/>
                <a:gd name="T55" fmla="*/ 28 h 53"/>
                <a:gd name="T56" fmla="*/ 24 w 24"/>
                <a:gd name="T57" fmla="*/ 29 h 53"/>
                <a:gd name="T58" fmla="*/ 24 w 24"/>
                <a:gd name="T59" fmla="*/ 29 h 53"/>
                <a:gd name="T60" fmla="*/ 24 w 24"/>
                <a:gd name="T61" fmla="*/ 29 h 53"/>
                <a:gd name="T62" fmla="*/ 24 w 24"/>
                <a:gd name="T63" fmla="*/ 29 h 53"/>
                <a:gd name="T64" fmla="*/ 23 w 24"/>
                <a:gd name="T65" fmla="*/ 29 h 53"/>
                <a:gd name="T66" fmla="*/ 6 w 24"/>
                <a:gd name="T67" fmla="*/ 52 h 53"/>
                <a:gd name="T68" fmla="*/ 2 w 24"/>
                <a:gd name="T69" fmla="*/ 52 h 53"/>
                <a:gd name="T70" fmla="*/ 1 w 24"/>
                <a:gd name="T71" fmla="*/ 48 h 53"/>
                <a:gd name="T72" fmla="*/ 17 w 24"/>
                <a:gd name="T73" fmla="*/ 27 h 53"/>
                <a:gd name="T74" fmla="*/ 1 w 24"/>
                <a:gd name="T75"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53">
                  <a:moveTo>
                    <a:pt x="1" y="6"/>
                  </a:moveTo>
                  <a:cubicBezTo>
                    <a:pt x="0" y="5"/>
                    <a:pt x="0" y="3"/>
                    <a:pt x="2" y="2"/>
                  </a:cubicBezTo>
                  <a:cubicBezTo>
                    <a:pt x="3" y="0"/>
                    <a:pt x="5" y="1"/>
                    <a:pt x="6" y="2"/>
                  </a:cubicBezTo>
                  <a:cubicBezTo>
                    <a:pt x="23" y="25"/>
                    <a:pt x="23" y="25"/>
                    <a:pt x="23" y="25"/>
                  </a:cubicBezTo>
                  <a:cubicBezTo>
                    <a:pt x="24" y="25"/>
                    <a:pt x="24" y="25"/>
                    <a:pt x="24" y="25"/>
                  </a:cubicBezTo>
                  <a:cubicBezTo>
                    <a:pt x="24" y="25"/>
                    <a:pt x="24" y="25"/>
                    <a:pt x="24" y="25"/>
                  </a:cubicBezTo>
                  <a:cubicBezTo>
                    <a:pt x="24" y="25"/>
                    <a:pt x="24" y="25"/>
                    <a:pt x="24" y="25"/>
                  </a:cubicBezTo>
                  <a:cubicBezTo>
                    <a:pt x="24" y="25"/>
                    <a:pt x="24" y="25"/>
                    <a:pt x="24" y="25"/>
                  </a:cubicBezTo>
                  <a:cubicBezTo>
                    <a:pt x="24" y="25"/>
                    <a:pt x="24" y="25"/>
                    <a:pt x="24" y="26"/>
                  </a:cubicBezTo>
                  <a:cubicBezTo>
                    <a:pt x="24" y="26"/>
                    <a:pt x="24" y="26"/>
                    <a:pt x="24" y="26"/>
                  </a:cubicBezTo>
                  <a:cubicBezTo>
                    <a:pt x="24" y="26"/>
                    <a:pt x="24" y="26"/>
                    <a:pt x="24" y="26"/>
                  </a:cubicBezTo>
                  <a:cubicBezTo>
                    <a:pt x="24" y="26"/>
                    <a:pt x="24" y="26"/>
                    <a:pt x="24" y="26"/>
                  </a:cubicBezTo>
                  <a:cubicBezTo>
                    <a:pt x="24" y="26"/>
                    <a:pt x="24" y="26"/>
                    <a:pt x="24" y="26"/>
                  </a:cubicBezTo>
                  <a:cubicBezTo>
                    <a:pt x="24" y="26"/>
                    <a:pt x="24" y="26"/>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8"/>
                    <a:pt x="24" y="28"/>
                  </a:cubicBezTo>
                  <a:cubicBezTo>
                    <a:pt x="24" y="28"/>
                    <a:pt x="24" y="28"/>
                    <a:pt x="24" y="28"/>
                  </a:cubicBezTo>
                  <a:cubicBezTo>
                    <a:pt x="24" y="28"/>
                    <a:pt x="24" y="28"/>
                    <a:pt x="24" y="28"/>
                  </a:cubicBezTo>
                  <a:cubicBezTo>
                    <a:pt x="24" y="28"/>
                    <a:pt x="24" y="28"/>
                    <a:pt x="24" y="28"/>
                  </a:cubicBezTo>
                  <a:cubicBezTo>
                    <a:pt x="24" y="28"/>
                    <a:pt x="24" y="28"/>
                    <a:pt x="24" y="28"/>
                  </a:cubicBezTo>
                  <a:cubicBezTo>
                    <a:pt x="24" y="28"/>
                    <a:pt x="24" y="29"/>
                    <a:pt x="24" y="29"/>
                  </a:cubicBezTo>
                  <a:cubicBezTo>
                    <a:pt x="24" y="29"/>
                    <a:pt x="24" y="29"/>
                    <a:pt x="24" y="29"/>
                  </a:cubicBezTo>
                  <a:cubicBezTo>
                    <a:pt x="24" y="29"/>
                    <a:pt x="24" y="29"/>
                    <a:pt x="24" y="29"/>
                  </a:cubicBezTo>
                  <a:cubicBezTo>
                    <a:pt x="24" y="29"/>
                    <a:pt x="24" y="29"/>
                    <a:pt x="24" y="29"/>
                  </a:cubicBezTo>
                  <a:cubicBezTo>
                    <a:pt x="24" y="29"/>
                    <a:pt x="24" y="29"/>
                    <a:pt x="23" y="29"/>
                  </a:cubicBezTo>
                  <a:cubicBezTo>
                    <a:pt x="6" y="52"/>
                    <a:pt x="6" y="52"/>
                    <a:pt x="6" y="52"/>
                  </a:cubicBezTo>
                  <a:cubicBezTo>
                    <a:pt x="5" y="53"/>
                    <a:pt x="3" y="53"/>
                    <a:pt x="2" y="52"/>
                  </a:cubicBezTo>
                  <a:cubicBezTo>
                    <a:pt x="0" y="51"/>
                    <a:pt x="0" y="49"/>
                    <a:pt x="1" y="48"/>
                  </a:cubicBezTo>
                  <a:cubicBezTo>
                    <a:pt x="17" y="27"/>
                    <a:pt x="17" y="27"/>
                    <a:pt x="17" y="27"/>
                  </a:cubicBezTo>
                  <a:lnTo>
                    <a:pt x="1"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7">
              <a:extLst>
                <a:ext uri="{FF2B5EF4-FFF2-40B4-BE49-F238E27FC236}">
                  <a16:creationId xmlns:a16="http://schemas.microsoft.com/office/drawing/2014/main" id="{6E074E8F-608A-4650-92BE-C8407A923498}"/>
                </a:ext>
              </a:extLst>
            </p:cNvPr>
            <p:cNvSpPr>
              <a:spLocks/>
            </p:cNvSpPr>
            <p:nvPr/>
          </p:nvSpPr>
          <p:spPr bwMode="auto">
            <a:xfrm>
              <a:off x="4975671" y="3489325"/>
              <a:ext cx="42863" cy="93662"/>
            </a:xfrm>
            <a:custGeom>
              <a:avLst/>
              <a:gdLst>
                <a:gd name="T0" fmla="*/ 17 w 24"/>
                <a:gd name="T1" fmla="*/ 2 h 53"/>
                <a:gd name="T2" fmla="*/ 22 w 24"/>
                <a:gd name="T3" fmla="*/ 2 h 53"/>
                <a:gd name="T4" fmla="*/ 23 w 24"/>
                <a:gd name="T5" fmla="*/ 6 h 53"/>
                <a:gd name="T6" fmla="*/ 7 w 24"/>
                <a:gd name="T7" fmla="*/ 27 h 53"/>
                <a:gd name="T8" fmla="*/ 23 w 24"/>
                <a:gd name="T9" fmla="*/ 48 h 53"/>
                <a:gd name="T10" fmla="*/ 22 w 24"/>
                <a:gd name="T11" fmla="*/ 52 h 53"/>
                <a:gd name="T12" fmla="*/ 17 w 24"/>
                <a:gd name="T13" fmla="*/ 52 h 53"/>
                <a:gd name="T14" fmla="*/ 0 w 24"/>
                <a:gd name="T15" fmla="*/ 29 h 53"/>
                <a:gd name="T16" fmla="*/ 0 w 24"/>
                <a:gd name="T17" fmla="*/ 29 h 53"/>
                <a:gd name="T18" fmla="*/ 0 w 24"/>
                <a:gd name="T19" fmla="*/ 29 h 53"/>
                <a:gd name="T20" fmla="*/ 0 w 24"/>
                <a:gd name="T21" fmla="*/ 29 h 53"/>
                <a:gd name="T22" fmla="*/ 0 w 24"/>
                <a:gd name="T23" fmla="*/ 29 h 53"/>
                <a:gd name="T24" fmla="*/ 0 w 24"/>
                <a:gd name="T25" fmla="*/ 28 h 53"/>
                <a:gd name="T26" fmla="*/ 0 w 24"/>
                <a:gd name="T27" fmla="*/ 28 h 53"/>
                <a:gd name="T28" fmla="*/ 0 w 24"/>
                <a:gd name="T29" fmla="*/ 28 h 53"/>
                <a:gd name="T30" fmla="*/ 0 w 24"/>
                <a:gd name="T31" fmla="*/ 28 h 53"/>
                <a:gd name="T32" fmla="*/ 0 w 24"/>
                <a:gd name="T33" fmla="*/ 28 h 53"/>
                <a:gd name="T34" fmla="*/ 0 w 24"/>
                <a:gd name="T35" fmla="*/ 27 h 53"/>
                <a:gd name="T36" fmla="*/ 0 w 24"/>
                <a:gd name="T37" fmla="*/ 27 h 53"/>
                <a:gd name="T38" fmla="*/ 0 w 24"/>
                <a:gd name="T39" fmla="*/ 27 h 53"/>
                <a:gd name="T40" fmla="*/ 0 w 24"/>
                <a:gd name="T41" fmla="*/ 27 h 53"/>
                <a:gd name="T42" fmla="*/ 0 w 24"/>
                <a:gd name="T43" fmla="*/ 27 h 53"/>
                <a:gd name="T44" fmla="*/ 0 w 24"/>
                <a:gd name="T45" fmla="*/ 27 h 53"/>
                <a:gd name="T46" fmla="*/ 0 w 24"/>
                <a:gd name="T47" fmla="*/ 27 h 53"/>
                <a:gd name="T48" fmla="*/ 0 w 24"/>
                <a:gd name="T49" fmla="*/ 27 h 53"/>
                <a:gd name="T50" fmla="*/ 0 w 24"/>
                <a:gd name="T51" fmla="*/ 27 h 53"/>
                <a:gd name="T52" fmla="*/ 0 w 24"/>
                <a:gd name="T53" fmla="*/ 27 h 53"/>
                <a:gd name="T54" fmla="*/ 0 w 24"/>
                <a:gd name="T55" fmla="*/ 26 h 53"/>
                <a:gd name="T56" fmla="*/ 0 w 24"/>
                <a:gd name="T57" fmla="*/ 26 h 53"/>
                <a:gd name="T58" fmla="*/ 0 w 24"/>
                <a:gd name="T59" fmla="*/ 26 h 53"/>
                <a:gd name="T60" fmla="*/ 0 w 24"/>
                <a:gd name="T61" fmla="*/ 26 h 53"/>
                <a:gd name="T62" fmla="*/ 0 w 24"/>
                <a:gd name="T63" fmla="*/ 26 h 53"/>
                <a:gd name="T64" fmla="*/ 0 w 24"/>
                <a:gd name="T65" fmla="*/ 25 h 53"/>
                <a:gd name="T66" fmla="*/ 0 w 24"/>
                <a:gd name="T67" fmla="*/ 25 h 53"/>
                <a:gd name="T68" fmla="*/ 0 w 24"/>
                <a:gd name="T69" fmla="*/ 25 h 53"/>
                <a:gd name="T70" fmla="*/ 0 w 24"/>
                <a:gd name="T71" fmla="*/ 25 h 53"/>
                <a:gd name="T72" fmla="*/ 0 w 24"/>
                <a:gd name="T73" fmla="*/ 25 h 53"/>
                <a:gd name="T74" fmla="*/ 17 w 24"/>
                <a:gd name="T75" fmla="*/ 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53">
                  <a:moveTo>
                    <a:pt x="17" y="2"/>
                  </a:moveTo>
                  <a:cubicBezTo>
                    <a:pt x="18" y="1"/>
                    <a:pt x="21" y="0"/>
                    <a:pt x="22" y="2"/>
                  </a:cubicBezTo>
                  <a:cubicBezTo>
                    <a:pt x="24" y="3"/>
                    <a:pt x="24" y="5"/>
                    <a:pt x="23" y="6"/>
                  </a:cubicBezTo>
                  <a:cubicBezTo>
                    <a:pt x="7" y="27"/>
                    <a:pt x="7" y="27"/>
                    <a:pt x="7" y="27"/>
                  </a:cubicBezTo>
                  <a:cubicBezTo>
                    <a:pt x="23" y="48"/>
                    <a:pt x="23" y="48"/>
                    <a:pt x="23" y="48"/>
                  </a:cubicBezTo>
                  <a:cubicBezTo>
                    <a:pt x="24" y="49"/>
                    <a:pt x="24" y="51"/>
                    <a:pt x="22" y="52"/>
                  </a:cubicBezTo>
                  <a:cubicBezTo>
                    <a:pt x="21" y="53"/>
                    <a:pt x="18" y="53"/>
                    <a:pt x="17" y="52"/>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8"/>
                    <a:pt x="0" y="28"/>
                  </a:cubicBezTo>
                  <a:cubicBezTo>
                    <a:pt x="0" y="28"/>
                    <a:pt x="0" y="28"/>
                    <a:pt x="0" y="28"/>
                  </a:cubicBezTo>
                  <a:cubicBezTo>
                    <a:pt x="0" y="28"/>
                    <a:pt x="0" y="28"/>
                    <a:pt x="0" y="28"/>
                  </a:cubicBezTo>
                  <a:cubicBezTo>
                    <a:pt x="0" y="28"/>
                    <a:pt x="0" y="28"/>
                    <a:pt x="0" y="28"/>
                  </a:cubicBezTo>
                  <a:cubicBezTo>
                    <a:pt x="0" y="28"/>
                    <a:pt x="0" y="28"/>
                    <a:pt x="0" y="28"/>
                  </a:cubicBezTo>
                  <a:cubicBezTo>
                    <a:pt x="0" y="28"/>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lnTo>
                    <a:pt x="17"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28">
              <a:extLst>
                <a:ext uri="{FF2B5EF4-FFF2-40B4-BE49-F238E27FC236}">
                  <a16:creationId xmlns:a16="http://schemas.microsoft.com/office/drawing/2014/main" id="{1B154F2F-9BD1-4C06-8057-FE8592F69959}"/>
                </a:ext>
              </a:extLst>
            </p:cNvPr>
            <p:cNvSpPr>
              <a:spLocks noChangeArrowheads="1"/>
            </p:cNvSpPr>
            <p:nvPr/>
          </p:nvSpPr>
          <p:spPr bwMode="auto">
            <a:xfrm>
              <a:off x="5429696" y="3848100"/>
              <a:ext cx="411163" cy="336550"/>
            </a:xfrm>
            <a:prstGeom prst="rect">
              <a:avLst/>
            </a:prstGeom>
            <a:solidFill>
              <a:srgbClr val="FEC799"/>
            </a:solidFill>
            <a:ln>
              <a:noFill/>
            </a:ln>
          </p:spPr>
          <p:txBody>
            <a:bodyPr vert="horz" wrap="square" lIns="91440" tIns="45720" rIns="91440" bIns="45720" numCol="1" anchor="t" anchorCtr="0" compatLnSpc="1">
              <a:prstTxWarp prst="textNoShape">
                <a:avLst/>
              </a:prstTxWarp>
            </a:bodyPr>
            <a:lstStyle/>
            <a:p>
              <a:endParaRPr lang="en-US"/>
            </a:p>
          </p:txBody>
        </p:sp>
        <p:sp>
          <p:nvSpPr>
            <p:cNvPr id="58" name="Rectangle 29">
              <a:extLst>
                <a:ext uri="{FF2B5EF4-FFF2-40B4-BE49-F238E27FC236}">
                  <a16:creationId xmlns:a16="http://schemas.microsoft.com/office/drawing/2014/main" id="{11D19493-689F-4FE5-B587-EC3AA4680F2B}"/>
                </a:ext>
              </a:extLst>
            </p:cNvPr>
            <p:cNvSpPr>
              <a:spLocks noChangeArrowheads="1"/>
            </p:cNvSpPr>
            <p:nvPr/>
          </p:nvSpPr>
          <p:spPr bwMode="auto">
            <a:xfrm>
              <a:off x="6374258" y="3848100"/>
              <a:ext cx="898525" cy="336550"/>
            </a:xfrm>
            <a:prstGeom prst="rect">
              <a:avLst/>
            </a:prstGeom>
            <a:solidFill>
              <a:srgbClr val="89CDCD"/>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Rectangle 30">
              <a:extLst>
                <a:ext uri="{FF2B5EF4-FFF2-40B4-BE49-F238E27FC236}">
                  <a16:creationId xmlns:a16="http://schemas.microsoft.com/office/drawing/2014/main" id="{64CD1AB4-9A2E-4275-A15B-D43EF0541909}"/>
                </a:ext>
              </a:extLst>
            </p:cNvPr>
            <p:cNvSpPr>
              <a:spLocks noChangeArrowheads="1"/>
            </p:cNvSpPr>
            <p:nvPr/>
          </p:nvSpPr>
          <p:spPr bwMode="auto">
            <a:xfrm>
              <a:off x="6374258" y="3276600"/>
              <a:ext cx="898525" cy="522287"/>
            </a:xfrm>
            <a:prstGeom prst="rect">
              <a:avLst/>
            </a:prstGeom>
            <a:solidFill>
              <a:srgbClr val="8497B0"/>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Rectangle 31">
              <a:extLst>
                <a:ext uri="{FF2B5EF4-FFF2-40B4-BE49-F238E27FC236}">
                  <a16:creationId xmlns:a16="http://schemas.microsoft.com/office/drawing/2014/main" id="{7CBD2517-7C4E-4427-9242-8EE0D11E21FA}"/>
                </a:ext>
              </a:extLst>
            </p:cNvPr>
            <p:cNvSpPr>
              <a:spLocks noChangeArrowheads="1"/>
            </p:cNvSpPr>
            <p:nvPr/>
          </p:nvSpPr>
          <p:spPr bwMode="auto">
            <a:xfrm>
              <a:off x="5429696" y="4217988"/>
              <a:ext cx="881063"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32">
              <a:extLst>
                <a:ext uri="{FF2B5EF4-FFF2-40B4-BE49-F238E27FC236}">
                  <a16:creationId xmlns:a16="http://schemas.microsoft.com/office/drawing/2014/main" id="{D3DE51AD-E38C-4F62-83FB-F5A220877A26}"/>
                </a:ext>
              </a:extLst>
            </p:cNvPr>
            <p:cNvSpPr>
              <a:spLocks noChangeArrowheads="1"/>
            </p:cNvSpPr>
            <p:nvPr/>
          </p:nvSpPr>
          <p:spPr bwMode="auto">
            <a:xfrm>
              <a:off x="5429696" y="4267200"/>
              <a:ext cx="881063" cy="28575"/>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33">
              <a:extLst>
                <a:ext uri="{FF2B5EF4-FFF2-40B4-BE49-F238E27FC236}">
                  <a16:creationId xmlns:a16="http://schemas.microsoft.com/office/drawing/2014/main" id="{A9ED8AC0-BA8E-4436-829F-FC2A33373701}"/>
                </a:ext>
              </a:extLst>
            </p:cNvPr>
            <p:cNvSpPr>
              <a:spLocks noChangeArrowheads="1"/>
            </p:cNvSpPr>
            <p:nvPr/>
          </p:nvSpPr>
          <p:spPr bwMode="auto">
            <a:xfrm>
              <a:off x="5429696" y="4316413"/>
              <a:ext cx="881063"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34">
              <a:extLst>
                <a:ext uri="{FF2B5EF4-FFF2-40B4-BE49-F238E27FC236}">
                  <a16:creationId xmlns:a16="http://schemas.microsoft.com/office/drawing/2014/main" id="{0F49A44F-DF9E-4AF7-83BE-CEF61ED82580}"/>
                </a:ext>
              </a:extLst>
            </p:cNvPr>
            <p:cNvSpPr>
              <a:spLocks noChangeArrowheads="1"/>
            </p:cNvSpPr>
            <p:nvPr/>
          </p:nvSpPr>
          <p:spPr bwMode="auto">
            <a:xfrm>
              <a:off x="5429696" y="4367213"/>
              <a:ext cx="881063"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35">
              <a:extLst>
                <a:ext uri="{FF2B5EF4-FFF2-40B4-BE49-F238E27FC236}">
                  <a16:creationId xmlns:a16="http://schemas.microsoft.com/office/drawing/2014/main" id="{693D6056-4812-437D-93F0-8216B34BCD67}"/>
                </a:ext>
              </a:extLst>
            </p:cNvPr>
            <p:cNvSpPr>
              <a:spLocks noChangeArrowheads="1"/>
            </p:cNvSpPr>
            <p:nvPr/>
          </p:nvSpPr>
          <p:spPr bwMode="auto">
            <a:xfrm>
              <a:off x="5429696" y="4414838"/>
              <a:ext cx="881063"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36">
              <a:extLst>
                <a:ext uri="{FF2B5EF4-FFF2-40B4-BE49-F238E27FC236}">
                  <a16:creationId xmlns:a16="http://schemas.microsoft.com/office/drawing/2014/main" id="{79FB30EA-6B07-41ED-B0CB-D7C07F57E6BE}"/>
                </a:ext>
              </a:extLst>
            </p:cNvPr>
            <p:cNvSpPr>
              <a:spLocks noChangeArrowheads="1"/>
            </p:cNvSpPr>
            <p:nvPr/>
          </p:nvSpPr>
          <p:spPr bwMode="auto">
            <a:xfrm>
              <a:off x="5429696" y="4465638"/>
              <a:ext cx="881063"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37">
              <a:extLst>
                <a:ext uri="{FF2B5EF4-FFF2-40B4-BE49-F238E27FC236}">
                  <a16:creationId xmlns:a16="http://schemas.microsoft.com/office/drawing/2014/main" id="{996E7124-8BB5-489D-BB76-09724F548BA3}"/>
                </a:ext>
              </a:extLst>
            </p:cNvPr>
            <p:cNvSpPr>
              <a:spLocks noChangeArrowheads="1"/>
            </p:cNvSpPr>
            <p:nvPr/>
          </p:nvSpPr>
          <p:spPr bwMode="auto">
            <a:xfrm>
              <a:off x="5429696" y="4513263"/>
              <a:ext cx="881063" cy="28575"/>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38">
              <a:extLst>
                <a:ext uri="{FF2B5EF4-FFF2-40B4-BE49-F238E27FC236}">
                  <a16:creationId xmlns:a16="http://schemas.microsoft.com/office/drawing/2014/main" id="{468D036C-A4FA-4C37-BDCA-FDA36A303877}"/>
                </a:ext>
              </a:extLst>
            </p:cNvPr>
            <p:cNvSpPr>
              <a:spLocks noChangeArrowheads="1"/>
            </p:cNvSpPr>
            <p:nvPr/>
          </p:nvSpPr>
          <p:spPr bwMode="auto">
            <a:xfrm>
              <a:off x="5878958" y="3860800"/>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39">
              <a:extLst>
                <a:ext uri="{FF2B5EF4-FFF2-40B4-BE49-F238E27FC236}">
                  <a16:creationId xmlns:a16="http://schemas.microsoft.com/office/drawing/2014/main" id="{1462D930-9311-4D30-923E-795C3C2E516F}"/>
                </a:ext>
              </a:extLst>
            </p:cNvPr>
            <p:cNvSpPr>
              <a:spLocks noChangeArrowheads="1"/>
            </p:cNvSpPr>
            <p:nvPr/>
          </p:nvSpPr>
          <p:spPr bwMode="auto">
            <a:xfrm>
              <a:off x="5878958" y="3910013"/>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40">
              <a:extLst>
                <a:ext uri="{FF2B5EF4-FFF2-40B4-BE49-F238E27FC236}">
                  <a16:creationId xmlns:a16="http://schemas.microsoft.com/office/drawing/2014/main" id="{A1F887C0-5BBA-4BEC-B5F1-18B274B5FFD7}"/>
                </a:ext>
              </a:extLst>
            </p:cNvPr>
            <p:cNvSpPr>
              <a:spLocks noChangeArrowheads="1"/>
            </p:cNvSpPr>
            <p:nvPr/>
          </p:nvSpPr>
          <p:spPr bwMode="auto">
            <a:xfrm>
              <a:off x="5878958" y="3959225"/>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41">
              <a:extLst>
                <a:ext uri="{FF2B5EF4-FFF2-40B4-BE49-F238E27FC236}">
                  <a16:creationId xmlns:a16="http://schemas.microsoft.com/office/drawing/2014/main" id="{8190905A-09C9-4AFD-A414-0959184C81B5}"/>
                </a:ext>
              </a:extLst>
            </p:cNvPr>
            <p:cNvSpPr>
              <a:spLocks noChangeArrowheads="1"/>
            </p:cNvSpPr>
            <p:nvPr/>
          </p:nvSpPr>
          <p:spPr bwMode="auto">
            <a:xfrm>
              <a:off x="5878958" y="4008438"/>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42">
              <a:extLst>
                <a:ext uri="{FF2B5EF4-FFF2-40B4-BE49-F238E27FC236}">
                  <a16:creationId xmlns:a16="http://schemas.microsoft.com/office/drawing/2014/main" id="{6FD26CAD-EE20-4023-925B-37443446BD60}"/>
                </a:ext>
              </a:extLst>
            </p:cNvPr>
            <p:cNvSpPr>
              <a:spLocks noChangeArrowheads="1"/>
            </p:cNvSpPr>
            <p:nvPr/>
          </p:nvSpPr>
          <p:spPr bwMode="auto">
            <a:xfrm>
              <a:off x="5878958" y="4057650"/>
              <a:ext cx="431800" cy="28575"/>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43">
              <a:extLst>
                <a:ext uri="{FF2B5EF4-FFF2-40B4-BE49-F238E27FC236}">
                  <a16:creationId xmlns:a16="http://schemas.microsoft.com/office/drawing/2014/main" id="{38787A7D-CAC2-4344-A482-980270E832E3}"/>
                </a:ext>
              </a:extLst>
            </p:cNvPr>
            <p:cNvSpPr>
              <a:spLocks noChangeArrowheads="1"/>
            </p:cNvSpPr>
            <p:nvPr/>
          </p:nvSpPr>
          <p:spPr bwMode="auto">
            <a:xfrm>
              <a:off x="5878958" y="4106863"/>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44">
              <a:extLst>
                <a:ext uri="{FF2B5EF4-FFF2-40B4-BE49-F238E27FC236}">
                  <a16:creationId xmlns:a16="http://schemas.microsoft.com/office/drawing/2014/main" id="{7D919087-10BD-404D-AB30-896BC4695DB9}"/>
                </a:ext>
              </a:extLst>
            </p:cNvPr>
            <p:cNvSpPr>
              <a:spLocks noChangeArrowheads="1"/>
            </p:cNvSpPr>
            <p:nvPr/>
          </p:nvSpPr>
          <p:spPr bwMode="auto">
            <a:xfrm>
              <a:off x="5878958" y="4157663"/>
              <a:ext cx="431800" cy="26987"/>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45">
              <a:extLst>
                <a:ext uri="{FF2B5EF4-FFF2-40B4-BE49-F238E27FC236}">
                  <a16:creationId xmlns:a16="http://schemas.microsoft.com/office/drawing/2014/main" id="{2B51EFAA-88C6-4183-B84B-F617C19C52D4}"/>
                </a:ext>
              </a:extLst>
            </p:cNvPr>
            <p:cNvSpPr>
              <a:spLocks noChangeArrowheads="1"/>
            </p:cNvSpPr>
            <p:nvPr/>
          </p:nvSpPr>
          <p:spPr bwMode="auto">
            <a:xfrm>
              <a:off x="6374258" y="4216400"/>
              <a:ext cx="433388" cy="338137"/>
            </a:xfrm>
            <a:prstGeom prst="rect">
              <a:avLst/>
            </a:prstGeom>
            <a:solidFill>
              <a:srgbClr val="F49880"/>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Rectangle 46">
              <a:extLst>
                <a:ext uri="{FF2B5EF4-FFF2-40B4-BE49-F238E27FC236}">
                  <a16:creationId xmlns:a16="http://schemas.microsoft.com/office/drawing/2014/main" id="{FC799946-F68C-4A25-A905-AA995693AE5A}"/>
                </a:ext>
              </a:extLst>
            </p:cNvPr>
            <p:cNvSpPr>
              <a:spLocks noChangeArrowheads="1"/>
            </p:cNvSpPr>
            <p:nvPr/>
          </p:nvSpPr>
          <p:spPr bwMode="auto">
            <a:xfrm>
              <a:off x="6836221" y="4216400"/>
              <a:ext cx="436563" cy="338137"/>
            </a:xfrm>
            <a:prstGeom prst="rect">
              <a:avLst/>
            </a:prstGeom>
            <a:solidFill>
              <a:srgbClr val="CF96BB"/>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76" name="Freeform 47">
            <a:extLst>
              <a:ext uri="{FF2B5EF4-FFF2-40B4-BE49-F238E27FC236}">
                <a16:creationId xmlns:a16="http://schemas.microsoft.com/office/drawing/2014/main" id="{98E95448-824E-4FA4-8D3D-B28A714F1C22}"/>
              </a:ext>
            </a:extLst>
          </p:cNvPr>
          <p:cNvSpPr>
            <a:spLocks/>
          </p:cNvSpPr>
          <p:nvPr/>
        </p:nvSpPr>
        <p:spPr bwMode="auto">
          <a:xfrm>
            <a:off x="4095403" y="1063625"/>
            <a:ext cx="911225" cy="912812"/>
          </a:xfrm>
          <a:custGeom>
            <a:avLst/>
            <a:gdLst>
              <a:gd name="T0" fmla="*/ 143 w 510"/>
              <a:gd name="T1" fmla="*/ 62 h 510"/>
              <a:gd name="T2" fmla="*/ 448 w 510"/>
              <a:gd name="T3" fmla="*/ 143 h 510"/>
              <a:gd name="T4" fmla="*/ 367 w 510"/>
              <a:gd name="T5" fmla="*/ 448 h 510"/>
              <a:gd name="T6" fmla="*/ 62 w 510"/>
              <a:gd name="T7" fmla="*/ 367 h 510"/>
              <a:gd name="T8" fmla="*/ 143 w 510"/>
              <a:gd name="T9" fmla="*/ 62 h 510"/>
            </a:gdLst>
            <a:ahLst/>
            <a:cxnLst>
              <a:cxn ang="0">
                <a:pos x="T0" y="T1"/>
              </a:cxn>
              <a:cxn ang="0">
                <a:pos x="T2" y="T3"/>
              </a:cxn>
              <a:cxn ang="0">
                <a:pos x="T4" y="T5"/>
              </a:cxn>
              <a:cxn ang="0">
                <a:pos x="T6" y="T7"/>
              </a:cxn>
              <a:cxn ang="0">
                <a:pos x="T8" y="T9"/>
              </a:cxn>
            </a:cxnLst>
            <a:rect l="0" t="0" r="r" b="b"/>
            <a:pathLst>
              <a:path w="510" h="510">
                <a:moveTo>
                  <a:pt x="143" y="62"/>
                </a:moveTo>
                <a:cubicBezTo>
                  <a:pt x="250" y="0"/>
                  <a:pt x="387" y="37"/>
                  <a:pt x="448" y="143"/>
                </a:cubicBezTo>
                <a:cubicBezTo>
                  <a:pt x="510" y="250"/>
                  <a:pt x="474" y="387"/>
                  <a:pt x="367" y="448"/>
                </a:cubicBezTo>
                <a:cubicBezTo>
                  <a:pt x="260" y="510"/>
                  <a:pt x="123" y="473"/>
                  <a:pt x="62" y="367"/>
                </a:cubicBezTo>
                <a:cubicBezTo>
                  <a:pt x="0" y="260"/>
                  <a:pt x="37" y="123"/>
                  <a:pt x="143" y="62"/>
                </a:cubicBezTo>
                <a:close/>
              </a:path>
            </a:pathLst>
          </a:custGeom>
          <a:solidFill>
            <a:schemeClr val="accent3">
              <a:lumMod val="60000"/>
              <a:lumOff val="40000"/>
            </a:schemeClr>
          </a:solidFill>
          <a:ln>
            <a:noFill/>
          </a:ln>
          <a:effectLst/>
        </p:spPr>
        <p:txBody>
          <a:bodyPr vert="horz" wrap="square" lIns="91440" tIns="45720" rIns="91440" bIns="45720" numCol="1" anchor="ctr" anchorCtr="0" compatLnSpc="1">
            <a:prstTxWarp prst="textNoShape">
              <a:avLst/>
            </a:prstTxWarp>
          </a:bodyPr>
          <a:lstStyle/>
          <a:p>
            <a:pPr algn="ctr"/>
            <a:r>
              <a:rPr lang="uz-Cyrl-UZ" b="1" dirty="0" smtClean="0"/>
              <a:t>20</a:t>
            </a:r>
            <a:endParaRPr lang="en-US" b="1" dirty="0"/>
          </a:p>
        </p:txBody>
      </p:sp>
      <p:sp>
        <p:nvSpPr>
          <p:cNvPr id="77" name="Freeform 54">
            <a:extLst>
              <a:ext uri="{FF2B5EF4-FFF2-40B4-BE49-F238E27FC236}">
                <a16:creationId xmlns:a16="http://schemas.microsoft.com/office/drawing/2014/main" id="{71002197-657D-4333-AFC9-97B537D43D27}"/>
              </a:ext>
            </a:extLst>
          </p:cNvPr>
          <p:cNvSpPr>
            <a:spLocks/>
          </p:cNvSpPr>
          <p:nvPr/>
        </p:nvSpPr>
        <p:spPr bwMode="auto">
          <a:xfrm>
            <a:off x="2942581" y="2203450"/>
            <a:ext cx="912813" cy="911225"/>
          </a:xfrm>
          <a:custGeom>
            <a:avLst/>
            <a:gdLst>
              <a:gd name="T0" fmla="*/ 62 w 510"/>
              <a:gd name="T1" fmla="*/ 143 h 510"/>
              <a:gd name="T2" fmla="*/ 367 w 510"/>
              <a:gd name="T3" fmla="*/ 61 h 510"/>
              <a:gd name="T4" fmla="*/ 449 w 510"/>
              <a:gd name="T5" fmla="*/ 366 h 510"/>
              <a:gd name="T6" fmla="*/ 144 w 510"/>
              <a:gd name="T7" fmla="*/ 448 h 510"/>
              <a:gd name="T8" fmla="*/ 62 w 510"/>
              <a:gd name="T9" fmla="*/ 143 h 510"/>
            </a:gdLst>
            <a:ahLst/>
            <a:cxnLst>
              <a:cxn ang="0">
                <a:pos x="T0" y="T1"/>
              </a:cxn>
              <a:cxn ang="0">
                <a:pos x="T2" y="T3"/>
              </a:cxn>
              <a:cxn ang="0">
                <a:pos x="T4" y="T5"/>
              </a:cxn>
              <a:cxn ang="0">
                <a:pos x="T6" y="T7"/>
              </a:cxn>
              <a:cxn ang="0">
                <a:pos x="T8" y="T9"/>
              </a:cxn>
            </a:cxnLst>
            <a:rect l="0" t="0" r="r" b="b"/>
            <a:pathLst>
              <a:path w="510" h="510">
                <a:moveTo>
                  <a:pt x="62" y="143"/>
                </a:moveTo>
                <a:cubicBezTo>
                  <a:pt x="124" y="36"/>
                  <a:pt x="260" y="0"/>
                  <a:pt x="367" y="61"/>
                </a:cubicBezTo>
                <a:cubicBezTo>
                  <a:pt x="474" y="123"/>
                  <a:pt x="510" y="260"/>
                  <a:pt x="449" y="366"/>
                </a:cubicBezTo>
                <a:cubicBezTo>
                  <a:pt x="387" y="473"/>
                  <a:pt x="250" y="510"/>
                  <a:pt x="144" y="448"/>
                </a:cubicBezTo>
                <a:cubicBezTo>
                  <a:pt x="37" y="386"/>
                  <a:pt x="0" y="250"/>
                  <a:pt x="62" y="143"/>
                </a:cubicBezTo>
                <a:close/>
              </a:path>
            </a:pathLst>
          </a:custGeom>
          <a:solidFill>
            <a:schemeClr val="accent3">
              <a:lumMod val="40000"/>
              <a:lumOff val="60000"/>
            </a:schemeClr>
          </a:solidFill>
          <a:ln>
            <a:noFill/>
          </a:ln>
          <a:effectLst/>
        </p:spPr>
        <p:txBody>
          <a:bodyPr vert="horz" wrap="square" lIns="91440" tIns="45720" rIns="91440" bIns="45720" numCol="1" anchor="ctr" anchorCtr="0" compatLnSpc="1">
            <a:prstTxWarp prst="textNoShape">
              <a:avLst/>
            </a:prstTxWarp>
          </a:bodyPr>
          <a:lstStyle/>
          <a:p>
            <a:pPr algn="ctr"/>
            <a:r>
              <a:rPr lang="uz-Cyrl-UZ" b="1" dirty="0" smtClean="0"/>
              <a:t>10</a:t>
            </a:r>
            <a:endParaRPr lang="en-US" b="1" dirty="0"/>
          </a:p>
        </p:txBody>
      </p:sp>
      <p:sp>
        <p:nvSpPr>
          <p:cNvPr id="78" name="Freeform 65">
            <a:extLst>
              <a:ext uri="{FF2B5EF4-FFF2-40B4-BE49-F238E27FC236}">
                <a16:creationId xmlns:a16="http://schemas.microsoft.com/office/drawing/2014/main" id="{68CF7F82-527B-41A1-9F12-333723CFBA02}"/>
              </a:ext>
            </a:extLst>
          </p:cNvPr>
          <p:cNvSpPr>
            <a:spLocks/>
          </p:cNvSpPr>
          <p:nvPr/>
        </p:nvSpPr>
        <p:spPr bwMode="auto">
          <a:xfrm>
            <a:off x="8331646" y="2037556"/>
            <a:ext cx="911225" cy="911225"/>
          </a:xfrm>
          <a:custGeom>
            <a:avLst/>
            <a:gdLst>
              <a:gd name="T0" fmla="*/ 448 w 510"/>
              <a:gd name="T1" fmla="*/ 143 h 510"/>
              <a:gd name="T2" fmla="*/ 366 w 510"/>
              <a:gd name="T3" fmla="*/ 448 h 510"/>
              <a:gd name="T4" fmla="*/ 61 w 510"/>
              <a:gd name="T5" fmla="*/ 366 h 510"/>
              <a:gd name="T6" fmla="*/ 143 w 510"/>
              <a:gd name="T7" fmla="*/ 61 h 510"/>
              <a:gd name="T8" fmla="*/ 448 w 510"/>
              <a:gd name="T9" fmla="*/ 143 h 510"/>
            </a:gdLst>
            <a:ahLst/>
            <a:cxnLst>
              <a:cxn ang="0">
                <a:pos x="T0" y="T1"/>
              </a:cxn>
              <a:cxn ang="0">
                <a:pos x="T2" y="T3"/>
              </a:cxn>
              <a:cxn ang="0">
                <a:pos x="T4" y="T5"/>
              </a:cxn>
              <a:cxn ang="0">
                <a:pos x="T6" y="T7"/>
              </a:cxn>
              <a:cxn ang="0">
                <a:pos x="T8" y="T9"/>
              </a:cxn>
            </a:cxnLst>
            <a:rect l="0" t="0" r="r" b="b"/>
            <a:pathLst>
              <a:path w="510" h="510">
                <a:moveTo>
                  <a:pt x="448" y="143"/>
                </a:moveTo>
                <a:cubicBezTo>
                  <a:pt x="510" y="250"/>
                  <a:pt x="473" y="386"/>
                  <a:pt x="366" y="448"/>
                </a:cubicBezTo>
                <a:cubicBezTo>
                  <a:pt x="259" y="510"/>
                  <a:pt x="123" y="473"/>
                  <a:pt x="61" y="366"/>
                </a:cubicBezTo>
                <a:cubicBezTo>
                  <a:pt x="0" y="260"/>
                  <a:pt x="36" y="123"/>
                  <a:pt x="143" y="61"/>
                </a:cubicBezTo>
                <a:cubicBezTo>
                  <a:pt x="250" y="0"/>
                  <a:pt x="386" y="36"/>
                  <a:pt x="448" y="143"/>
                </a:cubicBezTo>
                <a:close/>
              </a:path>
            </a:pathLst>
          </a:custGeom>
          <a:solidFill>
            <a:schemeClr val="accent3">
              <a:lumMod val="40000"/>
              <a:lumOff val="60000"/>
            </a:schemeClr>
          </a:solidFill>
          <a:ln>
            <a:noFill/>
          </a:ln>
          <a:effectLst/>
        </p:spPr>
        <p:txBody>
          <a:bodyPr vert="horz" wrap="square" lIns="91440" tIns="45720" rIns="91440" bIns="45720" numCol="1" anchor="ctr" anchorCtr="0" compatLnSpc="1">
            <a:prstTxWarp prst="textNoShape">
              <a:avLst/>
            </a:prstTxWarp>
          </a:bodyPr>
          <a:lstStyle/>
          <a:p>
            <a:pPr algn="ctr"/>
            <a:r>
              <a:rPr lang="en-US" b="1" dirty="0"/>
              <a:t>5</a:t>
            </a:r>
          </a:p>
        </p:txBody>
      </p:sp>
      <p:sp>
        <p:nvSpPr>
          <p:cNvPr id="79" name="Oval 69">
            <a:extLst>
              <a:ext uri="{FF2B5EF4-FFF2-40B4-BE49-F238E27FC236}">
                <a16:creationId xmlns:a16="http://schemas.microsoft.com/office/drawing/2014/main" id="{DB4D3688-7E3C-431F-9EDE-7AF63550D8E9}"/>
              </a:ext>
            </a:extLst>
          </p:cNvPr>
          <p:cNvSpPr>
            <a:spLocks noChangeArrowheads="1"/>
          </p:cNvSpPr>
          <p:nvPr/>
        </p:nvSpPr>
        <p:spPr bwMode="auto">
          <a:xfrm>
            <a:off x="8809387" y="3814763"/>
            <a:ext cx="798513" cy="798512"/>
          </a:xfrm>
          <a:prstGeom prst="ellipse">
            <a:avLst/>
          </a:prstGeom>
          <a:solidFill>
            <a:schemeClr val="accent3">
              <a:lumMod val="60000"/>
              <a:lumOff val="40000"/>
            </a:schemeClr>
          </a:solidFill>
          <a:ln>
            <a:noFill/>
          </a:ln>
          <a:effectLst/>
        </p:spPr>
        <p:txBody>
          <a:bodyPr vert="horz" wrap="square" lIns="91440" tIns="45720" rIns="91440" bIns="45720" numCol="1" anchor="ctr" anchorCtr="0" compatLnSpc="1">
            <a:prstTxWarp prst="textNoShape">
              <a:avLst/>
            </a:prstTxWarp>
          </a:bodyPr>
          <a:lstStyle/>
          <a:p>
            <a:pPr algn="ctr"/>
            <a:r>
              <a:rPr lang="uz-Cyrl-UZ" b="1" dirty="0" smtClean="0"/>
              <a:t>20</a:t>
            </a:r>
            <a:endParaRPr lang="ru-RU" b="1" dirty="0"/>
          </a:p>
        </p:txBody>
      </p:sp>
      <p:sp>
        <p:nvSpPr>
          <p:cNvPr id="80" name="Freeform 71">
            <a:extLst>
              <a:ext uri="{FF2B5EF4-FFF2-40B4-BE49-F238E27FC236}">
                <a16:creationId xmlns:a16="http://schemas.microsoft.com/office/drawing/2014/main" id="{DDEF20A0-8847-47B6-A127-A31F98808597}"/>
              </a:ext>
            </a:extLst>
          </p:cNvPr>
          <p:cNvSpPr>
            <a:spLocks/>
          </p:cNvSpPr>
          <p:nvPr/>
        </p:nvSpPr>
        <p:spPr bwMode="auto">
          <a:xfrm>
            <a:off x="2942581" y="5312569"/>
            <a:ext cx="912813" cy="912812"/>
          </a:xfrm>
          <a:custGeom>
            <a:avLst/>
            <a:gdLst>
              <a:gd name="T0" fmla="*/ 62 w 510"/>
              <a:gd name="T1" fmla="*/ 367 h 510"/>
              <a:gd name="T2" fmla="*/ 144 w 510"/>
              <a:gd name="T3" fmla="*/ 62 h 510"/>
              <a:gd name="T4" fmla="*/ 449 w 510"/>
              <a:gd name="T5" fmla="*/ 144 h 510"/>
              <a:gd name="T6" fmla="*/ 367 w 510"/>
              <a:gd name="T7" fmla="*/ 449 h 510"/>
              <a:gd name="T8" fmla="*/ 62 w 510"/>
              <a:gd name="T9" fmla="*/ 367 h 510"/>
            </a:gdLst>
            <a:ahLst/>
            <a:cxnLst>
              <a:cxn ang="0">
                <a:pos x="T0" y="T1"/>
              </a:cxn>
              <a:cxn ang="0">
                <a:pos x="T2" y="T3"/>
              </a:cxn>
              <a:cxn ang="0">
                <a:pos x="T4" y="T5"/>
              </a:cxn>
              <a:cxn ang="0">
                <a:pos x="T6" y="T7"/>
              </a:cxn>
              <a:cxn ang="0">
                <a:pos x="T8" y="T9"/>
              </a:cxn>
            </a:cxnLst>
            <a:rect l="0" t="0" r="r" b="b"/>
            <a:pathLst>
              <a:path w="510" h="510">
                <a:moveTo>
                  <a:pt x="62" y="367"/>
                </a:moveTo>
                <a:cubicBezTo>
                  <a:pt x="0" y="260"/>
                  <a:pt x="37" y="124"/>
                  <a:pt x="144" y="62"/>
                </a:cubicBezTo>
                <a:cubicBezTo>
                  <a:pt x="250" y="0"/>
                  <a:pt x="387" y="37"/>
                  <a:pt x="449" y="144"/>
                </a:cubicBezTo>
                <a:cubicBezTo>
                  <a:pt x="510" y="251"/>
                  <a:pt x="474" y="387"/>
                  <a:pt x="367" y="449"/>
                </a:cubicBezTo>
                <a:cubicBezTo>
                  <a:pt x="260" y="510"/>
                  <a:pt x="124" y="474"/>
                  <a:pt x="62" y="367"/>
                </a:cubicBezTo>
                <a:close/>
              </a:path>
            </a:pathLst>
          </a:custGeom>
          <a:solidFill>
            <a:schemeClr val="accent1">
              <a:lumMod val="90000"/>
            </a:schemeClr>
          </a:solidFill>
          <a:ln>
            <a:noFill/>
          </a:ln>
          <a:effectLst/>
        </p:spPr>
        <p:txBody>
          <a:bodyPr vert="horz" wrap="square" lIns="91440" tIns="45720" rIns="91440" bIns="45720" numCol="1" anchor="ctr" anchorCtr="0" compatLnSpc="1">
            <a:prstTxWarp prst="textNoShape">
              <a:avLst/>
            </a:prstTxWarp>
          </a:bodyPr>
          <a:lstStyle/>
          <a:p>
            <a:pPr algn="ctr"/>
            <a:r>
              <a:rPr lang="en-US" b="1" dirty="0" smtClean="0">
                <a:solidFill>
                  <a:schemeClr val="bg1"/>
                </a:solidFill>
              </a:rPr>
              <a:t>10</a:t>
            </a:r>
            <a:endParaRPr lang="en-US" b="1" dirty="0">
              <a:solidFill>
                <a:schemeClr val="bg1"/>
              </a:solidFill>
            </a:endParaRPr>
          </a:p>
        </p:txBody>
      </p:sp>
      <p:sp>
        <p:nvSpPr>
          <p:cNvPr id="81" name="Oval 73">
            <a:extLst>
              <a:ext uri="{FF2B5EF4-FFF2-40B4-BE49-F238E27FC236}">
                <a16:creationId xmlns:a16="http://schemas.microsoft.com/office/drawing/2014/main" id="{95C8059C-AF81-4EDE-9E8B-83FBE1ACFD10}"/>
              </a:ext>
            </a:extLst>
          </p:cNvPr>
          <p:cNvSpPr>
            <a:spLocks noChangeArrowheads="1"/>
          </p:cNvSpPr>
          <p:nvPr/>
        </p:nvSpPr>
        <p:spPr bwMode="auto">
          <a:xfrm>
            <a:off x="2584896" y="3814763"/>
            <a:ext cx="796925" cy="798512"/>
          </a:xfrm>
          <a:prstGeom prst="ellipse">
            <a:avLst/>
          </a:prstGeom>
          <a:solidFill>
            <a:schemeClr val="accent1">
              <a:lumMod val="75000"/>
            </a:schemeClr>
          </a:solidFill>
          <a:ln>
            <a:noFill/>
          </a:ln>
          <a:effectLst/>
        </p:spPr>
        <p:txBody>
          <a:bodyPr vert="horz" wrap="square" lIns="91440" tIns="45720" rIns="91440" bIns="45720" numCol="1" anchor="ctr" anchorCtr="0" compatLnSpc="1">
            <a:prstTxWarp prst="textNoShape">
              <a:avLst/>
            </a:prstTxWarp>
          </a:bodyPr>
          <a:lstStyle/>
          <a:p>
            <a:pPr algn="ctr"/>
            <a:r>
              <a:rPr lang="en-US" b="1" dirty="0" smtClean="0">
                <a:solidFill>
                  <a:schemeClr val="bg1"/>
                </a:solidFill>
              </a:rPr>
              <a:t>5</a:t>
            </a:r>
            <a:endParaRPr lang="en-US" b="1" dirty="0">
              <a:solidFill>
                <a:schemeClr val="bg1"/>
              </a:solidFill>
            </a:endParaRPr>
          </a:p>
        </p:txBody>
      </p:sp>
      <p:sp>
        <p:nvSpPr>
          <p:cNvPr id="83" name="Freeform 77">
            <a:extLst>
              <a:ext uri="{FF2B5EF4-FFF2-40B4-BE49-F238E27FC236}">
                <a16:creationId xmlns:a16="http://schemas.microsoft.com/office/drawing/2014/main" id="{40AA9F33-1992-4795-999D-BC7DD96059A3}"/>
              </a:ext>
            </a:extLst>
          </p:cNvPr>
          <p:cNvSpPr>
            <a:spLocks noEditPoints="1"/>
          </p:cNvSpPr>
          <p:nvPr/>
        </p:nvSpPr>
        <p:spPr bwMode="auto">
          <a:xfrm>
            <a:off x="4534346" y="1989138"/>
            <a:ext cx="558800" cy="757237"/>
          </a:xfrm>
          <a:custGeom>
            <a:avLst/>
            <a:gdLst>
              <a:gd name="T0" fmla="*/ 344 w 352"/>
              <a:gd name="T1" fmla="*/ 434 h 477"/>
              <a:gd name="T2" fmla="*/ 342 w 352"/>
              <a:gd name="T3" fmla="*/ 429 h 477"/>
              <a:gd name="T4" fmla="*/ 339 w 352"/>
              <a:gd name="T5" fmla="*/ 423 h 477"/>
              <a:gd name="T6" fmla="*/ 335 w 352"/>
              <a:gd name="T7" fmla="*/ 419 h 477"/>
              <a:gd name="T8" fmla="*/ 330 w 352"/>
              <a:gd name="T9" fmla="*/ 415 h 477"/>
              <a:gd name="T10" fmla="*/ 325 w 352"/>
              <a:gd name="T11" fmla="*/ 412 h 477"/>
              <a:gd name="T12" fmla="*/ 319 w 352"/>
              <a:gd name="T13" fmla="*/ 411 h 477"/>
              <a:gd name="T14" fmla="*/ 312 w 352"/>
              <a:gd name="T15" fmla="*/ 411 h 477"/>
              <a:gd name="T16" fmla="*/ 307 w 352"/>
              <a:gd name="T17" fmla="*/ 412 h 477"/>
              <a:gd name="T18" fmla="*/ 301 w 352"/>
              <a:gd name="T19" fmla="*/ 414 h 477"/>
              <a:gd name="T20" fmla="*/ 295 w 352"/>
              <a:gd name="T21" fmla="*/ 416 h 477"/>
              <a:gd name="T22" fmla="*/ 291 w 352"/>
              <a:gd name="T23" fmla="*/ 421 h 477"/>
              <a:gd name="T24" fmla="*/ 287 w 352"/>
              <a:gd name="T25" fmla="*/ 427 h 477"/>
              <a:gd name="T26" fmla="*/ 285 w 352"/>
              <a:gd name="T27" fmla="*/ 432 h 477"/>
              <a:gd name="T28" fmla="*/ 284 w 352"/>
              <a:gd name="T29" fmla="*/ 438 h 477"/>
              <a:gd name="T30" fmla="*/ 285 w 352"/>
              <a:gd name="T31" fmla="*/ 445 h 477"/>
              <a:gd name="T32" fmla="*/ 286 w 352"/>
              <a:gd name="T33" fmla="*/ 450 h 477"/>
              <a:gd name="T34" fmla="*/ 290 w 352"/>
              <a:gd name="T35" fmla="*/ 456 h 477"/>
              <a:gd name="T36" fmla="*/ 293 w 352"/>
              <a:gd name="T37" fmla="*/ 460 h 477"/>
              <a:gd name="T38" fmla="*/ 298 w 352"/>
              <a:gd name="T39" fmla="*/ 465 h 477"/>
              <a:gd name="T40" fmla="*/ 303 w 352"/>
              <a:gd name="T41" fmla="*/ 467 h 477"/>
              <a:gd name="T42" fmla="*/ 309 w 352"/>
              <a:gd name="T43" fmla="*/ 469 h 477"/>
              <a:gd name="T44" fmla="*/ 316 w 352"/>
              <a:gd name="T45" fmla="*/ 469 h 477"/>
              <a:gd name="T46" fmla="*/ 322 w 352"/>
              <a:gd name="T47" fmla="*/ 468 h 477"/>
              <a:gd name="T48" fmla="*/ 328 w 352"/>
              <a:gd name="T49" fmla="*/ 466 h 477"/>
              <a:gd name="T50" fmla="*/ 333 w 352"/>
              <a:gd name="T51" fmla="*/ 464 h 477"/>
              <a:gd name="T52" fmla="*/ 337 w 352"/>
              <a:gd name="T53" fmla="*/ 459 h 477"/>
              <a:gd name="T54" fmla="*/ 340 w 352"/>
              <a:gd name="T55" fmla="*/ 454 h 477"/>
              <a:gd name="T56" fmla="*/ 343 w 352"/>
              <a:gd name="T57" fmla="*/ 448 h 477"/>
              <a:gd name="T58" fmla="*/ 344 w 352"/>
              <a:gd name="T59" fmla="*/ 442 h 477"/>
              <a:gd name="T60" fmla="*/ 323 w 352"/>
              <a:gd name="T61" fmla="*/ 403 h 477"/>
              <a:gd name="T62" fmla="*/ 330 w 352"/>
              <a:gd name="T63" fmla="*/ 406 h 477"/>
              <a:gd name="T64" fmla="*/ 337 w 352"/>
              <a:gd name="T65" fmla="*/ 410 h 477"/>
              <a:gd name="T66" fmla="*/ 343 w 352"/>
              <a:gd name="T67" fmla="*/ 415 h 477"/>
              <a:gd name="T68" fmla="*/ 347 w 352"/>
              <a:gd name="T69" fmla="*/ 421 h 477"/>
              <a:gd name="T70" fmla="*/ 351 w 352"/>
              <a:gd name="T71" fmla="*/ 429 h 477"/>
              <a:gd name="T72" fmla="*/ 352 w 352"/>
              <a:gd name="T73" fmla="*/ 437 h 477"/>
              <a:gd name="T74" fmla="*/ 352 w 352"/>
              <a:gd name="T75" fmla="*/ 445 h 477"/>
              <a:gd name="T76" fmla="*/ 349 w 352"/>
              <a:gd name="T77" fmla="*/ 453 h 477"/>
              <a:gd name="T78" fmla="*/ 346 w 352"/>
              <a:gd name="T79" fmla="*/ 459 h 477"/>
              <a:gd name="T80" fmla="*/ 342 w 352"/>
              <a:gd name="T81" fmla="*/ 465 h 477"/>
              <a:gd name="T82" fmla="*/ 336 w 352"/>
              <a:gd name="T83" fmla="*/ 471 h 477"/>
              <a:gd name="T84" fmla="*/ 329 w 352"/>
              <a:gd name="T85" fmla="*/ 474 h 477"/>
              <a:gd name="T86" fmla="*/ 322 w 352"/>
              <a:gd name="T87" fmla="*/ 477 h 477"/>
              <a:gd name="T88" fmla="*/ 314 w 352"/>
              <a:gd name="T89" fmla="*/ 477 h 477"/>
              <a:gd name="T90" fmla="*/ 305 w 352"/>
              <a:gd name="T91" fmla="*/ 477 h 477"/>
              <a:gd name="T92" fmla="*/ 299 w 352"/>
              <a:gd name="T93" fmla="*/ 474 h 477"/>
              <a:gd name="T94" fmla="*/ 292 w 352"/>
              <a:gd name="T95" fmla="*/ 471 h 477"/>
              <a:gd name="T96" fmla="*/ 286 w 352"/>
              <a:gd name="T97" fmla="*/ 465 h 477"/>
              <a:gd name="T98" fmla="*/ 282 w 352"/>
              <a:gd name="T99" fmla="*/ 459 h 477"/>
              <a:gd name="T100" fmla="*/ 278 w 352"/>
              <a:gd name="T101" fmla="*/ 451 h 477"/>
              <a:gd name="T102" fmla="*/ 277 w 352"/>
              <a:gd name="T103" fmla="*/ 445 h 477"/>
              <a:gd name="T104" fmla="*/ 277 w 352"/>
              <a:gd name="T105" fmla="*/ 436 h 477"/>
              <a:gd name="T106" fmla="*/ 278 w 352"/>
              <a:gd name="T107" fmla="*/ 428 h 477"/>
              <a:gd name="T108" fmla="*/ 282 w 352"/>
              <a:gd name="T109" fmla="*/ 421 h 477"/>
              <a:gd name="T110" fmla="*/ 286 w 352"/>
              <a:gd name="T111" fmla="*/ 415 h 477"/>
              <a:gd name="T112" fmla="*/ 292 w 352"/>
              <a:gd name="T113" fmla="*/ 410 h 477"/>
              <a:gd name="T114" fmla="*/ 299 w 352"/>
              <a:gd name="T115" fmla="*/ 406 h 477"/>
              <a:gd name="T116" fmla="*/ 305 w 352"/>
              <a:gd name="T117" fmla="*/ 403 h 477"/>
              <a:gd name="T118" fmla="*/ 318 w 352"/>
              <a:gd name="T119" fmla="*/ 317 h 477"/>
              <a:gd name="T120" fmla="*/ 54 w 352"/>
              <a:gd name="T121" fmla="*/ 282 h 477"/>
              <a:gd name="T122" fmla="*/ 8 w 352"/>
              <a:gd name="T123" fmla="*/ 62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2" h="477">
                <a:moveTo>
                  <a:pt x="8" y="16"/>
                </a:moveTo>
                <a:lnTo>
                  <a:pt x="0" y="16"/>
                </a:lnTo>
                <a:lnTo>
                  <a:pt x="0" y="0"/>
                </a:lnTo>
                <a:lnTo>
                  <a:pt x="8" y="0"/>
                </a:lnTo>
                <a:lnTo>
                  <a:pt x="8" y="16"/>
                </a:lnTo>
                <a:lnTo>
                  <a:pt x="8" y="16"/>
                </a:lnTo>
                <a:close/>
                <a:moveTo>
                  <a:pt x="344" y="440"/>
                </a:moveTo>
                <a:lnTo>
                  <a:pt x="344" y="440"/>
                </a:lnTo>
                <a:lnTo>
                  <a:pt x="344" y="440"/>
                </a:lnTo>
                <a:lnTo>
                  <a:pt x="344" y="439"/>
                </a:lnTo>
                <a:lnTo>
                  <a:pt x="344" y="439"/>
                </a:lnTo>
                <a:lnTo>
                  <a:pt x="344" y="439"/>
                </a:lnTo>
                <a:lnTo>
                  <a:pt x="344" y="439"/>
                </a:lnTo>
                <a:lnTo>
                  <a:pt x="344" y="439"/>
                </a:lnTo>
                <a:lnTo>
                  <a:pt x="344" y="439"/>
                </a:lnTo>
                <a:lnTo>
                  <a:pt x="344" y="438"/>
                </a:lnTo>
                <a:lnTo>
                  <a:pt x="344" y="438"/>
                </a:lnTo>
                <a:lnTo>
                  <a:pt x="344" y="438"/>
                </a:lnTo>
                <a:lnTo>
                  <a:pt x="344" y="438"/>
                </a:lnTo>
                <a:lnTo>
                  <a:pt x="344" y="438"/>
                </a:lnTo>
                <a:lnTo>
                  <a:pt x="344" y="438"/>
                </a:lnTo>
                <a:lnTo>
                  <a:pt x="344" y="437"/>
                </a:lnTo>
                <a:lnTo>
                  <a:pt x="344" y="437"/>
                </a:lnTo>
                <a:lnTo>
                  <a:pt x="344" y="437"/>
                </a:lnTo>
                <a:lnTo>
                  <a:pt x="344" y="437"/>
                </a:lnTo>
                <a:lnTo>
                  <a:pt x="344" y="437"/>
                </a:lnTo>
                <a:lnTo>
                  <a:pt x="344" y="437"/>
                </a:lnTo>
                <a:lnTo>
                  <a:pt x="344" y="436"/>
                </a:lnTo>
                <a:lnTo>
                  <a:pt x="344" y="436"/>
                </a:lnTo>
                <a:lnTo>
                  <a:pt x="344" y="436"/>
                </a:lnTo>
                <a:lnTo>
                  <a:pt x="344" y="436"/>
                </a:lnTo>
                <a:lnTo>
                  <a:pt x="344" y="436"/>
                </a:lnTo>
                <a:lnTo>
                  <a:pt x="344" y="436"/>
                </a:lnTo>
                <a:lnTo>
                  <a:pt x="344" y="434"/>
                </a:lnTo>
                <a:lnTo>
                  <a:pt x="344" y="434"/>
                </a:lnTo>
                <a:lnTo>
                  <a:pt x="344" y="434"/>
                </a:lnTo>
                <a:lnTo>
                  <a:pt x="344" y="434"/>
                </a:lnTo>
                <a:lnTo>
                  <a:pt x="344" y="434"/>
                </a:lnTo>
                <a:lnTo>
                  <a:pt x="344" y="434"/>
                </a:lnTo>
                <a:lnTo>
                  <a:pt x="344" y="433"/>
                </a:lnTo>
                <a:lnTo>
                  <a:pt x="344" y="433"/>
                </a:lnTo>
                <a:lnTo>
                  <a:pt x="343" y="433"/>
                </a:lnTo>
                <a:lnTo>
                  <a:pt x="343" y="433"/>
                </a:lnTo>
                <a:lnTo>
                  <a:pt x="343" y="433"/>
                </a:lnTo>
                <a:lnTo>
                  <a:pt x="343" y="433"/>
                </a:lnTo>
                <a:lnTo>
                  <a:pt x="343" y="432"/>
                </a:lnTo>
                <a:lnTo>
                  <a:pt x="343" y="432"/>
                </a:lnTo>
                <a:lnTo>
                  <a:pt x="343" y="432"/>
                </a:lnTo>
                <a:lnTo>
                  <a:pt x="343" y="432"/>
                </a:lnTo>
                <a:lnTo>
                  <a:pt x="343" y="432"/>
                </a:lnTo>
                <a:lnTo>
                  <a:pt x="343" y="432"/>
                </a:lnTo>
                <a:lnTo>
                  <a:pt x="343" y="432"/>
                </a:lnTo>
                <a:lnTo>
                  <a:pt x="343" y="431"/>
                </a:lnTo>
                <a:lnTo>
                  <a:pt x="343" y="431"/>
                </a:lnTo>
                <a:lnTo>
                  <a:pt x="343" y="431"/>
                </a:lnTo>
                <a:lnTo>
                  <a:pt x="343" y="431"/>
                </a:lnTo>
                <a:lnTo>
                  <a:pt x="343" y="431"/>
                </a:lnTo>
                <a:lnTo>
                  <a:pt x="343" y="431"/>
                </a:lnTo>
                <a:lnTo>
                  <a:pt x="343" y="430"/>
                </a:lnTo>
                <a:lnTo>
                  <a:pt x="343" y="430"/>
                </a:lnTo>
                <a:lnTo>
                  <a:pt x="343" y="430"/>
                </a:lnTo>
                <a:lnTo>
                  <a:pt x="343" y="430"/>
                </a:lnTo>
                <a:lnTo>
                  <a:pt x="343" y="430"/>
                </a:lnTo>
                <a:lnTo>
                  <a:pt x="342" y="430"/>
                </a:lnTo>
                <a:lnTo>
                  <a:pt x="342" y="430"/>
                </a:lnTo>
                <a:lnTo>
                  <a:pt x="342" y="429"/>
                </a:lnTo>
                <a:lnTo>
                  <a:pt x="342" y="429"/>
                </a:lnTo>
                <a:lnTo>
                  <a:pt x="342" y="429"/>
                </a:lnTo>
                <a:lnTo>
                  <a:pt x="342" y="429"/>
                </a:lnTo>
                <a:lnTo>
                  <a:pt x="342" y="429"/>
                </a:lnTo>
                <a:lnTo>
                  <a:pt x="342" y="429"/>
                </a:lnTo>
                <a:lnTo>
                  <a:pt x="342" y="429"/>
                </a:lnTo>
                <a:lnTo>
                  <a:pt x="342" y="428"/>
                </a:lnTo>
                <a:lnTo>
                  <a:pt x="342" y="428"/>
                </a:lnTo>
                <a:lnTo>
                  <a:pt x="342" y="428"/>
                </a:lnTo>
                <a:lnTo>
                  <a:pt x="342" y="428"/>
                </a:lnTo>
                <a:lnTo>
                  <a:pt x="342" y="428"/>
                </a:lnTo>
                <a:lnTo>
                  <a:pt x="342" y="428"/>
                </a:lnTo>
                <a:lnTo>
                  <a:pt x="342" y="428"/>
                </a:lnTo>
                <a:lnTo>
                  <a:pt x="340" y="427"/>
                </a:lnTo>
                <a:lnTo>
                  <a:pt x="340" y="427"/>
                </a:lnTo>
                <a:lnTo>
                  <a:pt x="340" y="427"/>
                </a:lnTo>
                <a:lnTo>
                  <a:pt x="340" y="427"/>
                </a:lnTo>
                <a:lnTo>
                  <a:pt x="340" y="427"/>
                </a:lnTo>
                <a:lnTo>
                  <a:pt x="340" y="427"/>
                </a:lnTo>
                <a:lnTo>
                  <a:pt x="340" y="427"/>
                </a:lnTo>
                <a:lnTo>
                  <a:pt x="340" y="425"/>
                </a:lnTo>
                <a:lnTo>
                  <a:pt x="340" y="425"/>
                </a:lnTo>
                <a:lnTo>
                  <a:pt x="340" y="425"/>
                </a:lnTo>
                <a:lnTo>
                  <a:pt x="340" y="425"/>
                </a:lnTo>
                <a:lnTo>
                  <a:pt x="340" y="425"/>
                </a:lnTo>
                <a:lnTo>
                  <a:pt x="340" y="425"/>
                </a:lnTo>
                <a:lnTo>
                  <a:pt x="339" y="425"/>
                </a:lnTo>
                <a:lnTo>
                  <a:pt x="339" y="424"/>
                </a:lnTo>
                <a:lnTo>
                  <a:pt x="339" y="424"/>
                </a:lnTo>
                <a:lnTo>
                  <a:pt x="339" y="424"/>
                </a:lnTo>
                <a:lnTo>
                  <a:pt x="339" y="424"/>
                </a:lnTo>
                <a:lnTo>
                  <a:pt x="339" y="424"/>
                </a:lnTo>
                <a:lnTo>
                  <a:pt x="339" y="424"/>
                </a:lnTo>
                <a:lnTo>
                  <a:pt x="339" y="424"/>
                </a:lnTo>
                <a:lnTo>
                  <a:pt x="339" y="423"/>
                </a:lnTo>
                <a:lnTo>
                  <a:pt x="339" y="423"/>
                </a:lnTo>
                <a:lnTo>
                  <a:pt x="339" y="423"/>
                </a:lnTo>
                <a:lnTo>
                  <a:pt x="339" y="423"/>
                </a:lnTo>
                <a:lnTo>
                  <a:pt x="338" y="423"/>
                </a:lnTo>
                <a:lnTo>
                  <a:pt x="338" y="423"/>
                </a:lnTo>
                <a:lnTo>
                  <a:pt x="338" y="423"/>
                </a:lnTo>
                <a:lnTo>
                  <a:pt x="338" y="423"/>
                </a:lnTo>
                <a:lnTo>
                  <a:pt x="338" y="422"/>
                </a:lnTo>
                <a:lnTo>
                  <a:pt x="338" y="422"/>
                </a:lnTo>
                <a:lnTo>
                  <a:pt x="338" y="422"/>
                </a:lnTo>
                <a:lnTo>
                  <a:pt x="338" y="422"/>
                </a:lnTo>
                <a:lnTo>
                  <a:pt x="338" y="422"/>
                </a:lnTo>
                <a:lnTo>
                  <a:pt x="338" y="422"/>
                </a:lnTo>
                <a:lnTo>
                  <a:pt x="338" y="422"/>
                </a:lnTo>
                <a:lnTo>
                  <a:pt x="337" y="422"/>
                </a:lnTo>
                <a:lnTo>
                  <a:pt x="337" y="421"/>
                </a:lnTo>
                <a:lnTo>
                  <a:pt x="337" y="421"/>
                </a:lnTo>
                <a:lnTo>
                  <a:pt x="337" y="421"/>
                </a:lnTo>
                <a:lnTo>
                  <a:pt x="337" y="421"/>
                </a:lnTo>
                <a:lnTo>
                  <a:pt x="337" y="421"/>
                </a:lnTo>
                <a:lnTo>
                  <a:pt x="337" y="421"/>
                </a:lnTo>
                <a:lnTo>
                  <a:pt x="337" y="421"/>
                </a:lnTo>
                <a:lnTo>
                  <a:pt x="337" y="421"/>
                </a:lnTo>
                <a:lnTo>
                  <a:pt x="336" y="420"/>
                </a:lnTo>
                <a:lnTo>
                  <a:pt x="336" y="420"/>
                </a:lnTo>
                <a:lnTo>
                  <a:pt x="336" y="420"/>
                </a:lnTo>
                <a:lnTo>
                  <a:pt x="336" y="420"/>
                </a:lnTo>
                <a:lnTo>
                  <a:pt x="336" y="420"/>
                </a:lnTo>
                <a:lnTo>
                  <a:pt x="336" y="420"/>
                </a:lnTo>
                <a:lnTo>
                  <a:pt x="336" y="420"/>
                </a:lnTo>
                <a:lnTo>
                  <a:pt x="336" y="420"/>
                </a:lnTo>
                <a:lnTo>
                  <a:pt x="336" y="420"/>
                </a:lnTo>
                <a:lnTo>
                  <a:pt x="336" y="419"/>
                </a:lnTo>
                <a:lnTo>
                  <a:pt x="335" y="419"/>
                </a:lnTo>
                <a:lnTo>
                  <a:pt x="335" y="419"/>
                </a:lnTo>
                <a:lnTo>
                  <a:pt x="335" y="419"/>
                </a:lnTo>
                <a:lnTo>
                  <a:pt x="335" y="419"/>
                </a:lnTo>
                <a:lnTo>
                  <a:pt x="335" y="419"/>
                </a:lnTo>
                <a:lnTo>
                  <a:pt x="335" y="419"/>
                </a:lnTo>
                <a:lnTo>
                  <a:pt x="335" y="419"/>
                </a:lnTo>
                <a:lnTo>
                  <a:pt x="335" y="419"/>
                </a:lnTo>
                <a:lnTo>
                  <a:pt x="334" y="418"/>
                </a:lnTo>
                <a:lnTo>
                  <a:pt x="334" y="418"/>
                </a:lnTo>
                <a:lnTo>
                  <a:pt x="334" y="418"/>
                </a:lnTo>
                <a:lnTo>
                  <a:pt x="334" y="418"/>
                </a:lnTo>
                <a:lnTo>
                  <a:pt x="334" y="418"/>
                </a:lnTo>
                <a:lnTo>
                  <a:pt x="334" y="418"/>
                </a:lnTo>
                <a:lnTo>
                  <a:pt x="334" y="418"/>
                </a:lnTo>
                <a:lnTo>
                  <a:pt x="334" y="418"/>
                </a:lnTo>
                <a:lnTo>
                  <a:pt x="334" y="418"/>
                </a:lnTo>
                <a:lnTo>
                  <a:pt x="333" y="416"/>
                </a:lnTo>
                <a:lnTo>
                  <a:pt x="333" y="416"/>
                </a:lnTo>
                <a:lnTo>
                  <a:pt x="333" y="416"/>
                </a:lnTo>
                <a:lnTo>
                  <a:pt x="333" y="416"/>
                </a:lnTo>
                <a:lnTo>
                  <a:pt x="333" y="416"/>
                </a:lnTo>
                <a:lnTo>
                  <a:pt x="333" y="416"/>
                </a:lnTo>
                <a:lnTo>
                  <a:pt x="333" y="416"/>
                </a:lnTo>
                <a:lnTo>
                  <a:pt x="333" y="416"/>
                </a:lnTo>
                <a:lnTo>
                  <a:pt x="331" y="416"/>
                </a:lnTo>
                <a:lnTo>
                  <a:pt x="331" y="416"/>
                </a:lnTo>
                <a:lnTo>
                  <a:pt x="331" y="416"/>
                </a:lnTo>
                <a:lnTo>
                  <a:pt x="331" y="415"/>
                </a:lnTo>
                <a:lnTo>
                  <a:pt x="331" y="415"/>
                </a:lnTo>
                <a:lnTo>
                  <a:pt x="331" y="415"/>
                </a:lnTo>
                <a:lnTo>
                  <a:pt x="331" y="415"/>
                </a:lnTo>
                <a:lnTo>
                  <a:pt x="330" y="415"/>
                </a:lnTo>
                <a:lnTo>
                  <a:pt x="330" y="415"/>
                </a:lnTo>
                <a:lnTo>
                  <a:pt x="330" y="415"/>
                </a:lnTo>
                <a:lnTo>
                  <a:pt x="330" y="415"/>
                </a:lnTo>
                <a:lnTo>
                  <a:pt x="330" y="415"/>
                </a:lnTo>
                <a:lnTo>
                  <a:pt x="330" y="415"/>
                </a:lnTo>
                <a:lnTo>
                  <a:pt x="330" y="415"/>
                </a:lnTo>
                <a:lnTo>
                  <a:pt x="330" y="414"/>
                </a:lnTo>
                <a:lnTo>
                  <a:pt x="329" y="414"/>
                </a:lnTo>
                <a:lnTo>
                  <a:pt x="329" y="414"/>
                </a:lnTo>
                <a:lnTo>
                  <a:pt x="329" y="414"/>
                </a:lnTo>
                <a:lnTo>
                  <a:pt x="329" y="414"/>
                </a:lnTo>
                <a:lnTo>
                  <a:pt x="329" y="414"/>
                </a:lnTo>
                <a:lnTo>
                  <a:pt x="329" y="414"/>
                </a:lnTo>
                <a:lnTo>
                  <a:pt x="329" y="414"/>
                </a:lnTo>
                <a:lnTo>
                  <a:pt x="328" y="414"/>
                </a:lnTo>
                <a:lnTo>
                  <a:pt x="328" y="414"/>
                </a:lnTo>
                <a:lnTo>
                  <a:pt x="328" y="414"/>
                </a:lnTo>
                <a:lnTo>
                  <a:pt x="328" y="414"/>
                </a:lnTo>
                <a:lnTo>
                  <a:pt x="328" y="414"/>
                </a:lnTo>
                <a:lnTo>
                  <a:pt x="328" y="413"/>
                </a:lnTo>
                <a:lnTo>
                  <a:pt x="328" y="413"/>
                </a:lnTo>
                <a:lnTo>
                  <a:pt x="327" y="413"/>
                </a:lnTo>
                <a:lnTo>
                  <a:pt x="327" y="413"/>
                </a:lnTo>
                <a:lnTo>
                  <a:pt x="327" y="413"/>
                </a:lnTo>
                <a:lnTo>
                  <a:pt x="327" y="413"/>
                </a:lnTo>
                <a:lnTo>
                  <a:pt x="327" y="413"/>
                </a:lnTo>
                <a:lnTo>
                  <a:pt x="327" y="413"/>
                </a:lnTo>
                <a:lnTo>
                  <a:pt x="327" y="413"/>
                </a:lnTo>
                <a:lnTo>
                  <a:pt x="326" y="413"/>
                </a:lnTo>
                <a:lnTo>
                  <a:pt x="326" y="413"/>
                </a:lnTo>
                <a:lnTo>
                  <a:pt x="326" y="413"/>
                </a:lnTo>
                <a:lnTo>
                  <a:pt x="326" y="413"/>
                </a:lnTo>
                <a:lnTo>
                  <a:pt x="326" y="413"/>
                </a:lnTo>
                <a:lnTo>
                  <a:pt x="326" y="412"/>
                </a:lnTo>
                <a:lnTo>
                  <a:pt x="326" y="412"/>
                </a:lnTo>
                <a:lnTo>
                  <a:pt x="325" y="412"/>
                </a:lnTo>
                <a:lnTo>
                  <a:pt x="325" y="412"/>
                </a:lnTo>
                <a:lnTo>
                  <a:pt x="325" y="412"/>
                </a:lnTo>
                <a:lnTo>
                  <a:pt x="325" y="412"/>
                </a:lnTo>
                <a:lnTo>
                  <a:pt x="325" y="412"/>
                </a:lnTo>
                <a:lnTo>
                  <a:pt x="325" y="412"/>
                </a:lnTo>
                <a:lnTo>
                  <a:pt x="325" y="412"/>
                </a:lnTo>
                <a:lnTo>
                  <a:pt x="323" y="412"/>
                </a:lnTo>
                <a:lnTo>
                  <a:pt x="323" y="412"/>
                </a:lnTo>
                <a:lnTo>
                  <a:pt x="323" y="412"/>
                </a:lnTo>
                <a:lnTo>
                  <a:pt x="323" y="412"/>
                </a:lnTo>
                <a:lnTo>
                  <a:pt x="323" y="412"/>
                </a:lnTo>
                <a:lnTo>
                  <a:pt x="323" y="412"/>
                </a:lnTo>
                <a:lnTo>
                  <a:pt x="322" y="412"/>
                </a:lnTo>
                <a:lnTo>
                  <a:pt x="322" y="412"/>
                </a:lnTo>
                <a:lnTo>
                  <a:pt x="322" y="412"/>
                </a:lnTo>
                <a:lnTo>
                  <a:pt x="322" y="412"/>
                </a:lnTo>
                <a:lnTo>
                  <a:pt x="322" y="412"/>
                </a:lnTo>
                <a:lnTo>
                  <a:pt x="322" y="411"/>
                </a:lnTo>
                <a:lnTo>
                  <a:pt x="322" y="411"/>
                </a:lnTo>
                <a:lnTo>
                  <a:pt x="321" y="411"/>
                </a:lnTo>
                <a:lnTo>
                  <a:pt x="321" y="411"/>
                </a:lnTo>
                <a:lnTo>
                  <a:pt x="321" y="411"/>
                </a:lnTo>
                <a:lnTo>
                  <a:pt x="321" y="411"/>
                </a:lnTo>
                <a:lnTo>
                  <a:pt x="321" y="411"/>
                </a:lnTo>
                <a:lnTo>
                  <a:pt x="321" y="411"/>
                </a:lnTo>
                <a:lnTo>
                  <a:pt x="320" y="411"/>
                </a:lnTo>
                <a:lnTo>
                  <a:pt x="320" y="411"/>
                </a:lnTo>
                <a:lnTo>
                  <a:pt x="320" y="411"/>
                </a:lnTo>
                <a:lnTo>
                  <a:pt x="320" y="411"/>
                </a:lnTo>
                <a:lnTo>
                  <a:pt x="320" y="411"/>
                </a:lnTo>
                <a:lnTo>
                  <a:pt x="320" y="411"/>
                </a:lnTo>
                <a:lnTo>
                  <a:pt x="319" y="411"/>
                </a:lnTo>
                <a:lnTo>
                  <a:pt x="319" y="411"/>
                </a:lnTo>
                <a:lnTo>
                  <a:pt x="319" y="411"/>
                </a:lnTo>
                <a:lnTo>
                  <a:pt x="319" y="411"/>
                </a:lnTo>
                <a:lnTo>
                  <a:pt x="319" y="411"/>
                </a:lnTo>
                <a:lnTo>
                  <a:pt x="319" y="411"/>
                </a:lnTo>
                <a:lnTo>
                  <a:pt x="318" y="411"/>
                </a:lnTo>
                <a:lnTo>
                  <a:pt x="318" y="411"/>
                </a:lnTo>
                <a:lnTo>
                  <a:pt x="318" y="411"/>
                </a:lnTo>
                <a:lnTo>
                  <a:pt x="318" y="411"/>
                </a:lnTo>
                <a:lnTo>
                  <a:pt x="318" y="411"/>
                </a:lnTo>
                <a:lnTo>
                  <a:pt x="318" y="411"/>
                </a:lnTo>
                <a:lnTo>
                  <a:pt x="317" y="411"/>
                </a:lnTo>
                <a:lnTo>
                  <a:pt x="317" y="411"/>
                </a:lnTo>
                <a:lnTo>
                  <a:pt x="317" y="411"/>
                </a:lnTo>
                <a:lnTo>
                  <a:pt x="317" y="411"/>
                </a:lnTo>
                <a:lnTo>
                  <a:pt x="317" y="411"/>
                </a:lnTo>
                <a:lnTo>
                  <a:pt x="317" y="411"/>
                </a:lnTo>
                <a:lnTo>
                  <a:pt x="316" y="411"/>
                </a:lnTo>
                <a:lnTo>
                  <a:pt x="316" y="411"/>
                </a:lnTo>
                <a:lnTo>
                  <a:pt x="316" y="411"/>
                </a:lnTo>
                <a:lnTo>
                  <a:pt x="316" y="411"/>
                </a:lnTo>
                <a:lnTo>
                  <a:pt x="316" y="411"/>
                </a:lnTo>
                <a:lnTo>
                  <a:pt x="316" y="411"/>
                </a:lnTo>
                <a:lnTo>
                  <a:pt x="314" y="411"/>
                </a:lnTo>
                <a:lnTo>
                  <a:pt x="314" y="411"/>
                </a:lnTo>
                <a:lnTo>
                  <a:pt x="314" y="411"/>
                </a:lnTo>
                <a:lnTo>
                  <a:pt x="314" y="411"/>
                </a:lnTo>
                <a:lnTo>
                  <a:pt x="314" y="411"/>
                </a:lnTo>
                <a:lnTo>
                  <a:pt x="314" y="411"/>
                </a:lnTo>
                <a:lnTo>
                  <a:pt x="313" y="411"/>
                </a:lnTo>
                <a:lnTo>
                  <a:pt x="313" y="411"/>
                </a:lnTo>
                <a:lnTo>
                  <a:pt x="313" y="411"/>
                </a:lnTo>
                <a:lnTo>
                  <a:pt x="313" y="411"/>
                </a:lnTo>
                <a:lnTo>
                  <a:pt x="313" y="411"/>
                </a:lnTo>
                <a:lnTo>
                  <a:pt x="313" y="411"/>
                </a:lnTo>
                <a:lnTo>
                  <a:pt x="312" y="411"/>
                </a:lnTo>
                <a:lnTo>
                  <a:pt x="312" y="411"/>
                </a:lnTo>
                <a:lnTo>
                  <a:pt x="312" y="411"/>
                </a:lnTo>
                <a:lnTo>
                  <a:pt x="312" y="411"/>
                </a:lnTo>
                <a:lnTo>
                  <a:pt x="312" y="411"/>
                </a:lnTo>
                <a:lnTo>
                  <a:pt x="312" y="411"/>
                </a:lnTo>
                <a:lnTo>
                  <a:pt x="311" y="411"/>
                </a:lnTo>
                <a:lnTo>
                  <a:pt x="311" y="411"/>
                </a:lnTo>
                <a:lnTo>
                  <a:pt x="311" y="411"/>
                </a:lnTo>
                <a:lnTo>
                  <a:pt x="311" y="411"/>
                </a:lnTo>
                <a:lnTo>
                  <a:pt x="311" y="411"/>
                </a:lnTo>
                <a:lnTo>
                  <a:pt x="311" y="411"/>
                </a:lnTo>
                <a:lnTo>
                  <a:pt x="310" y="411"/>
                </a:lnTo>
                <a:lnTo>
                  <a:pt x="310" y="411"/>
                </a:lnTo>
                <a:lnTo>
                  <a:pt x="310" y="411"/>
                </a:lnTo>
                <a:lnTo>
                  <a:pt x="310" y="411"/>
                </a:lnTo>
                <a:lnTo>
                  <a:pt x="310" y="411"/>
                </a:lnTo>
                <a:lnTo>
                  <a:pt x="310" y="411"/>
                </a:lnTo>
                <a:lnTo>
                  <a:pt x="309" y="411"/>
                </a:lnTo>
                <a:lnTo>
                  <a:pt x="309" y="411"/>
                </a:lnTo>
                <a:lnTo>
                  <a:pt x="309" y="411"/>
                </a:lnTo>
                <a:lnTo>
                  <a:pt x="309" y="411"/>
                </a:lnTo>
                <a:lnTo>
                  <a:pt x="309" y="411"/>
                </a:lnTo>
                <a:lnTo>
                  <a:pt x="309" y="411"/>
                </a:lnTo>
                <a:lnTo>
                  <a:pt x="308" y="411"/>
                </a:lnTo>
                <a:lnTo>
                  <a:pt x="308" y="411"/>
                </a:lnTo>
                <a:lnTo>
                  <a:pt x="308" y="411"/>
                </a:lnTo>
                <a:lnTo>
                  <a:pt x="308" y="411"/>
                </a:lnTo>
                <a:lnTo>
                  <a:pt x="308" y="411"/>
                </a:lnTo>
                <a:lnTo>
                  <a:pt x="308" y="411"/>
                </a:lnTo>
                <a:lnTo>
                  <a:pt x="308" y="411"/>
                </a:lnTo>
                <a:lnTo>
                  <a:pt x="307" y="411"/>
                </a:lnTo>
                <a:lnTo>
                  <a:pt x="307" y="411"/>
                </a:lnTo>
                <a:lnTo>
                  <a:pt x="307" y="411"/>
                </a:lnTo>
                <a:lnTo>
                  <a:pt x="307" y="411"/>
                </a:lnTo>
                <a:lnTo>
                  <a:pt x="307" y="412"/>
                </a:lnTo>
                <a:lnTo>
                  <a:pt x="307" y="412"/>
                </a:lnTo>
                <a:lnTo>
                  <a:pt x="305" y="412"/>
                </a:lnTo>
                <a:lnTo>
                  <a:pt x="305" y="412"/>
                </a:lnTo>
                <a:lnTo>
                  <a:pt x="305" y="412"/>
                </a:lnTo>
                <a:lnTo>
                  <a:pt x="305" y="412"/>
                </a:lnTo>
                <a:lnTo>
                  <a:pt x="305" y="412"/>
                </a:lnTo>
                <a:lnTo>
                  <a:pt x="305" y="412"/>
                </a:lnTo>
                <a:lnTo>
                  <a:pt x="304" y="412"/>
                </a:lnTo>
                <a:lnTo>
                  <a:pt x="304" y="412"/>
                </a:lnTo>
                <a:lnTo>
                  <a:pt x="304" y="412"/>
                </a:lnTo>
                <a:lnTo>
                  <a:pt x="304" y="412"/>
                </a:lnTo>
                <a:lnTo>
                  <a:pt x="304" y="412"/>
                </a:lnTo>
                <a:lnTo>
                  <a:pt x="304" y="412"/>
                </a:lnTo>
                <a:lnTo>
                  <a:pt x="304" y="412"/>
                </a:lnTo>
                <a:lnTo>
                  <a:pt x="303" y="412"/>
                </a:lnTo>
                <a:lnTo>
                  <a:pt x="303" y="412"/>
                </a:lnTo>
                <a:lnTo>
                  <a:pt x="303" y="412"/>
                </a:lnTo>
                <a:lnTo>
                  <a:pt x="303" y="412"/>
                </a:lnTo>
                <a:lnTo>
                  <a:pt x="303" y="412"/>
                </a:lnTo>
                <a:lnTo>
                  <a:pt x="303" y="413"/>
                </a:lnTo>
                <a:lnTo>
                  <a:pt x="303" y="413"/>
                </a:lnTo>
                <a:lnTo>
                  <a:pt x="302" y="413"/>
                </a:lnTo>
                <a:lnTo>
                  <a:pt x="302" y="413"/>
                </a:lnTo>
                <a:lnTo>
                  <a:pt x="302" y="413"/>
                </a:lnTo>
                <a:lnTo>
                  <a:pt x="302" y="413"/>
                </a:lnTo>
                <a:lnTo>
                  <a:pt x="302" y="413"/>
                </a:lnTo>
                <a:lnTo>
                  <a:pt x="302" y="413"/>
                </a:lnTo>
                <a:lnTo>
                  <a:pt x="301" y="413"/>
                </a:lnTo>
                <a:lnTo>
                  <a:pt x="301" y="413"/>
                </a:lnTo>
                <a:lnTo>
                  <a:pt x="301" y="413"/>
                </a:lnTo>
                <a:lnTo>
                  <a:pt x="301" y="413"/>
                </a:lnTo>
                <a:lnTo>
                  <a:pt x="301" y="413"/>
                </a:lnTo>
                <a:lnTo>
                  <a:pt x="301" y="413"/>
                </a:lnTo>
                <a:lnTo>
                  <a:pt x="301" y="414"/>
                </a:lnTo>
                <a:lnTo>
                  <a:pt x="300" y="414"/>
                </a:lnTo>
                <a:lnTo>
                  <a:pt x="300" y="414"/>
                </a:lnTo>
                <a:lnTo>
                  <a:pt x="300" y="414"/>
                </a:lnTo>
                <a:lnTo>
                  <a:pt x="300" y="414"/>
                </a:lnTo>
                <a:lnTo>
                  <a:pt x="300" y="414"/>
                </a:lnTo>
                <a:lnTo>
                  <a:pt x="300" y="414"/>
                </a:lnTo>
                <a:lnTo>
                  <a:pt x="300" y="414"/>
                </a:lnTo>
                <a:lnTo>
                  <a:pt x="300" y="414"/>
                </a:lnTo>
                <a:lnTo>
                  <a:pt x="299" y="414"/>
                </a:lnTo>
                <a:lnTo>
                  <a:pt x="299" y="414"/>
                </a:lnTo>
                <a:lnTo>
                  <a:pt x="299" y="414"/>
                </a:lnTo>
                <a:lnTo>
                  <a:pt x="299" y="414"/>
                </a:lnTo>
                <a:lnTo>
                  <a:pt x="299" y="415"/>
                </a:lnTo>
                <a:lnTo>
                  <a:pt x="299" y="415"/>
                </a:lnTo>
                <a:lnTo>
                  <a:pt x="299" y="415"/>
                </a:lnTo>
                <a:lnTo>
                  <a:pt x="298" y="415"/>
                </a:lnTo>
                <a:lnTo>
                  <a:pt x="298" y="415"/>
                </a:lnTo>
                <a:lnTo>
                  <a:pt x="298" y="415"/>
                </a:lnTo>
                <a:lnTo>
                  <a:pt x="298" y="415"/>
                </a:lnTo>
                <a:lnTo>
                  <a:pt x="298" y="415"/>
                </a:lnTo>
                <a:lnTo>
                  <a:pt x="298" y="415"/>
                </a:lnTo>
                <a:lnTo>
                  <a:pt x="298" y="415"/>
                </a:lnTo>
                <a:lnTo>
                  <a:pt x="298" y="415"/>
                </a:lnTo>
                <a:lnTo>
                  <a:pt x="296" y="416"/>
                </a:lnTo>
                <a:lnTo>
                  <a:pt x="296" y="416"/>
                </a:lnTo>
                <a:lnTo>
                  <a:pt x="296" y="416"/>
                </a:lnTo>
                <a:lnTo>
                  <a:pt x="296" y="416"/>
                </a:lnTo>
                <a:lnTo>
                  <a:pt x="296" y="416"/>
                </a:lnTo>
                <a:lnTo>
                  <a:pt x="296" y="416"/>
                </a:lnTo>
                <a:lnTo>
                  <a:pt x="296" y="416"/>
                </a:lnTo>
                <a:lnTo>
                  <a:pt x="296" y="416"/>
                </a:lnTo>
                <a:lnTo>
                  <a:pt x="295" y="416"/>
                </a:lnTo>
                <a:lnTo>
                  <a:pt x="295" y="416"/>
                </a:lnTo>
                <a:lnTo>
                  <a:pt x="295" y="416"/>
                </a:lnTo>
                <a:lnTo>
                  <a:pt x="295" y="418"/>
                </a:lnTo>
                <a:lnTo>
                  <a:pt x="295" y="418"/>
                </a:lnTo>
                <a:lnTo>
                  <a:pt x="295" y="418"/>
                </a:lnTo>
                <a:lnTo>
                  <a:pt x="295" y="418"/>
                </a:lnTo>
                <a:lnTo>
                  <a:pt x="295" y="418"/>
                </a:lnTo>
                <a:lnTo>
                  <a:pt x="294" y="418"/>
                </a:lnTo>
                <a:lnTo>
                  <a:pt x="294" y="418"/>
                </a:lnTo>
                <a:lnTo>
                  <a:pt x="294" y="418"/>
                </a:lnTo>
                <a:lnTo>
                  <a:pt x="294" y="418"/>
                </a:lnTo>
                <a:lnTo>
                  <a:pt x="294" y="419"/>
                </a:lnTo>
                <a:lnTo>
                  <a:pt x="294" y="419"/>
                </a:lnTo>
                <a:lnTo>
                  <a:pt x="294" y="419"/>
                </a:lnTo>
                <a:lnTo>
                  <a:pt x="294" y="419"/>
                </a:lnTo>
                <a:lnTo>
                  <a:pt x="293" y="419"/>
                </a:lnTo>
                <a:lnTo>
                  <a:pt x="293" y="419"/>
                </a:lnTo>
                <a:lnTo>
                  <a:pt x="293" y="419"/>
                </a:lnTo>
                <a:lnTo>
                  <a:pt x="293" y="419"/>
                </a:lnTo>
                <a:lnTo>
                  <a:pt x="293" y="419"/>
                </a:lnTo>
                <a:lnTo>
                  <a:pt x="293" y="420"/>
                </a:lnTo>
                <a:lnTo>
                  <a:pt x="293" y="420"/>
                </a:lnTo>
                <a:lnTo>
                  <a:pt x="293" y="420"/>
                </a:lnTo>
                <a:lnTo>
                  <a:pt x="293" y="420"/>
                </a:lnTo>
                <a:lnTo>
                  <a:pt x="292" y="420"/>
                </a:lnTo>
                <a:lnTo>
                  <a:pt x="292" y="420"/>
                </a:lnTo>
                <a:lnTo>
                  <a:pt x="292" y="420"/>
                </a:lnTo>
                <a:lnTo>
                  <a:pt x="292" y="420"/>
                </a:lnTo>
                <a:lnTo>
                  <a:pt x="292" y="420"/>
                </a:lnTo>
                <a:lnTo>
                  <a:pt x="292" y="421"/>
                </a:lnTo>
                <a:lnTo>
                  <a:pt x="292" y="421"/>
                </a:lnTo>
                <a:lnTo>
                  <a:pt x="292" y="421"/>
                </a:lnTo>
                <a:lnTo>
                  <a:pt x="292" y="421"/>
                </a:lnTo>
                <a:lnTo>
                  <a:pt x="292" y="421"/>
                </a:lnTo>
                <a:lnTo>
                  <a:pt x="291" y="421"/>
                </a:lnTo>
                <a:lnTo>
                  <a:pt x="291" y="421"/>
                </a:lnTo>
                <a:lnTo>
                  <a:pt x="291" y="421"/>
                </a:lnTo>
                <a:lnTo>
                  <a:pt x="291" y="422"/>
                </a:lnTo>
                <a:lnTo>
                  <a:pt x="291" y="422"/>
                </a:lnTo>
                <a:lnTo>
                  <a:pt x="291" y="422"/>
                </a:lnTo>
                <a:lnTo>
                  <a:pt x="291" y="422"/>
                </a:lnTo>
                <a:lnTo>
                  <a:pt x="291" y="422"/>
                </a:lnTo>
                <a:lnTo>
                  <a:pt x="291" y="422"/>
                </a:lnTo>
                <a:lnTo>
                  <a:pt x="291" y="422"/>
                </a:lnTo>
                <a:lnTo>
                  <a:pt x="290" y="422"/>
                </a:lnTo>
                <a:lnTo>
                  <a:pt x="290" y="423"/>
                </a:lnTo>
                <a:lnTo>
                  <a:pt x="290" y="423"/>
                </a:lnTo>
                <a:lnTo>
                  <a:pt x="290" y="423"/>
                </a:lnTo>
                <a:lnTo>
                  <a:pt x="290" y="423"/>
                </a:lnTo>
                <a:lnTo>
                  <a:pt x="290" y="423"/>
                </a:lnTo>
                <a:lnTo>
                  <a:pt x="290" y="423"/>
                </a:lnTo>
                <a:lnTo>
                  <a:pt x="290" y="423"/>
                </a:lnTo>
                <a:lnTo>
                  <a:pt x="290" y="423"/>
                </a:lnTo>
                <a:lnTo>
                  <a:pt x="290" y="424"/>
                </a:lnTo>
                <a:lnTo>
                  <a:pt x="290" y="424"/>
                </a:lnTo>
                <a:lnTo>
                  <a:pt x="289" y="424"/>
                </a:lnTo>
                <a:lnTo>
                  <a:pt x="289" y="424"/>
                </a:lnTo>
                <a:lnTo>
                  <a:pt x="289" y="424"/>
                </a:lnTo>
                <a:lnTo>
                  <a:pt x="289" y="424"/>
                </a:lnTo>
                <a:lnTo>
                  <a:pt x="289" y="424"/>
                </a:lnTo>
                <a:lnTo>
                  <a:pt x="289" y="425"/>
                </a:lnTo>
                <a:lnTo>
                  <a:pt x="289" y="425"/>
                </a:lnTo>
                <a:lnTo>
                  <a:pt x="289" y="425"/>
                </a:lnTo>
                <a:lnTo>
                  <a:pt x="289" y="425"/>
                </a:lnTo>
                <a:lnTo>
                  <a:pt x="289" y="425"/>
                </a:lnTo>
                <a:lnTo>
                  <a:pt x="289" y="425"/>
                </a:lnTo>
                <a:lnTo>
                  <a:pt x="289" y="425"/>
                </a:lnTo>
                <a:lnTo>
                  <a:pt x="289" y="427"/>
                </a:lnTo>
                <a:lnTo>
                  <a:pt x="287" y="427"/>
                </a:lnTo>
                <a:lnTo>
                  <a:pt x="287" y="427"/>
                </a:lnTo>
                <a:lnTo>
                  <a:pt x="287" y="427"/>
                </a:lnTo>
                <a:lnTo>
                  <a:pt x="287" y="427"/>
                </a:lnTo>
                <a:lnTo>
                  <a:pt x="287" y="427"/>
                </a:lnTo>
                <a:lnTo>
                  <a:pt x="287" y="427"/>
                </a:lnTo>
                <a:lnTo>
                  <a:pt x="287" y="428"/>
                </a:lnTo>
                <a:lnTo>
                  <a:pt x="287" y="428"/>
                </a:lnTo>
                <a:lnTo>
                  <a:pt x="287" y="428"/>
                </a:lnTo>
                <a:lnTo>
                  <a:pt x="287" y="428"/>
                </a:lnTo>
                <a:lnTo>
                  <a:pt x="287" y="428"/>
                </a:lnTo>
                <a:lnTo>
                  <a:pt x="287" y="428"/>
                </a:lnTo>
                <a:lnTo>
                  <a:pt x="287" y="428"/>
                </a:lnTo>
                <a:lnTo>
                  <a:pt x="287" y="429"/>
                </a:lnTo>
                <a:lnTo>
                  <a:pt x="286" y="429"/>
                </a:lnTo>
                <a:lnTo>
                  <a:pt x="286" y="429"/>
                </a:lnTo>
                <a:lnTo>
                  <a:pt x="286" y="429"/>
                </a:lnTo>
                <a:lnTo>
                  <a:pt x="286" y="429"/>
                </a:lnTo>
                <a:lnTo>
                  <a:pt x="286" y="429"/>
                </a:lnTo>
                <a:lnTo>
                  <a:pt x="286" y="429"/>
                </a:lnTo>
                <a:lnTo>
                  <a:pt x="286" y="430"/>
                </a:lnTo>
                <a:lnTo>
                  <a:pt x="286" y="430"/>
                </a:lnTo>
                <a:lnTo>
                  <a:pt x="286" y="430"/>
                </a:lnTo>
                <a:lnTo>
                  <a:pt x="286" y="430"/>
                </a:lnTo>
                <a:lnTo>
                  <a:pt x="286" y="430"/>
                </a:lnTo>
                <a:lnTo>
                  <a:pt x="286" y="430"/>
                </a:lnTo>
                <a:lnTo>
                  <a:pt x="286" y="430"/>
                </a:lnTo>
                <a:lnTo>
                  <a:pt x="286" y="431"/>
                </a:lnTo>
                <a:lnTo>
                  <a:pt x="286" y="431"/>
                </a:lnTo>
                <a:lnTo>
                  <a:pt x="286" y="431"/>
                </a:lnTo>
                <a:lnTo>
                  <a:pt x="286" y="431"/>
                </a:lnTo>
                <a:lnTo>
                  <a:pt x="286" y="431"/>
                </a:lnTo>
                <a:lnTo>
                  <a:pt x="285" y="431"/>
                </a:lnTo>
                <a:lnTo>
                  <a:pt x="285" y="432"/>
                </a:lnTo>
                <a:lnTo>
                  <a:pt x="285" y="432"/>
                </a:lnTo>
                <a:lnTo>
                  <a:pt x="285" y="432"/>
                </a:lnTo>
                <a:lnTo>
                  <a:pt x="285" y="432"/>
                </a:lnTo>
                <a:lnTo>
                  <a:pt x="285" y="432"/>
                </a:lnTo>
                <a:lnTo>
                  <a:pt x="285" y="432"/>
                </a:lnTo>
                <a:lnTo>
                  <a:pt x="285" y="432"/>
                </a:lnTo>
                <a:lnTo>
                  <a:pt x="285" y="433"/>
                </a:lnTo>
                <a:lnTo>
                  <a:pt x="285" y="433"/>
                </a:lnTo>
                <a:lnTo>
                  <a:pt x="285" y="433"/>
                </a:lnTo>
                <a:lnTo>
                  <a:pt x="285" y="433"/>
                </a:lnTo>
                <a:lnTo>
                  <a:pt x="285" y="433"/>
                </a:lnTo>
                <a:lnTo>
                  <a:pt x="285" y="433"/>
                </a:lnTo>
                <a:lnTo>
                  <a:pt x="285" y="434"/>
                </a:lnTo>
                <a:lnTo>
                  <a:pt x="285" y="434"/>
                </a:lnTo>
                <a:lnTo>
                  <a:pt x="285" y="434"/>
                </a:lnTo>
                <a:lnTo>
                  <a:pt x="285" y="434"/>
                </a:lnTo>
                <a:lnTo>
                  <a:pt x="285" y="434"/>
                </a:lnTo>
                <a:lnTo>
                  <a:pt x="285" y="434"/>
                </a:lnTo>
                <a:lnTo>
                  <a:pt x="285" y="436"/>
                </a:lnTo>
                <a:lnTo>
                  <a:pt x="285" y="436"/>
                </a:lnTo>
                <a:lnTo>
                  <a:pt x="285" y="436"/>
                </a:lnTo>
                <a:lnTo>
                  <a:pt x="285" y="436"/>
                </a:lnTo>
                <a:lnTo>
                  <a:pt x="285" y="436"/>
                </a:lnTo>
                <a:lnTo>
                  <a:pt x="285" y="436"/>
                </a:lnTo>
                <a:lnTo>
                  <a:pt x="285" y="437"/>
                </a:lnTo>
                <a:lnTo>
                  <a:pt x="285" y="437"/>
                </a:lnTo>
                <a:lnTo>
                  <a:pt x="285" y="437"/>
                </a:lnTo>
                <a:lnTo>
                  <a:pt x="285" y="437"/>
                </a:lnTo>
                <a:lnTo>
                  <a:pt x="285" y="437"/>
                </a:lnTo>
                <a:lnTo>
                  <a:pt x="285" y="437"/>
                </a:lnTo>
                <a:lnTo>
                  <a:pt x="285" y="438"/>
                </a:lnTo>
                <a:lnTo>
                  <a:pt x="284" y="438"/>
                </a:lnTo>
                <a:lnTo>
                  <a:pt x="284" y="438"/>
                </a:lnTo>
                <a:lnTo>
                  <a:pt x="284" y="438"/>
                </a:lnTo>
                <a:lnTo>
                  <a:pt x="284" y="438"/>
                </a:lnTo>
                <a:lnTo>
                  <a:pt x="284" y="438"/>
                </a:lnTo>
                <a:lnTo>
                  <a:pt x="284" y="439"/>
                </a:lnTo>
                <a:lnTo>
                  <a:pt x="284" y="439"/>
                </a:lnTo>
                <a:lnTo>
                  <a:pt x="284" y="439"/>
                </a:lnTo>
                <a:lnTo>
                  <a:pt x="284" y="439"/>
                </a:lnTo>
                <a:lnTo>
                  <a:pt x="284" y="439"/>
                </a:lnTo>
                <a:lnTo>
                  <a:pt x="284" y="439"/>
                </a:lnTo>
                <a:lnTo>
                  <a:pt x="284" y="440"/>
                </a:lnTo>
                <a:lnTo>
                  <a:pt x="284" y="440"/>
                </a:lnTo>
                <a:lnTo>
                  <a:pt x="284" y="440"/>
                </a:lnTo>
                <a:lnTo>
                  <a:pt x="284" y="440"/>
                </a:lnTo>
                <a:lnTo>
                  <a:pt x="284" y="440"/>
                </a:lnTo>
                <a:lnTo>
                  <a:pt x="284" y="440"/>
                </a:lnTo>
                <a:lnTo>
                  <a:pt x="284" y="441"/>
                </a:lnTo>
                <a:lnTo>
                  <a:pt x="284" y="441"/>
                </a:lnTo>
                <a:lnTo>
                  <a:pt x="284" y="441"/>
                </a:lnTo>
                <a:lnTo>
                  <a:pt x="284" y="441"/>
                </a:lnTo>
                <a:lnTo>
                  <a:pt x="284" y="441"/>
                </a:lnTo>
                <a:lnTo>
                  <a:pt x="284" y="441"/>
                </a:lnTo>
                <a:lnTo>
                  <a:pt x="284" y="442"/>
                </a:lnTo>
                <a:lnTo>
                  <a:pt x="284" y="442"/>
                </a:lnTo>
                <a:lnTo>
                  <a:pt x="284" y="442"/>
                </a:lnTo>
                <a:lnTo>
                  <a:pt x="284" y="442"/>
                </a:lnTo>
                <a:lnTo>
                  <a:pt x="285" y="442"/>
                </a:lnTo>
                <a:lnTo>
                  <a:pt x="285" y="442"/>
                </a:lnTo>
                <a:lnTo>
                  <a:pt x="285" y="444"/>
                </a:lnTo>
                <a:lnTo>
                  <a:pt x="285" y="444"/>
                </a:lnTo>
                <a:lnTo>
                  <a:pt x="285" y="444"/>
                </a:lnTo>
                <a:lnTo>
                  <a:pt x="285" y="444"/>
                </a:lnTo>
                <a:lnTo>
                  <a:pt x="285" y="444"/>
                </a:lnTo>
                <a:lnTo>
                  <a:pt x="285" y="444"/>
                </a:lnTo>
                <a:lnTo>
                  <a:pt x="285" y="445"/>
                </a:lnTo>
                <a:lnTo>
                  <a:pt x="285" y="445"/>
                </a:lnTo>
                <a:lnTo>
                  <a:pt x="285" y="445"/>
                </a:lnTo>
                <a:lnTo>
                  <a:pt x="285" y="445"/>
                </a:lnTo>
                <a:lnTo>
                  <a:pt x="285" y="445"/>
                </a:lnTo>
                <a:lnTo>
                  <a:pt x="285" y="445"/>
                </a:lnTo>
                <a:lnTo>
                  <a:pt x="285" y="446"/>
                </a:lnTo>
                <a:lnTo>
                  <a:pt x="285" y="446"/>
                </a:lnTo>
                <a:lnTo>
                  <a:pt x="285" y="446"/>
                </a:lnTo>
                <a:lnTo>
                  <a:pt x="285" y="446"/>
                </a:lnTo>
                <a:lnTo>
                  <a:pt x="285" y="446"/>
                </a:lnTo>
                <a:lnTo>
                  <a:pt x="285" y="446"/>
                </a:lnTo>
                <a:lnTo>
                  <a:pt x="285" y="447"/>
                </a:lnTo>
                <a:lnTo>
                  <a:pt x="285" y="447"/>
                </a:lnTo>
                <a:lnTo>
                  <a:pt x="285" y="447"/>
                </a:lnTo>
                <a:lnTo>
                  <a:pt x="285" y="447"/>
                </a:lnTo>
                <a:lnTo>
                  <a:pt x="285" y="447"/>
                </a:lnTo>
                <a:lnTo>
                  <a:pt x="285" y="447"/>
                </a:lnTo>
                <a:lnTo>
                  <a:pt x="285" y="447"/>
                </a:lnTo>
                <a:lnTo>
                  <a:pt x="285" y="448"/>
                </a:lnTo>
                <a:lnTo>
                  <a:pt x="285" y="448"/>
                </a:lnTo>
                <a:lnTo>
                  <a:pt x="285" y="448"/>
                </a:lnTo>
                <a:lnTo>
                  <a:pt x="285" y="448"/>
                </a:lnTo>
                <a:lnTo>
                  <a:pt x="285" y="448"/>
                </a:lnTo>
                <a:lnTo>
                  <a:pt x="285" y="448"/>
                </a:lnTo>
                <a:lnTo>
                  <a:pt x="286" y="449"/>
                </a:lnTo>
                <a:lnTo>
                  <a:pt x="286" y="449"/>
                </a:lnTo>
                <a:lnTo>
                  <a:pt x="286" y="449"/>
                </a:lnTo>
                <a:lnTo>
                  <a:pt x="286" y="449"/>
                </a:lnTo>
                <a:lnTo>
                  <a:pt x="286" y="449"/>
                </a:lnTo>
                <a:lnTo>
                  <a:pt x="286" y="449"/>
                </a:lnTo>
                <a:lnTo>
                  <a:pt x="286" y="449"/>
                </a:lnTo>
                <a:lnTo>
                  <a:pt x="286" y="450"/>
                </a:lnTo>
                <a:lnTo>
                  <a:pt x="286" y="450"/>
                </a:lnTo>
                <a:lnTo>
                  <a:pt x="286" y="450"/>
                </a:lnTo>
                <a:lnTo>
                  <a:pt x="286" y="450"/>
                </a:lnTo>
                <a:lnTo>
                  <a:pt x="286" y="450"/>
                </a:lnTo>
                <a:lnTo>
                  <a:pt x="286" y="450"/>
                </a:lnTo>
                <a:lnTo>
                  <a:pt x="286" y="451"/>
                </a:lnTo>
                <a:lnTo>
                  <a:pt x="286" y="451"/>
                </a:lnTo>
                <a:lnTo>
                  <a:pt x="286" y="451"/>
                </a:lnTo>
                <a:lnTo>
                  <a:pt x="286" y="451"/>
                </a:lnTo>
                <a:lnTo>
                  <a:pt x="286" y="451"/>
                </a:lnTo>
                <a:lnTo>
                  <a:pt x="287" y="451"/>
                </a:lnTo>
                <a:lnTo>
                  <a:pt x="287" y="451"/>
                </a:lnTo>
                <a:lnTo>
                  <a:pt x="287" y="453"/>
                </a:lnTo>
                <a:lnTo>
                  <a:pt x="287" y="453"/>
                </a:lnTo>
                <a:lnTo>
                  <a:pt x="287" y="453"/>
                </a:lnTo>
                <a:lnTo>
                  <a:pt x="287" y="453"/>
                </a:lnTo>
                <a:lnTo>
                  <a:pt x="287" y="453"/>
                </a:lnTo>
                <a:lnTo>
                  <a:pt x="287" y="453"/>
                </a:lnTo>
                <a:lnTo>
                  <a:pt x="287" y="453"/>
                </a:lnTo>
                <a:lnTo>
                  <a:pt x="287" y="454"/>
                </a:lnTo>
                <a:lnTo>
                  <a:pt x="287" y="454"/>
                </a:lnTo>
                <a:lnTo>
                  <a:pt x="287" y="454"/>
                </a:lnTo>
                <a:lnTo>
                  <a:pt x="287" y="454"/>
                </a:lnTo>
                <a:lnTo>
                  <a:pt x="287" y="454"/>
                </a:lnTo>
                <a:lnTo>
                  <a:pt x="289" y="454"/>
                </a:lnTo>
                <a:lnTo>
                  <a:pt x="289" y="454"/>
                </a:lnTo>
                <a:lnTo>
                  <a:pt x="289" y="455"/>
                </a:lnTo>
                <a:lnTo>
                  <a:pt x="289" y="455"/>
                </a:lnTo>
                <a:lnTo>
                  <a:pt x="289" y="455"/>
                </a:lnTo>
                <a:lnTo>
                  <a:pt x="289" y="455"/>
                </a:lnTo>
                <a:lnTo>
                  <a:pt x="289" y="455"/>
                </a:lnTo>
                <a:lnTo>
                  <a:pt x="289" y="455"/>
                </a:lnTo>
                <a:lnTo>
                  <a:pt x="289" y="455"/>
                </a:lnTo>
                <a:lnTo>
                  <a:pt x="289" y="456"/>
                </a:lnTo>
                <a:lnTo>
                  <a:pt x="289" y="456"/>
                </a:lnTo>
                <a:lnTo>
                  <a:pt x="289" y="456"/>
                </a:lnTo>
                <a:lnTo>
                  <a:pt x="289" y="456"/>
                </a:lnTo>
                <a:lnTo>
                  <a:pt x="290" y="456"/>
                </a:lnTo>
                <a:lnTo>
                  <a:pt x="290" y="456"/>
                </a:lnTo>
                <a:lnTo>
                  <a:pt x="290" y="456"/>
                </a:lnTo>
                <a:lnTo>
                  <a:pt x="290" y="456"/>
                </a:lnTo>
                <a:lnTo>
                  <a:pt x="290" y="457"/>
                </a:lnTo>
                <a:lnTo>
                  <a:pt x="290" y="457"/>
                </a:lnTo>
                <a:lnTo>
                  <a:pt x="290" y="457"/>
                </a:lnTo>
                <a:lnTo>
                  <a:pt x="290" y="457"/>
                </a:lnTo>
                <a:lnTo>
                  <a:pt x="290" y="457"/>
                </a:lnTo>
                <a:lnTo>
                  <a:pt x="290" y="457"/>
                </a:lnTo>
                <a:lnTo>
                  <a:pt x="290" y="457"/>
                </a:lnTo>
                <a:lnTo>
                  <a:pt x="291" y="458"/>
                </a:lnTo>
                <a:lnTo>
                  <a:pt x="291" y="458"/>
                </a:lnTo>
                <a:lnTo>
                  <a:pt x="291" y="458"/>
                </a:lnTo>
                <a:lnTo>
                  <a:pt x="291" y="458"/>
                </a:lnTo>
                <a:lnTo>
                  <a:pt x="291" y="458"/>
                </a:lnTo>
                <a:lnTo>
                  <a:pt x="291" y="458"/>
                </a:lnTo>
                <a:lnTo>
                  <a:pt x="291" y="458"/>
                </a:lnTo>
                <a:lnTo>
                  <a:pt x="291" y="458"/>
                </a:lnTo>
                <a:lnTo>
                  <a:pt x="291" y="459"/>
                </a:lnTo>
                <a:lnTo>
                  <a:pt x="291" y="459"/>
                </a:lnTo>
                <a:lnTo>
                  <a:pt x="292" y="459"/>
                </a:lnTo>
                <a:lnTo>
                  <a:pt x="292" y="459"/>
                </a:lnTo>
                <a:lnTo>
                  <a:pt x="292" y="459"/>
                </a:lnTo>
                <a:lnTo>
                  <a:pt x="292" y="459"/>
                </a:lnTo>
                <a:lnTo>
                  <a:pt x="292" y="459"/>
                </a:lnTo>
                <a:lnTo>
                  <a:pt x="292" y="459"/>
                </a:lnTo>
                <a:lnTo>
                  <a:pt x="292" y="460"/>
                </a:lnTo>
                <a:lnTo>
                  <a:pt x="292" y="460"/>
                </a:lnTo>
                <a:lnTo>
                  <a:pt x="292" y="460"/>
                </a:lnTo>
                <a:lnTo>
                  <a:pt x="292" y="460"/>
                </a:lnTo>
                <a:lnTo>
                  <a:pt x="293" y="460"/>
                </a:lnTo>
                <a:lnTo>
                  <a:pt x="293" y="460"/>
                </a:lnTo>
                <a:lnTo>
                  <a:pt x="293" y="460"/>
                </a:lnTo>
                <a:lnTo>
                  <a:pt x="293" y="460"/>
                </a:lnTo>
                <a:lnTo>
                  <a:pt x="293" y="460"/>
                </a:lnTo>
                <a:lnTo>
                  <a:pt x="293" y="462"/>
                </a:lnTo>
                <a:lnTo>
                  <a:pt x="293" y="462"/>
                </a:lnTo>
                <a:lnTo>
                  <a:pt x="293" y="462"/>
                </a:lnTo>
                <a:lnTo>
                  <a:pt x="293" y="462"/>
                </a:lnTo>
                <a:lnTo>
                  <a:pt x="294" y="462"/>
                </a:lnTo>
                <a:lnTo>
                  <a:pt x="294" y="462"/>
                </a:lnTo>
                <a:lnTo>
                  <a:pt x="294" y="462"/>
                </a:lnTo>
                <a:lnTo>
                  <a:pt x="294" y="462"/>
                </a:lnTo>
                <a:lnTo>
                  <a:pt x="294" y="462"/>
                </a:lnTo>
                <a:lnTo>
                  <a:pt x="294" y="463"/>
                </a:lnTo>
                <a:lnTo>
                  <a:pt x="294" y="463"/>
                </a:lnTo>
                <a:lnTo>
                  <a:pt x="294" y="463"/>
                </a:lnTo>
                <a:lnTo>
                  <a:pt x="295" y="463"/>
                </a:lnTo>
                <a:lnTo>
                  <a:pt x="295" y="463"/>
                </a:lnTo>
                <a:lnTo>
                  <a:pt x="295" y="463"/>
                </a:lnTo>
                <a:lnTo>
                  <a:pt x="295" y="463"/>
                </a:lnTo>
                <a:lnTo>
                  <a:pt x="295" y="463"/>
                </a:lnTo>
                <a:lnTo>
                  <a:pt x="295" y="463"/>
                </a:lnTo>
                <a:lnTo>
                  <a:pt x="295" y="463"/>
                </a:lnTo>
                <a:lnTo>
                  <a:pt x="295" y="464"/>
                </a:lnTo>
                <a:lnTo>
                  <a:pt x="296" y="464"/>
                </a:lnTo>
                <a:lnTo>
                  <a:pt x="296" y="464"/>
                </a:lnTo>
                <a:lnTo>
                  <a:pt x="296" y="464"/>
                </a:lnTo>
                <a:lnTo>
                  <a:pt x="296" y="464"/>
                </a:lnTo>
                <a:lnTo>
                  <a:pt x="296" y="464"/>
                </a:lnTo>
                <a:lnTo>
                  <a:pt x="296" y="464"/>
                </a:lnTo>
                <a:lnTo>
                  <a:pt x="296" y="464"/>
                </a:lnTo>
                <a:lnTo>
                  <a:pt x="296" y="464"/>
                </a:lnTo>
                <a:lnTo>
                  <a:pt x="298" y="464"/>
                </a:lnTo>
                <a:lnTo>
                  <a:pt x="298" y="464"/>
                </a:lnTo>
                <a:lnTo>
                  <a:pt x="298" y="465"/>
                </a:lnTo>
                <a:lnTo>
                  <a:pt x="298" y="465"/>
                </a:lnTo>
                <a:lnTo>
                  <a:pt x="298" y="465"/>
                </a:lnTo>
                <a:lnTo>
                  <a:pt x="298" y="465"/>
                </a:lnTo>
                <a:lnTo>
                  <a:pt x="298" y="465"/>
                </a:lnTo>
                <a:lnTo>
                  <a:pt x="298" y="465"/>
                </a:lnTo>
                <a:lnTo>
                  <a:pt x="299" y="465"/>
                </a:lnTo>
                <a:lnTo>
                  <a:pt x="299" y="465"/>
                </a:lnTo>
                <a:lnTo>
                  <a:pt x="299" y="465"/>
                </a:lnTo>
                <a:lnTo>
                  <a:pt x="299" y="465"/>
                </a:lnTo>
                <a:lnTo>
                  <a:pt x="299" y="465"/>
                </a:lnTo>
                <a:lnTo>
                  <a:pt x="299" y="466"/>
                </a:lnTo>
                <a:lnTo>
                  <a:pt x="299" y="466"/>
                </a:lnTo>
                <a:lnTo>
                  <a:pt x="300" y="466"/>
                </a:lnTo>
                <a:lnTo>
                  <a:pt x="300" y="466"/>
                </a:lnTo>
                <a:lnTo>
                  <a:pt x="300" y="466"/>
                </a:lnTo>
                <a:lnTo>
                  <a:pt x="300" y="466"/>
                </a:lnTo>
                <a:lnTo>
                  <a:pt x="300" y="466"/>
                </a:lnTo>
                <a:lnTo>
                  <a:pt x="300" y="466"/>
                </a:lnTo>
                <a:lnTo>
                  <a:pt x="300" y="466"/>
                </a:lnTo>
                <a:lnTo>
                  <a:pt x="300" y="466"/>
                </a:lnTo>
                <a:lnTo>
                  <a:pt x="301" y="466"/>
                </a:lnTo>
                <a:lnTo>
                  <a:pt x="301" y="466"/>
                </a:lnTo>
                <a:lnTo>
                  <a:pt x="301" y="466"/>
                </a:lnTo>
                <a:lnTo>
                  <a:pt x="301" y="467"/>
                </a:lnTo>
                <a:lnTo>
                  <a:pt x="301" y="467"/>
                </a:lnTo>
                <a:lnTo>
                  <a:pt x="301" y="467"/>
                </a:lnTo>
                <a:lnTo>
                  <a:pt x="301" y="467"/>
                </a:lnTo>
                <a:lnTo>
                  <a:pt x="302" y="467"/>
                </a:lnTo>
                <a:lnTo>
                  <a:pt x="302" y="467"/>
                </a:lnTo>
                <a:lnTo>
                  <a:pt x="302" y="467"/>
                </a:lnTo>
                <a:lnTo>
                  <a:pt x="302" y="467"/>
                </a:lnTo>
                <a:lnTo>
                  <a:pt x="302" y="467"/>
                </a:lnTo>
                <a:lnTo>
                  <a:pt x="302" y="467"/>
                </a:lnTo>
                <a:lnTo>
                  <a:pt x="303" y="467"/>
                </a:lnTo>
                <a:lnTo>
                  <a:pt x="303" y="467"/>
                </a:lnTo>
                <a:lnTo>
                  <a:pt x="303" y="467"/>
                </a:lnTo>
                <a:lnTo>
                  <a:pt x="303" y="467"/>
                </a:lnTo>
                <a:lnTo>
                  <a:pt x="303" y="467"/>
                </a:lnTo>
                <a:lnTo>
                  <a:pt x="303" y="468"/>
                </a:lnTo>
                <a:lnTo>
                  <a:pt x="303" y="468"/>
                </a:lnTo>
                <a:lnTo>
                  <a:pt x="304" y="468"/>
                </a:lnTo>
                <a:lnTo>
                  <a:pt x="304" y="468"/>
                </a:lnTo>
                <a:lnTo>
                  <a:pt x="304" y="468"/>
                </a:lnTo>
                <a:lnTo>
                  <a:pt x="304" y="468"/>
                </a:lnTo>
                <a:lnTo>
                  <a:pt x="304" y="468"/>
                </a:lnTo>
                <a:lnTo>
                  <a:pt x="304" y="468"/>
                </a:lnTo>
                <a:lnTo>
                  <a:pt x="304" y="468"/>
                </a:lnTo>
                <a:lnTo>
                  <a:pt x="305" y="468"/>
                </a:lnTo>
                <a:lnTo>
                  <a:pt x="305" y="468"/>
                </a:lnTo>
                <a:lnTo>
                  <a:pt x="305" y="468"/>
                </a:lnTo>
                <a:lnTo>
                  <a:pt x="305" y="468"/>
                </a:lnTo>
                <a:lnTo>
                  <a:pt x="305" y="468"/>
                </a:lnTo>
                <a:lnTo>
                  <a:pt x="305" y="468"/>
                </a:lnTo>
                <a:lnTo>
                  <a:pt x="307" y="468"/>
                </a:lnTo>
                <a:lnTo>
                  <a:pt x="307" y="468"/>
                </a:lnTo>
                <a:lnTo>
                  <a:pt x="307" y="468"/>
                </a:lnTo>
                <a:lnTo>
                  <a:pt x="307" y="468"/>
                </a:lnTo>
                <a:lnTo>
                  <a:pt x="307" y="468"/>
                </a:lnTo>
                <a:lnTo>
                  <a:pt x="307" y="468"/>
                </a:lnTo>
                <a:lnTo>
                  <a:pt x="308" y="469"/>
                </a:lnTo>
                <a:lnTo>
                  <a:pt x="308" y="469"/>
                </a:lnTo>
                <a:lnTo>
                  <a:pt x="308" y="469"/>
                </a:lnTo>
                <a:lnTo>
                  <a:pt x="308" y="469"/>
                </a:lnTo>
                <a:lnTo>
                  <a:pt x="308" y="469"/>
                </a:lnTo>
                <a:lnTo>
                  <a:pt x="308" y="469"/>
                </a:lnTo>
                <a:lnTo>
                  <a:pt x="308" y="469"/>
                </a:lnTo>
                <a:lnTo>
                  <a:pt x="309" y="469"/>
                </a:lnTo>
                <a:lnTo>
                  <a:pt x="309" y="469"/>
                </a:lnTo>
                <a:lnTo>
                  <a:pt x="309" y="469"/>
                </a:lnTo>
                <a:lnTo>
                  <a:pt x="309" y="469"/>
                </a:lnTo>
                <a:lnTo>
                  <a:pt x="309" y="469"/>
                </a:lnTo>
                <a:lnTo>
                  <a:pt x="309" y="469"/>
                </a:lnTo>
                <a:lnTo>
                  <a:pt x="310" y="469"/>
                </a:lnTo>
                <a:lnTo>
                  <a:pt x="310" y="469"/>
                </a:lnTo>
                <a:lnTo>
                  <a:pt x="310" y="469"/>
                </a:lnTo>
                <a:lnTo>
                  <a:pt x="310" y="469"/>
                </a:lnTo>
                <a:lnTo>
                  <a:pt x="310" y="469"/>
                </a:lnTo>
                <a:lnTo>
                  <a:pt x="310" y="469"/>
                </a:lnTo>
                <a:lnTo>
                  <a:pt x="311" y="469"/>
                </a:lnTo>
                <a:lnTo>
                  <a:pt x="311" y="469"/>
                </a:lnTo>
                <a:lnTo>
                  <a:pt x="311" y="469"/>
                </a:lnTo>
                <a:lnTo>
                  <a:pt x="311" y="469"/>
                </a:lnTo>
                <a:lnTo>
                  <a:pt x="311" y="469"/>
                </a:lnTo>
                <a:lnTo>
                  <a:pt x="311" y="469"/>
                </a:lnTo>
                <a:lnTo>
                  <a:pt x="312" y="469"/>
                </a:lnTo>
                <a:lnTo>
                  <a:pt x="312" y="469"/>
                </a:lnTo>
                <a:lnTo>
                  <a:pt x="312" y="469"/>
                </a:lnTo>
                <a:lnTo>
                  <a:pt x="312" y="469"/>
                </a:lnTo>
                <a:lnTo>
                  <a:pt x="312" y="469"/>
                </a:lnTo>
                <a:lnTo>
                  <a:pt x="312" y="469"/>
                </a:lnTo>
                <a:lnTo>
                  <a:pt x="313" y="469"/>
                </a:lnTo>
                <a:lnTo>
                  <a:pt x="313" y="469"/>
                </a:lnTo>
                <a:lnTo>
                  <a:pt x="313" y="469"/>
                </a:lnTo>
                <a:lnTo>
                  <a:pt x="313" y="469"/>
                </a:lnTo>
                <a:lnTo>
                  <a:pt x="313" y="469"/>
                </a:lnTo>
                <a:lnTo>
                  <a:pt x="313" y="469"/>
                </a:lnTo>
                <a:lnTo>
                  <a:pt x="314" y="469"/>
                </a:lnTo>
                <a:lnTo>
                  <a:pt x="314" y="469"/>
                </a:lnTo>
                <a:lnTo>
                  <a:pt x="314" y="469"/>
                </a:lnTo>
                <a:lnTo>
                  <a:pt x="314" y="469"/>
                </a:lnTo>
                <a:lnTo>
                  <a:pt x="314" y="469"/>
                </a:lnTo>
                <a:lnTo>
                  <a:pt x="314" y="469"/>
                </a:lnTo>
                <a:lnTo>
                  <a:pt x="316" y="469"/>
                </a:lnTo>
                <a:lnTo>
                  <a:pt x="316" y="469"/>
                </a:lnTo>
                <a:lnTo>
                  <a:pt x="316" y="469"/>
                </a:lnTo>
                <a:lnTo>
                  <a:pt x="316" y="469"/>
                </a:lnTo>
                <a:lnTo>
                  <a:pt x="316" y="469"/>
                </a:lnTo>
                <a:lnTo>
                  <a:pt x="316" y="469"/>
                </a:lnTo>
                <a:lnTo>
                  <a:pt x="317" y="469"/>
                </a:lnTo>
                <a:lnTo>
                  <a:pt x="317" y="469"/>
                </a:lnTo>
                <a:lnTo>
                  <a:pt x="317" y="469"/>
                </a:lnTo>
                <a:lnTo>
                  <a:pt x="317" y="469"/>
                </a:lnTo>
                <a:lnTo>
                  <a:pt x="317" y="469"/>
                </a:lnTo>
                <a:lnTo>
                  <a:pt x="317" y="469"/>
                </a:lnTo>
                <a:lnTo>
                  <a:pt x="318" y="469"/>
                </a:lnTo>
                <a:lnTo>
                  <a:pt x="318" y="469"/>
                </a:lnTo>
                <a:lnTo>
                  <a:pt x="318" y="469"/>
                </a:lnTo>
                <a:lnTo>
                  <a:pt x="318" y="469"/>
                </a:lnTo>
                <a:lnTo>
                  <a:pt x="318" y="469"/>
                </a:lnTo>
                <a:lnTo>
                  <a:pt x="318" y="469"/>
                </a:lnTo>
                <a:lnTo>
                  <a:pt x="319" y="469"/>
                </a:lnTo>
                <a:lnTo>
                  <a:pt x="319" y="469"/>
                </a:lnTo>
                <a:lnTo>
                  <a:pt x="319" y="469"/>
                </a:lnTo>
                <a:lnTo>
                  <a:pt x="319" y="469"/>
                </a:lnTo>
                <a:lnTo>
                  <a:pt x="319" y="469"/>
                </a:lnTo>
                <a:lnTo>
                  <a:pt x="319" y="469"/>
                </a:lnTo>
                <a:lnTo>
                  <a:pt x="320" y="469"/>
                </a:lnTo>
                <a:lnTo>
                  <a:pt x="320" y="469"/>
                </a:lnTo>
                <a:lnTo>
                  <a:pt x="320" y="469"/>
                </a:lnTo>
                <a:lnTo>
                  <a:pt x="320" y="469"/>
                </a:lnTo>
                <a:lnTo>
                  <a:pt x="320" y="469"/>
                </a:lnTo>
                <a:lnTo>
                  <a:pt x="320" y="469"/>
                </a:lnTo>
                <a:lnTo>
                  <a:pt x="321" y="469"/>
                </a:lnTo>
                <a:lnTo>
                  <a:pt x="321" y="469"/>
                </a:lnTo>
                <a:lnTo>
                  <a:pt x="321" y="469"/>
                </a:lnTo>
                <a:lnTo>
                  <a:pt x="321" y="469"/>
                </a:lnTo>
                <a:lnTo>
                  <a:pt x="321" y="468"/>
                </a:lnTo>
                <a:lnTo>
                  <a:pt x="321" y="468"/>
                </a:lnTo>
                <a:lnTo>
                  <a:pt x="322" y="468"/>
                </a:lnTo>
                <a:lnTo>
                  <a:pt x="322" y="468"/>
                </a:lnTo>
                <a:lnTo>
                  <a:pt x="322" y="468"/>
                </a:lnTo>
                <a:lnTo>
                  <a:pt x="322" y="468"/>
                </a:lnTo>
                <a:lnTo>
                  <a:pt x="322" y="468"/>
                </a:lnTo>
                <a:lnTo>
                  <a:pt x="322" y="468"/>
                </a:lnTo>
                <a:lnTo>
                  <a:pt x="322" y="468"/>
                </a:lnTo>
                <a:lnTo>
                  <a:pt x="323" y="468"/>
                </a:lnTo>
                <a:lnTo>
                  <a:pt x="323" y="468"/>
                </a:lnTo>
                <a:lnTo>
                  <a:pt x="323" y="468"/>
                </a:lnTo>
                <a:lnTo>
                  <a:pt x="323" y="468"/>
                </a:lnTo>
                <a:lnTo>
                  <a:pt x="323" y="468"/>
                </a:lnTo>
                <a:lnTo>
                  <a:pt x="323" y="468"/>
                </a:lnTo>
                <a:lnTo>
                  <a:pt x="325" y="468"/>
                </a:lnTo>
                <a:lnTo>
                  <a:pt x="325" y="468"/>
                </a:lnTo>
                <a:lnTo>
                  <a:pt x="325" y="468"/>
                </a:lnTo>
                <a:lnTo>
                  <a:pt x="325" y="468"/>
                </a:lnTo>
                <a:lnTo>
                  <a:pt x="325" y="468"/>
                </a:lnTo>
                <a:lnTo>
                  <a:pt x="325" y="468"/>
                </a:lnTo>
                <a:lnTo>
                  <a:pt x="325" y="467"/>
                </a:lnTo>
                <a:lnTo>
                  <a:pt x="326" y="467"/>
                </a:lnTo>
                <a:lnTo>
                  <a:pt x="326" y="467"/>
                </a:lnTo>
                <a:lnTo>
                  <a:pt x="326" y="467"/>
                </a:lnTo>
                <a:lnTo>
                  <a:pt x="326" y="467"/>
                </a:lnTo>
                <a:lnTo>
                  <a:pt x="326" y="467"/>
                </a:lnTo>
                <a:lnTo>
                  <a:pt x="326" y="467"/>
                </a:lnTo>
                <a:lnTo>
                  <a:pt x="326" y="467"/>
                </a:lnTo>
                <a:lnTo>
                  <a:pt x="327" y="467"/>
                </a:lnTo>
                <a:lnTo>
                  <a:pt x="327" y="467"/>
                </a:lnTo>
                <a:lnTo>
                  <a:pt x="327" y="467"/>
                </a:lnTo>
                <a:lnTo>
                  <a:pt x="327" y="467"/>
                </a:lnTo>
                <a:lnTo>
                  <a:pt x="327" y="467"/>
                </a:lnTo>
                <a:lnTo>
                  <a:pt x="327" y="467"/>
                </a:lnTo>
                <a:lnTo>
                  <a:pt x="327" y="467"/>
                </a:lnTo>
                <a:lnTo>
                  <a:pt x="328" y="466"/>
                </a:lnTo>
                <a:lnTo>
                  <a:pt x="328" y="466"/>
                </a:lnTo>
                <a:lnTo>
                  <a:pt x="328" y="466"/>
                </a:lnTo>
                <a:lnTo>
                  <a:pt x="328" y="466"/>
                </a:lnTo>
                <a:lnTo>
                  <a:pt x="328" y="466"/>
                </a:lnTo>
                <a:lnTo>
                  <a:pt x="328" y="466"/>
                </a:lnTo>
                <a:lnTo>
                  <a:pt x="328" y="466"/>
                </a:lnTo>
                <a:lnTo>
                  <a:pt x="329" y="466"/>
                </a:lnTo>
                <a:lnTo>
                  <a:pt x="329" y="466"/>
                </a:lnTo>
                <a:lnTo>
                  <a:pt x="329" y="466"/>
                </a:lnTo>
                <a:lnTo>
                  <a:pt x="329" y="466"/>
                </a:lnTo>
                <a:lnTo>
                  <a:pt x="329" y="466"/>
                </a:lnTo>
                <a:lnTo>
                  <a:pt x="329" y="466"/>
                </a:lnTo>
                <a:lnTo>
                  <a:pt x="329" y="465"/>
                </a:lnTo>
                <a:lnTo>
                  <a:pt x="330" y="465"/>
                </a:lnTo>
                <a:lnTo>
                  <a:pt x="330" y="465"/>
                </a:lnTo>
                <a:lnTo>
                  <a:pt x="330" y="465"/>
                </a:lnTo>
                <a:lnTo>
                  <a:pt x="330" y="465"/>
                </a:lnTo>
                <a:lnTo>
                  <a:pt x="330" y="465"/>
                </a:lnTo>
                <a:lnTo>
                  <a:pt x="330" y="465"/>
                </a:lnTo>
                <a:lnTo>
                  <a:pt x="330" y="465"/>
                </a:lnTo>
                <a:lnTo>
                  <a:pt x="330" y="465"/>
                </a:lnTo>
                <a:lnTo>
                  <a:pt x="331" y="465"/>
                </a:lnTo>
                <a:lnTo>
                  <a:pt x="331" y="465"/>
                </a:lnTo>
                <a:lnTo>
                  <a:pt x="331" y="464"/>
                </a:lnTo>
                <a:lnTo>
                  <a:pt x="331" y="464"/>
                </a:lnTo>
                <a:lnTo>
                  <a:pt x="331" y="464"/>
                </a:lnTo>
                <a:lnTo>
                  <a:pt x="331" y="464"/>
                </a:lnTo>
                <a:lnTo>
                  <a:pt x="331" y="464"/>
                </a:lnTo>
                <a:lnTo>
                  <a:pt x="333" y="464"/>
                </a:lnTo>
                <a:lnTo>
                  <a:pt x="333" y="464"/>
                </a:lnTo>
                <a:lnTo>
                  <a:pt x="333" y="464"/>
                </a:lnTo>
                <a:lnTo>
                  <a:pt x="333" y="464"/>
                </a:lnTo>
                <a:lnTo>
                  <a:pt x="333" y="464"/>
                </a:lnTo>
                <a:lnTo>
                  <a:pt x="333" y="464"/>
                </a:lnTo>
                <a:lnTo>
                  <a:pt x="333" y="463"/>
                </a:lnTo>
                <a:lnTo>
                  <a:pt x="333" y="463"/>
                </a:lnTo>
                <a:lnTo>
                  <a:pt x="334" y="463"/>
                </a:lnTo>
                <a:lnTo>
                  <a:pt x="334" y="463"/>
                </a:lnTo>
                <a:lnTo>
                  <a:pt x="334" y="463"/>
                </a:lnTo>
                <a:lnTo>
                  <a:pt x="334" y="463"/>
                </a:lnTo>
                <a:lnTo>
                  <a:pt x="334" y="463"/>
                </a:lnTo>
                <a:lnTo>
                  <a:pt x="334" y="463"/>
                </a:lnTo>
                <a:lnTo>
                  <a:pt x="334" y="463"/>
                </a:lnTo>
                <a:lnTo>
                  <a:pt x="334" y="463"/>
                </a:lnTo>
                <a:lnTo>
                  <a:pt x="334" y="462"/>
                </a:lnTo>
                <a:lnTo>
                  <a:pt x="335" y="462"/>
                </a:lnTo>
                <a:lnTo>
                  <a:pt x="335" y="462"/>
                </a:lnTo>
                <a:lnTo>
                  <a:pt x="335" y="462"/>
                </a:lnTo>
                <a:lnTo>
                  <a:pt x="335" y="462"/>
                </a:lnTo>
                <a:lnTo>
                  <a:pt x="335" y="462"/>
                </a:lnTo>
                <a:lnTo>
                  <a:pt x="335" y="462"/>
                </a:lnTo>
                <a:lnTo>
                  <a:pt x="335" y="462"/>
                </a:lnTo>
                <a:lnTo>
                  <a:pt x="335" y="462"/>
                </a:lnTo>
                <a:lnTo>
                  <a:pt x="336" y="460"/>
                </a:lnTo>
                <a:lnTo>
                  <a:pt x="336" y="460"/>
                </a:lnTo>
                <a:lnTo>
                  <a:pt x="336" y="460"/>
                </a:lnTo>
                <a:lnTo>
                  <a:pt x="336" y="460"/>
                </a:lnTo>
                <a:lnTo>
                  <a:pt x="336" y="460"/>
                </a:lnTo>
                <a:lnTo>
                  <a:pt x="336" y="460"/>
                </a:lnTo>
                <a:lnTo>
                  <a:pt x="336" y="460"/>
                </a:lnTo>
                <a:lnTo>
                  <a:pt x="336" y="460"/>
                </a:lnTo>
                <a:lnTo>
                  <a:pt x="336" y="460"/>
                </a:lnTo>
                <a:lnTo>
                  <a:pt x="336" y="459"/>
                </a:lnTo>
                <a:lnTo>
                  <a:pt x="337" y="459"/>
                </a:lnTo>
                <a:lnTo>
                  <a:pt x="337" y="459"/>
                </a:lnTo>
                <a:lnTo>
                  <a:pt x="337" y="459"/>
                </a:lnTo>
                <a:lnTo>
                  <a:pt x="337" y="459"/>
                </a:lnTo>
                <a:lnTo>
                  <a:pt x="337" y="459"/>
                </a:lnTo>
                <a:lnTo>
                  <a:pt x="337" y="459"/>
                </a:lnTo>
                <a:lnTo>
                  <a:pt x="337" y="459"/>
                </a:lnTo>
                <a:lnTo>
                  <a:pt x="337" y="458"/>
                </a:lnTo>
                <a:lnTo>
                  <a:pt x="337" y="458"/>
                </a:lnTo>
                <a:lnTo>
                  <a:pt x="338" y="458"/>
                </a:lnTo>
                <a:lnTo>
                  <a:pt x="338" y="458"/>
                </a:lnTo>
                <a:lnTo>
                  <a:pt x="338" y="458"/>
                </a:lnTo>
                <a:lnTo>
                  <a:pt x="338" y="458"/>
                </a:lnTo>
                <a:lnTo>
                  <a:pt x="338" y="458"/>
                </a:lnTo>
                <a:lnTo>
                  <a:pt x="338" y="458"/>
                </a:lnTo>
                <a:lnTo>
                  <a:pt x="338" y="457"/>
                </a:lnTo>
                <a:lnTo>
                  <a:pt x="338" y="457"/>
                </a:lnTo>
                <a:lnTo>
                  <a:pt x="338" y="457"/>
                </a:lnTo>
                <a:lnTo>
                  <a:pt x="338" y="457"/>
                </a:lnTo>
                <a:lnTo>
                  <a:pt x="338" y="457"/>
                </a:lnTo>
                <a:lnTo>
                  <a:pt x="339" y="457"/>
                </a:lnTo>
                <a:lnTo>
                  <a:pt x="339" y="457"/>
                </a:lnTo>
                <a:lnTo>
                  <a:pt x="339" y="456"/>
                </a:lnTo>
                <a:lnTo>
                  <a:pt x="339" y="456"/>
                </a:lnTo>
                <a:lnTo>
                  <a:pt x="339" y="456"/>
                </a:lnTo>
                <a:lnTo>
                  <a:pt x="339" y="456"/>
                </a:lnTo>
                <a:lnTo>
                  <a:pt x="339" y="456"/>
                </a:lnTo>
                <a:lnTo>
                  <a:pt x="339" y="456"/>
                </a:lnTo>
                <a:lnTo>
                  <a:pt x="339" y="456"/>
                </a:lnTo>
                <a:lnTo>
                  <a:pt x="339" y="456"/>
                </a:lnTo>
                <a:lnTo>
                  <a:pt x="339" y="455"/>
                </a:lnTo>
                <a:lnTo>
                  <a:pt x="339" y="455"/>
                </a:lnTo>
                <a:lnTo>
                  <a:pt x="340" y="455"/>
                </a:lnTo>
                <a:lnTo>
                  <a:pt x="340" y="455"/>
                </a:lnTo>
                <a:lnTo>
                  <a:pt x="340" y="455"/>
                </a:lnTo>
                <a:lnTo>
                  <a:pt x="340" y="455"/>
                </a:lnTo>
                <a:lnTo>
                  <a:pt x="340" y="455"/>
                </a:lnTo>
                <a:lnTo>
                  <a:pt x="340" y="454"/>
                </a:lnTo>
                <a:lnTo>
                  <a:pt x="340" y="454"/>
                </a:lnTo>
                <a:lnTo>
                  <a:pt x="340" y="454"/>
                </a:lnTo>
                <a:lnTo>
                  <a:pt x="340" y="454"/>
                </a:lnTo>
                <a:lnTo>
                  <a:pt x="340" y="454"/>
                </a:lnTo>
                <a:lnTo>
                  <a:pt x="340" y="454"/>
                </a:lnTo>
                <a:lnTo>
                  <a:pt x="340" y="454"/>
                </a:lnTo>
                <a:lnTo>
                  <a:pt x="340" y="453"/>
                </a:lnTo>
                <a:lnTo>
                  <a:pt x="342" y="453"/>
                </a:lnTo>
                <a:lnTo>
                  <a:pt x="342" y="453"/>
                </a:lnTo>
                <a:lnTo>
                  <a:pt x="342" y="453"/>
                </a:lnTo>
                <a:lnTo>
                  <a:pt x="342" y="453"/>
                </a:lnTo>
                <a:lnTo>
                  <a:pt x="342" y="453"/>
                </a:lnTo>
                <a:lnTo>
                  <a:pt x="342" y="453"/>
                </a:lnTo>
                <a:lnTo>
                  <a:pt x="342" y="451"/>
                </a:lnTo>
                <a:lnTo>
                  <a:pt x="342" y="451"/>
                </a:lnTo>
                <a:lnTo>
                  <a:pt x="342" y="451"/>
                </a:lnTo>
                <a:lnTo>
                  <a:pt x="342" y="451"/>
                </a:lnTo>
                <a:lnTo>
                  <a:pt x="342" y="451"/>
                </a:lnTo>
                <a:lnTo>
                  <a:pt x="342" y="451"/>
                </a:lnTo>
                <a:lnTo>
                  <a:pt x="342" y="451"/>
                </a:lnTo>
                <a:lnTo>
                  <a:pt x="342" y="450"/>
                </a:lnTo>
                <a:lnTo>
                  <a:pt x="342" y="450"/>
                </a:lnTo>
                <a:lnTo>
                  <a:pt x="342" y="450"/>
                </a:lnTo>
                <a:lnTo>
                  <a:pt x="343" y="450"/>
                </a:lnTo>
                <a:lnTo>
                  <a:pt x="343" y="450"/>
                </a:lnTo>
                <a:lnTo>
                  <a:pt x="343" y="450"/>
                </a:lnTo>
                <a:lnTo>
                  <a:pt x="343" y="449"/>
                </a:lnTo>
                <a:lnTo>
                  <a:pt x="343" y="449"/>
                </a:lnTo>
                <a:lnTo>
                  <a:pt x="343" y="449"/>
                </a:lnTo>
                <a:lnTo>
                  <a:pt x="343" y="449"/>
                </a:lnTo>
                <a:lnTo>
                  <a:pt x="343" y="449"/>
                </a:lnTo>
                <a:lnTo>
                  <a:pt x="343" y="449"/>
                </a:lnTo>
                <a:lnTo>
                  <a:pt x="343" y="449"/>
                </a:lnTo>
                <a:lnTo>
                  <a:pt x="343" y="448"/>
                </a:lnTo>
                <a:lnTo>
                  <a:pt x="343" y="448"/>
                </a:lnTo>
                <a:lnTo>
                  <a:pt x="343" y="448"/>
                </a:lnTo>
                <a:lnTo>
                  <a:pt x="343" y="448"/>
                </a:lnTo>
                <a:lnTo>
                  <a:pt x="343" y="448"/>
                </a:lnTo>
                <a:lnTo>
                  <a:pt x="343" y="448"/>
                </a:lnTo>
                <a:lnTo>
                  <a:pt x="343" y="447"/>
                </a:lnTo>
                <a:lnTo>
                  <a:pt x="343" y="447"/>
                </a:lnTo>
                <a:lnTo>
                  <a:pt x="343" y="447"/>
                </a:lnTo>
                <a:lnTo>
                  <a:pt x="343" y="447"/>
                </a:lnTo>
                <a:lnTo>
                  <a:pt x="343" y="447"/>
                </a:lnTo>
                <a:lnTo>
                  <a:pt x="343" y="447"/>
                </a:lnTo>
                <a:lnTo>
                  <a:pt x="344" y="447"/>
                </a:lnTo>
                <a:lnTo>
                  <a:pt x="344" y="446"/>
                </a:lnTo>
                <a:lnTo>
                  <a:pt x="344" y="446"/>
                </a:lnTo>
                <a:lnTo>
                  <a:pt x="344" y="446"/>
                </a:lnTo>
                <a:lnTo>
                  <a:pt x="344" y="446"/>
                </a:lnTo>
                <a:lnTo>
                  <a:pt x="344" y="446"/>
                </a:lnTo>
                <a:lnTo>
                  <a:pt x="344" y="446"/>
                </a:lnTo>
                <a:lnTo>
                  <a:pt x="344" y="445"/>
                </a:lnTo>
                <a:lnTo>
                  <a:pt x="344" y="445"/>
                </a:lnTo>
                <a:lnTo>
                  <a:pt x="344" y="445"/>
                </a:lnTo>
                <a:lnTo>
                  <a:pt x="344" y="445"/>
                </a:lnTo>
                <a:lnTo>
                  <a:pt x="344" y="445"/>
                </a:lnTo>
                <a:lnTo>
                  <a:pt x="344" y="445"/>
                </a:lnTo>
                <a:lnTo>
                  <a:pt x="344" y="444"/>
                </a:lnTo>
                <a:lnTo>
                  <a:pt x="344" y="444"/>
                </a:lnTo>
                <a:lnTo>
                  <a:pt x="344" y="444"/>
                </a:lnTo>
                <a:lnTo>
                  <a:pt x="344" y="444"/>
                </a:lnTo>
                <a:lnTo>
                  <a:pt x="344" y="444"/>
                </a:lnTo>
                <a:lnTo>
                  <a:pt x="344" y="444"/>
                </a:lnTo>
                <a:lnTo>
                  <a:pt x="344" y="442"/>
                </a:lnTo>
                <a:lnTo>
                  <a:pt x="344" y="442"/>
                </a:lnTo>
                <a:lnTo>
                  <a:pt x="344" y="442"/>
                </a:lnTo>
                <a:lnTo>
                  <a:pt x="344" y="442"/>
                </a:lnTo>
                <a:lnTo>
                  <a:pt x="344" y="442"/>
                </a:lnTo>
                <a:lnTo>
                  <a:pt x="344" y="442"/>
                </a:lnTo>
                <a:lnTo>
                  <a:pt x="344" y="441"/>
                </a:lnTo>
                <a:lnTo>
                  <a:pt x="344" y="441"/>
                </a:lnTo>
                <a:lnTo>
                  <a:pt x="344" y="441"/>
                </a:lnTo>
                <a:lnTo>
                  <a:pt x="344" y="441"/>
                </a:lnTo>
                <a:lnTo>
                  <a:pt x="344" y="441"/>
                </a:lnTo>
                <a:lnTo>
                  <a:pt x="344" y="441"/>
                </a:lnTo>
                <a:lnTo>
                  <a:pt x="344" y="440"/>
                </a:lnTo>
                <a:lnTo>
                  <a:pt x="344" y="440"/>
                </a:lnTo>
                <a:lnTo>
                  <a:pt x="344" y="440"/>
                </a:lnTo>
                <a:lnTo>
                  <a:pt x="344" y="440"/>
                </a:lnTo>
                <a:lnTo>
                  <a:pt x="344" y="440"/>
                </a:lnTo>
                <a:close/>
                <a:moveTo>
                  <a:pt x="318" y="403"/>
                </a:moveTo>
                <a:lnTo>
                  <a:pt x="318" y="403"/>
                </a:lnTo>
                <a:lnTo>
                  <a:pt x="319" y="403"/>
                </a:lnTo>
                <a:lnTo>
                  <a:pt x="319" y="403"/>
                </a:lnTo>
                <a:lnTo>
                  <a:pt x="319" y="403"/>
                </a:lnTo>
                <a:lnTo>
                  <a:pt x="319" y="403"/>
                </a:lnTo>
                <a:lnTo>
                  <a:pt x="319" y="403"/>
                </a:lnTo>
                <a:lnTo>
                  <a:pt x="320" y="403"/>
                </a:lnTo>
                <a:lnTo>
                  <a:pt x="320" y="403"/>
                </a:lnTo>
                <a:lnTo>
                  <a:pt x="320" y="403"/>
                </a:lnTo>
                <a:lnTo>
                  <a:pt x="320" y="403"/>
                </a:lnTo>
                <a:lnTo>
                  <a:pt x="320" y="403"/>
                </a:lnTo>
                <a:lnTo>
                  <a:pt x="321" y="403"/>
                </a:lnTo>
                <a:lnTo>
                  <a:pt x="321" y="403"/>
                </a:lnTo>
                <a:lnTo>
                  <a:pt x="321" y="403"/>
                </a:lnTo>
                <a:lnTo>
                  <a:pt x="321" y="403"/>
                </a:lnTo>
                <a:lnTo>
                  <a:pt x="321" y="403"/>
                </a:lnTo>
                <a:lnTo>
                  <a:pt x="322" y="403"/>
                </a:lnTo>
                <a:lnTo>
                  <a:pt x="322" y="403"/>
                </a:lnTo>
                <a:lnTo>
                  <a:pt x="322" y="403"/>
                </a:lnTo>
                <a:lnTo>
                  <a:pt x="322" y="403"/>
                </a:lnTo>
                <a:lnTo>
                  <a:pt x="323" y="403"/>
                </a:lnTo>
                <a:lnTo>
                  <a:pt x="323" y="403"/>
                </a:lnTo>
                <a:lnTo>
                  <a:pt x="323" y="404"/>
                </a:lnTo>
                <a:lnTo>
                  <a:pt x="323" y="404"/>
                </a:lnTo>
                <a:lnTo>
                  <a:pt x="323" y="404"/>
                </a:lnTo>
                <a:lnTo>
                  <a:pt x="325" y="404"/>
                </a:lnTo>
                <a:lnTo>
                  <a:pt x="325" y="404"/>
                </a:lnTo>
                <a:lnTo>
                  <a:pt x="325" y="404"/>
                </a:lnTo>
                <a:lnTo>
                  <a:pt x="325" y="404"/>
                </a:lnTo>
                <a:lnTo>
                  <a:pt x="325" y="404"/>
                </a:lnTo>
                <a:lnTo>
                  <a:pt x="325" y="404"/>
                </a:lnTo>
                <a:lnTo>
                  <a:pt x="326" y="404"/>
                </a:lnTo>
                <a:lnTo>
                  <a:pt x="326" y="404"/>
                </a:lnTo>
                <a:lnTo>
                  <a:pt x="326" y="404"/>
                </a:lnTo>
                <a:lnTo>
                  <a:pt x="326" y="404"/>
                </a:lnTo>
                <a:lnTo>
                  <a:pt x="326" y="404"/>
                </a:lnTo>
                <a:lnTo>
                  <a:pt x="327" y="404"/>
                </a:lnTo>
                <a:lnTo>
                  <a:pt x="327" y="404"/>
                </a:lnTo>
                <a:lnTo>
                  <a:pt x="327" y="404"/>
                </a:lnTo>
                <a:lnTo>
                  <a:pt x="327" y="405"/>
                </a:lnTo>
                <a:lnTo>
                  <a:pt x="327" y="405"/>
                </a:lnTo>
                <a:lnTo>
                  <a:pt x="328" y="405"/>
                </a:lnTo>
                <a:lnTo>
                  <a:pt x="328" y="405"/>
                </a:lnTo>
                <a:lnTo>
                  <a:pt x="328" y="405"/>
                </a:lnTo>
                <a:lnTo>
                  <a:pt x="328" y="405"/>
                </a:lnTo>
                <a:lnTo>
                  <a:pt x="328" y="405"/>
                </a:lnTo>
                <a:lnTo>
                  <a:pt x="329" y="405"/>
                </a:lnTo>
                <a:lnTo>
                  <a:pt x="329" y="405"/>
                </a:lnTo>
                <a:lnTo>
                  <a:pt x="329" y="405"/>
                </a:lnTo>
                <a:lnTo>
                  <a:pt x="329" y="405"/>
                </a:lnTo>
                <a:lnTo>
                  <a:pt x="329" y="405"/>
                </a:lnTo>
                <a:lnTo>
                  <a:pt x="330" y="405"/>
                </a:lnTo>
                <a:lnTo>
                  <a:pt x="330" y="406"/>
                </a:lnTo>
                <a:lnTo>
                  <a:pt x="330" y="406"/>
                </a:lnTo>
                <a:lnTo>
                  <a:pt x="330" y="406"/>
                </a:lnTo>
                <a:lnTo>
                  <a:pt x="330" y="406"/>
                </a:lnTo>
                <a:lnTo>
                  <a:pt x="330" y="406"/>
                </a:lnTo>
                <a:lnTo>
                  <a:pt x="331" y="406"/>
                </a:lnTo>
                <a:lnTo>
                  <a:pt x="331" y="406"/>
                </a:lnTo>
                <a:lnTo>
                  <a:pt x="331" y="406"/>
                </a:lnTo>
                <a:lnTo>
                  <a:pt x="331" y="406"/>
                </a:lnTo>
                <a:lnTo>
                  <a:pt x="331" y="406"/>
                </a:lnTo>
                <a:lnTo>
                  <a:pt x="333" y="406"/>
                </a:lnTo>
                <a:lnTo>
                  <a:pt x="333" y="407"/>
                </a:lnTo>
                <a:lnTo>
                  <a:pt x="333" y="407"/>
                </a:lnTo>
                <a:lnTo>
                  <a:pt x="333" y="407"/>
                </a:lnTo>
                <a:lnTo>
                  <a:pt x="333" y="407"/>
                </a:lnTo>
                <a:lnTo>
                  <a:pt x="333" y="407"/>
                </a:lnTo>
                <a:lnTo>
                  <a:pt x="334" y="407"/>
                </a:lnTo>
                <a:lnTo>
                  <a:pt x="334" y="407"/>
                </a:lnTo>
                <a:lnTo>
                  <a:pt x="334" y="407"/>
                </a:lnTo>
                <a:lnTo>
                  <a:pt x="334" y="407"/>
                </a:lnTo>
                <a:lnTo>
                  <a:pt x="334" y="407"/>
                </a:lnTo>
                <a:lnTo>
                  <a:pt x="334" y="409"/>
                </a:lnTo>
                <a:lnTo>
                  <a:pt x="335" y="409"/>
                </a:lnTo>
                <a:lnTo>
                  <a:pt x="335" y="409"/>
                </a:lnTo>
                <a:lnTo>
                  <a:pt x="335" y="409"/>
                </a:lnTo>
                <a:lnTo>
                  <a:pt x="335" y="409"/>
                </a:lnTo>
                <a:lnTo>
                  <a:pt x="335" y="409"/>
                </a:lnTo>
                <a:lnTo>
                  <a:pt x="335" y="409"/>
                </a:lnTo>
                <a:lnTo>
                  <a:pt x="336" y="409"/>
                </a:lnTo>
                <a:lnTo>
                  <a:pt x="336" y="409"/>
                </a:lnTo>
                <a:lnTo>
                  <a:pt x="336" y="410"/>
                </a:lnTo>
                <a:lnTo>
                  <a:pt x="336" y="410"/>
                </a:lnTo>
                <a:lnTo>
                  <a:pt x="336" y="410"/>
                </a:lnTo>
                <a:lnTo>
                  <a:pt x="336" y="410"/>
                </a:lnTo>
                <a:lnTo>
                  <a:pt x="337" y="410"/>
                </a:lnTo>
                <a:lnTo>
                  <a:pt x="337" y="410"/>
                </a:lnTo>
                <a:lnTo>
                  <a:pt x="337" y="410"/>
                </a:lnTo>
                <a:lnTo>
                  <a:pt x="337" y="410"/>
                </a:lnTo>
                <a:lnTo>
                  <a:pt x="337" y="411"/>
                </a:lnTo>
                <a:lnTo>
                  <a:pt x="337" y="411"/>
                </a:lnTo>
                <a:lnTo>
                  <a:pt x="338" y="411"/>
                </a:lnTo>
                <a:lnTo>
                  <a:pt x="338" y="411"/>
                </a:lnTo>
                <a:lnTo>
                  <a:pt x="338" y="411"/>
                </a:lnTo>
                <a:lnTo>
                  <a:pt x="338" y="411"/>
                </a:lnTo>
                <a:lnTo>
                  <a:pt x="338" y="411"/>
                </a:lnTo>
                <a:lnTo>
                  <a:pt x="338" y="411"/>
                </a:lnTo>
                <a:lnTo>
                  <a:pt x="338" y="412"/>
                </a:lnTo>
                <a:lnTo>
                  <a:pt x="339" y="412"/>
                </a:lnTo>
                <a:lnTo>
                  <a:pt x="339" y="412"/>
                </a:lnTo>
                <a:lnTo>
                  <a:pt x="339" y="412"/>
                </a:lnTo>
                <a:lnTo>
                  <a:pt x="339" y="412"/>
                </a:lnTo>
                <a:lnTo>
                  <a:pt x="339" y="412"/>
                </a:lnTo>
                <a:lnTo>
                  <a:pt x="339" y="412"/>
                </a:lnTo>
                <a:lnTo>
                  <a:pt x="340" y="412"/>
                </a:lnTo>
                <a:lnTo>
                  <a:pt x="340" y="413"/>
                </a:lnTo>
                <a:lnTo>
                  <a:pt x="340" y="413"/>
                </a:lnTo>
                <a:lnTo>
                  <a:pt x="340" y="413"/>
                </a:lnTo>
                <a:lnTo>
                  <a:pt x="340" y="413"/>
                </a:lnTo>
                <a:lnTo>
                  <a:pt x="340" y="413"/>
                </a:lnTo>
                <a:lnTo>
                  <a:pt x="340" y="413"/>
                </a:lnTo>
                <a:lnTo>
                  <a:pt x="342" y="413"/>
                </a:lnTo>
                <a:lnTo>
                  <a:pt x="342" y="414"/>
                </a:lnTo>
                <a:lnTo>
                  <a:pt x="342" y="414"/>
                </a:lnTo>
                <a:lnTo>
                  <a:pt x="342" y="414"/>
                </a:lnTo>
                <a:lnTo>
                  <a:pt x="342" y="414"/>
                </a:lnTo>
                <a:lnTo>
                  <a:pt x="342" y="414"/>
                </a:lnTo>
                <a:lnTo>
                  <a:pt x="342" y="414"/>
                </a:lnTo>
                <a:lnTo>
                  <a:pt x="342" y="414"/>
                </a:lnTo>
                <a:lnTo>
                  <a:pt x="343" y="415"/>
                </a:lnTo>
                <a:lnTo>
                  <a:pt x="343" y="415"/>
                </a:lnTo>
                <a:lnTo>
                  <a:pt x="343" y="415"/>
                </a:lnTo>
                <a:lnTo>
                  <a:pt x="343" y="415"/>
                </a:lnTo>
                <a:lnTo>
                  <a:pt x="343" y="415"/>
                </a:lnTo>
                <a:lnTo>
                  <a:pt x="343" y="415"/>
                </a:lnTo>
                <a:lnTo>
                  <a:pt x="343" y="416"/>
                </a:lnTo>
                <a:lnTo>
                  <a:pt x="344" y="416"/>
                </a:lnTo>
                <a:lnTo>
                  <a:pt x="344" y="416"/>
                </a:lnTo>
                <a:lnTo>
                  <a:pt x="344" y="416"/>
                </a:lnTo>
                <a:lnTo>
                  <a:pt x="344" y="416"/>
                </a:lnTo>
                <a:lnTo>
                  <a:pt x="344" y="416"/>
                </a:lnTo>
                <a:lnTo>
                  <a:pt x="344" y="416"/>
                </a:lnTo>
                <a:lnTo>
                  <a:pt x="344" y="418"/>
                </a:lnTo>
                <a:lnTo>
                  <a:pt x="344" y="418"/>
                </a:lnTo>
                <a:lnTo>
                  <a:pt x="345" y="418"/>
                </a:lnTo>
                <a:lnTo>
                  <a:pt x="345" y="418"/>
                </a:lnTo>
                <a:lnTo>
                  <a:pt x="345" y="418"/>
                </a:lnTo>
                <a:lnTo>
                  <a:pt x="345" y="418"/>
                </a:lnTo>
                <a:lnTo>
                  <a:pt x="345" y="419"/>
                </a:lnTo>
                <a:lnTo>
                  <a:pt x="345" y="419"/>
                </a:lnTo>
                <a:lnTo>
                  <a:pt x="345" y="419"/>
                </a:lnTo>
                <a:lnTo>
                  <a:pt x="345" y="419"/>
                </a:lnTo>
                <a:lnTo>
                  <a:pt x="345" y="419"/>
                </a:lnTo>
                <a:lnTo>
                  <a:pt x="346" y="419"/>
                </a:lnTo>
                <a:lnTo>
                  <a:pt x="346" y="420"/>
                </a:lnTo>
                <a:lnTo>
                  <a:pt x="346" y="420"/>
                </a:lnTo>
                <a:lnTo>
                  <a:pt x="346" y="420"/>
                </a:lnTo>
                <a:lnTo>
                  <a:pt x="346" y="420"/>
                </a:lnTo>
                <a:lnTo>
                  <a:pt x="346" y="420"/>
                </a:lnTo>
                <a:lnTo>
                  <a:pt x="346" y="420"/>
                </a:lnTo>
                <a:lnTo>
                  <a:pt x="346" y="421"/>
                </a:lnTo>
                <a:lnTo>
                  <a:pt x="346" y="421"/>
                </a:lnTo>
                <a:lnTo>
                  <a:pt x="347" y="421"/>
                </a:lnTo>
                <a:lnTo>
                  <a:pt x="347" y="421"/>
                </a:lnTo>
                <a:lnTo>
                  <a:pt x="347" y="421"/>
                </a:lnTo>
                <a:lnTo>
                  <a:pt x="347" y="421"/>
                </a:lnTo>
                <a:lnTo>
                  <a:pt x="347" y="422"/>
                </a:lnTo>
                <a:lnTo>
                  <a:pt x="347" y="422"/>
                </a:lnTo>
                <a:lnTo>
                  <a:pt x="347" y="422"/>
                </a:lnTo>
                <a:lnTo>
                  <a:pt x="347" y="422"/>
                </a:lnTo>
                <a:lnTo>
                  <a:pt x="347" y="422"/>
                </a:lnTo>
                <a:lnTo>
                  <a:pt x="347" y="423"/>
                </a:lnTo>
                <a:lnTo>
                  <a:pt x="348" y="423"/>
                </a:lnTo>
                <a:lnTo>
                  <a:pt x="348" y="423"/>
                </a:lnTo>
                <a:lnTo>
                  <a:pt x="348" y="423"/>
                </a:lnTo>
                <a:lnTo>
                  <a:pt x="348" y="423"/>
                </a:lnTo>
                <a:lnTo>
                  <a:pt x="348" y="423"/>
                </a:lnTo>
                <a:lnTo>
                  <a:pt x="348" y="424"/>
                </a:lnTo>
                <a:lnTo>
                  <a:pt x="348" y="424"/>
                </a:lnTo>
                <a:lnTo>
                  <a:pt x="348" y="424"/>
                </a:lnTo>
                <a:lnTo>
                  <a:pt x="348" y="424"/>
                </a:lnTo>
                <a:lnTo>
                  <a:pt x="348" y="424"/>
                </a:lnTo>
                <a:lnTo>
                  <a:pt x="348" y="425"/>
                </a:lnTo>
                <a:lnTo>
                  <a:pt x="348" y="425"/>
                </a:lnTo>
                <a:lnTo>
                  <a:pt x="349" y="425"/>
                </a:lnTo>
                <a:lnTo>
                  <a:pt x="349" y="425"/>
                </a:lnTo>
                <a:lnTo>
                  <a:pt x="349" y="425"/>
                </a:lnTo>
                <a:lnTo>
                  <a:pt x="349" y="425"/>
                </a:lnTo>
                <a:lnTo>
                  <a:pt x="349" y="427"/>
                </a:lnTo>
                <a:lnTo>
                  <a:pt x="349" y="427"/>
                </a:lnTo>
                <a:lnTo>
                  <a:pt x="349" y="427"/>
                </a:lnTo>
                <a:lnTo>
                  <a:pt x="349" y="427"/>
                </a:lnTo>
                <a:lnTo>
                  <a:pt x="349" y="427"/>
                </a:lnTo>
                <a:lnTo>
                  <a:pt x="349" y="428"/>
                </a:lnTo>
                <a:lnTo>
                  <a:pt x="349" y="428"/>
                </a:lnTo>
                <a:lnTo>
                  <a:pt x="349" y="428"/>
                </a:lnTo>
                <a:lnTo>
                  <a:pt x="349" y="428"/>
                </a:lnTo>
                <a:lnTo>
                  <a:pt x="349" y="428"/>
                </a:lnTo>
                <a:lnTo>
                  <a:pt x="351" y="429"/>
                </a:lnTo>
                <a:lnTo>
                  <a:pt x="351" y="429"/>
                </a:lnTo>
                <a:lnTo>
                  <a:pt x="351" y="429"/>
                </a:lnTo>
                <a:lnTo>
                  <a:pt x="351" y="429"/>
                </a:lnTo>
                <a:lnTo>
                  <a:pt x="351" y="429"/>
                </a:lnTo>
                <a:lnTo>
                  <a:pt x="351" y="430"/>
                </a:lnTo>
                <a:lnTo>
                  <a:pt x="351" y="430"/>
                </a:lnTo>
                <a:lnTo>
                  <a:pt x="351" y="430"/>
                </a:lnTo>
                <a:lnTo>
                  <a:pt x="351" y="430"/>
                </a:lnTo>
                <a:lnTo>
                  <a:pt x="351" y="430"/>
                </a:lnTo>
                <a:lnTo>
                  <a:pt x="351" y="431"/>
                </a:lnTo>
                <a:lnTo>
                  <a:pt x="351" y="431"/>
                </a:lnTo>
                <a:lnTo>
                  <a:pt x="351" y="431"/>
                </a:lnTo>
                <a:lnTo>
                  <a:pt x="351" y="431"/>
                </a:lnTo>
                <a:lnTo>
                  <a:pt x="351" y="431"/>
                </a:lnTo>
                <a:lnTo>
                  <a:pt x="351" y="432"/>
                </a:lnTo>
                <a:lnTo>
                  <a:pt x="351" y="432"/>
                </a:lnTo>
                <a:lnTo>
                  <a:pt x="351" y="432"/>
                </a:lnTo>
                <a:lnTo>
                  <a:pt x="351" y="432"/>
                </a:lnTo>
                <a:lnTo>
                  <a:pt x="352" y="432"/>
                </a:lnTo>
                <a:lnTo>
                  <a:pt x="352" y="433"/>
                </a:lnTo>
                <a:lnTo>
                  <a:pt x="352" y="433"/>
                </a:lnTo>
                <a:lnTo>
                  <a:pt x="352" y="433"/>
                </a:lnTo>
                <a:lnTo>
                  <a:pt x="352" y="433"/>
                </a:lnTo>
                <a:lnTo>
                  <a:pt x="352" y="433"/>
                </a:lnTo>
                <a:lnTo>
                  <a:pt x="352" y="434"/>
                </a:lnTo>
                <a:lnTo>
                  <a:pt x="352" y="434"/>
                </a:lnTo>
                <a:lnTo>
                  <a:pt x="352" y="434"/>
                </a:lnTo>
                <a:lnTo>
                  <a:pt x="352" y="434"/>
                </a:lnTo>
                <a:lnTo>
                  <a:pt x="352" y="434"/>
                </a:lnTo>
                <a:lnTo>
                  <a:pt x="352" y="436"/>
                </a:lnTo>
                <a:lnTo>
                  <a:pt x="352" y="436"/>
                </a:lnTo>
                <a:lnTo>
                  <a:pt x="352" y="436"/>
                </a:lnTo>
                <a:lnTo>
                  <a:pt x="352" y="436"/>
                </a:lnTo>
                <a:lnTo>
                  <a:pt x="352" y="437"/>
                </a:lnTo>
                <a:lnTo>
                  <a:pt x="352" y="437"/>
                </a:lnTo>
                <a:lnTo>
                  <a:pt x="352" y="437"/>
                </a:lnTo>
                <a:lnTo>
                  <a:pt x="352" y="437"/>
                </a:lnTo>
                <a:lnTo>
                  <a:pt x="352" y="437"/>
                </a:lnTo>
                <a:lnTo>
                  <a:pt x="352" y="438"/>
                </a:lnTo>
                <a:lnTo>
                  <a:pt x="352" y="438"/>
                </a:lnTo>
                <a:lnTo>
                  <a:pt x="352" y="438"/>
                </a:lnTo>
                <a:lnTo>
                  <a:pt x="352" y="438"/>
                </a:lnTo>
                <a:lnTo>
                  <a:pt x="352" y="438"/>
                </a:lnTo>
                <a:lnTo>
                  <a:pt x="352" y="439"/>
                </a:lnTo>
                <a:lnTo>
                  <a:pt x="352" y="439"/>
                </a:lnTo>
                <a:lnTo>
                  <a:pt x="352" y="439"/>
                </a:lnTo>
                <a:lnTo>
                  <a:pt x="352" y="439"/>
                </a:lnTo>
                <a:lnTo>
                  <a:pt x="352" y="439"/>
                </a:lnTo>
                <a:lnTo>
                  <a:pt x="352" y="440"/>
                </a:lnTo>
                <a:lnTo>
                  <a:pt x="352" y="440"/>
                </a:lnTo>
                <a:lnTo>
                  <a:pt x="352" y="440"/>
                </a:lnTo>
                <a:lnTo>
                  <a:pt x="352" y="440"/>
                </a:lnTo>
                <a:lnTo>
                  <a:pt x="352" y="441"/>
                </a:lnTo>
                <a:lnTo>
                  <a:pt x="352" y="441"/>
                </a:lnTo>
                <a:lnTo>
                  <a:pt x="352" y="441"/>
                </a:lnTo>
                <a:lnTo>
                  <a:pt x="352" y="441"/>
                </a:lnTo>
                <a:lnTo>
                  <a:pt x="352" y="441"/>
                </a:lnTo>
                <a:lnTo>
                  <a:pt x="352" y="442"/>
                </a:lnTo>
                <a:lnTo>
                  <a:pt x="352" y="442"/>
                </a:lnTo>
                <a:lnTo>
                  <a:pt x="352" y="442"/>
                </a:lnTo>
                <a:lnTo>
                  <a:pt x="352" y="442"/>
                </a:lnTo>
                <a:lnTo>
                  <a:pt x="352" y="442"/>
                </a:lnTo>
                <a:lnTo>
                  <a:pt x="352" y="444"/>
                </a:lnTo>
                <a:lnTo>
                  <a:pt x="352" y="444"/>
                </a:lnTo>
                <a:lnTo>
                  <a:pt x="352" y="444"/>
                </a:lnTo>
                <a:lnTo>
                  <a:pt x="352" y="444"/>
                </a:lnTo>
                <a:lnTo>
                  <a:pt x="352" y="445"/>
                </a:lnTo>
                <a:lnTo>
                  <a:pt x="352" y="445"/>
                </a:lnTo>
                <a:lnTo>
                  <a:pt x="352" y="445"/>
                </a:lnTo>
                <a:lnTo>
                  <a:pt x="352" y="445"/>
                </a:lnTo>
                <a:lnTo>
                  <a:pt x="352" y="445"/>
                </a:lnTo>
                <a:lnTo>
                  <a:pt x="352" y="446"/>
                </a:lnTo>
                <a:lnTo>
                  <a:pt x="352" y="446"/>
                </a:lnTo>
                <a:lnTo>
                  <a:pt x="352" y="446"/>
                </a:lnTo>
                <a:lnTo>
                  <a:pt x="352" y="446"/>
                </a:lnTo>
                <a:lnTo>
                  <a:pt x="352" y="446"/>
                </a:lnTo>
                <a:lnTo>
                  <a:pt x="352" y="447"/>
                </a:lnTo>
                <a:lnTo>
                  <a:pt x="352" y="447"/>
                </a:lnTo>
                <a:lnTo>
                  <a:pt x="352" y="447"/>
                </a:lnTo>
                <a:lnTo>
                  <a:pt x="352" y="447"/>
                </a:lnTo>
                <a:lnTo>
                  <a:pt x="352" y="447"/>
                </a:lnTo>
                <a:lnTo>
                  <a:pt x="351" y="448"/>
                </a:lnTo>
                <a:lnTo>
                  <a:pt x="351" y="448"/>
                </a:lnTo>
                <a:lnTo>
                  <a:pt x="351" y="448"/>
                </a:lnTo>
                <a:lnTo>
                  <a:pt x="351" y="448"/>
                </a:lnTo>
                <a:lnTo>
                  <a:pt x="351" y="448"/>
                </a:lnTo>
                <a:lnTo>
                  <a:pt x="351" y="449"/>
                </a:lnTo>
                <a:lnTo>
                  <a:pt x="351" y="449"/>
                </a:lnTo>
                <a:lnTo>
                  <a:pt x="351" y="449"/>
                </a:lnTo>
                <a:lnTo>
                  <a:pt x="351" y="449"/>
                </a:lnTo>
                <a:lnTo>
                  <a:pt x="351" y="449"/>
                </a:lnTo>
                <a:lnTo>
                  <a:pt x="351" y="450"/>
                </a:lnTo>
                <a:lnTo>
                  <a:pt x="351" y="450"/>
                </a:lnTo>
                <a:lnTo>
                  <a:pt x="351" y="450"/>
                </a:lnTo>
                <a:lnTo>
                  <a:pt x="351" y="450"/>
                </a:lnTo>
                <a:lnTo>
                  <a:pt x="351" y="450"/>
                </a:lnTo>
                <a:lnTo>
                  <a:pt x="351" y="451"/>
                </a:lnTo>
                <a:lnTo>
                  <a:pt x="351" y="451"/>
                </a:lnTo>
                <a:lnTo>
                  <a:pt x="351" y="451"/>
                </a:lnTo>
                <a:lnTo>
                  <a:pt x="351" y="451"/>
                </a:lnTo>
                <a:lnTo>
                  <a:pt x="349" y="451"/>
                </a:lnTo>
                <a:lnTo>
                  <a:pt x="349" y="453"/>
                </a:lnTo>
                <a:lnTo>
                  <a:pt x="349" y="453"/>
                </a:lnTo>
                <a:lnTo>
                  <a:pt x="349" y="453"/>
                </a:lnTo>
                <a:lnTo>
                  <a:pt x="349" y="453"/>
                </a:lnTo>
                <a:lnTo>
                  <a:pt x="349" y="453"/>
                </a:lnTo>
                <a:lnTo>
                  <a:pt x="349" y="454"/>
                </a:lnTo>
                <a:lnTo>
                  <a:pt x="349" y="454"/>
                </a:lnTo>
                <a:lnTo>
                  <a:pt x="349" y="454"/>
                </a:lnTo>
                <a:lnTo>
                  <a:pt x="349" y="454"/>
                </a:lnTo>
                <a:lnTo>
                  <a:pt x="349" y="454"/>
                </a:lnTo>
                <a:lnTo>
                  <a:pt x="349" y="455"/>
                </a:lnTo>
                <a:lnTo>
                  <a:pt x="349" y="455"/>
                </a:lnTo>
                <a:lnTo>
                  <a:pt x="349" y="455"/>
                </a:lnTo>
                <a:lnTo>
                  <a:pt x="348" y="455"/>
                </a:lnTo>
                <a:lnTo>
                  <a:pt x="348" y="455"/>
                </a:lnTo>
                <a:lnTo>
                  <a:pt x="348" y="455"/>
                </a:lnTo>
                <a:lnTo>
                  <a:pt x="348" y="456"/>
                </a:lnTo>
                <a:lnTo>
                  <a:pt x="348" y="456"/>
                </a:lnTo>
                <a:lnTo>
                  <a:pt x="348" y="456"/>
                </a:lnTo>
                <a:lnTo>
                  <a:pt x="348" y="456"/>
                </a:lnTo>
                <a:lnTo>
                  <a:pt x="348" y="456"/>
                </a:lnTo>
                <a:lnTo>
                  <a:pt x="348" y="457"/>
                </a:lnTo>
                <a:lnTo>
                  <a:pt x="348" y="457"/>
                </a:lnTo>
                <a:lnTo>
                  <a:pt x="348" y="457"/>
                </a:lnTo>
                <a:lnTo>
                  <a:pt x="348" y="457"/>
                </a:lnTo>
                <a:lnTo>
                  <a:pt x="347" y="457"/>
                </a:lnTo>
                <a:lnTo>
                  <a:pt x="347" y="457"/>
                </a:lnTo>
                <a:lnTo>
                  <a:pt x="347" y="458"/>
                </a:lnTo>
                <a:lnTo>
                  <a:pt x="347" y="458"/>
                </a:lnTo>
                <a:lnTo>
                  <a:pt x="347" y="458"/>
                </a:lnTo>
                <a:lnTo>
                  <a:pt x="347" y="458"/>
                </a:lnTo>
                <a:lnTo>
                  <a:pt x="347" y="458"/>
                </a:lnTo>
                <a:lnTo>
                  <a:pt x="347" y="459"/>
                </a:lnTo>
                <a:lnTo>
                  <a:pt x="347" y="459"/>
                </a:lnTo>
                <a:lnTo>
                  <a:pt x="347" y="459"/>
                </a:lnTo>
                <a:lnTo>
                  <a:pt x="346" y="459"/>
                </a:lnTo>
                <a:lnTo>
                  <a:pt x="346" y="459"/>
                </a:lnTo>
                <a:lnTo>
                  <a:pt x="346" y="459"/>
                </a:lnTo>
                <a:lnTo>
                  <a:pt x="346" y="460"/>
                </a:lnTo>
                <a:lnTo>
                  <a:pt x="346" y="460"/>
                </a:lnTo>
                <a:lnTo>
                  <a:pt x="346" y="460"/>
                </a:lnTo>
                <a:lnTo>
                  <a:pt x="346" y="460"/>
                </a:lnTo>
                <a:lnTo>
                  <a:pt x="346" y="460"/>
                </a:lnTo>
                <a:lnTo>
                  <a:pt x="346" y="460"/>
                </a:lnTo>
                <a:lnTo>
                  <a:pt x="345" y="462"/>
                </a:lnTo>
                <a:lnTo>
                  <a:pt x="345" y="462"/>
                </a:lnTo>
                <a:lnTo>
                  <a:pt x="345" y="462"/>
                </a:lnTo>
                <a:lnTo>
                  <a:pt x="345" y="462"/>
                </a:lnTo>
                <a:lnTo>
                  <a:pt x="345" y="462"/>
                </a:lnTo>
                <a:lnTo>
                  <a:pt x="345" y="462"/>
                </a:lnTo>
                <a:lnTo>
                  <a:pt x="345" y="463"/>
                </a:lnTo>
                <a:lnTo>
                  <a:pt x="345" y="463"/>
                </a:lnTo>
                <a:lnTo>
                  <a:pt x="345" y="463"/>
                </a:lnTo>
                <a:lnTo>
                  <a:pt x="344" y="463"/>
                </a:lnTo>
                <a:lnTo>
                  <a:pt x="344" y="463"/>
                </a:lnTo>
                <a:lnTo>
                  <a:pt x="344" y="463"/>
                </a:lnTo>
                <a:lnTo>
                  <a:pt x="344" y="464"/>
                </a:lnTo>
                <a:lnTo>
                  <a:pt x="344" y="464"/>
                </a:lnTo>
                <a:lnTo>
                  <a:pt x="344" y="464"/>
                </a:lnTo>
                <a:lnTo>
                  <a:pt x="344" y="464"/>
                </a:lnTo>
                <a:lnTo>
                  <a:pt x="344" y="464"/>
                </a:lnTo>
                <a:lnTo>
                  <a:pt x="343" y="464"/>
                </a:lnTo>
                <a:lnTo>
                  <a:pt x="343" y="464"/>
                </a:lnTo>
                <a:lnTo>
                  <a:pt x="343" y="465"/>
                </a:lnTo>
                <a:lnTo>
                  <a:pt x="343" y="465"/>
                </a:lnTo>
                <a:lnTo>
                  <a:pt x="343" y="465"/>
                </a:lnTo>
                <a:lnTo>
                  <a:pt x="343" y="465"/>
                </a:lnTo>
                <a:lnTo>
                  <a:pt x="343" y="465"/>
                </a:lnTo>
                <a:lnTo>
                  <a:pt x="342" y="465"/>
                </a:lnTo>
                <a:lnTo>
                  <a:pt x="342" y="465"/>
                </a:lnTo>
                <a:lnTo>
                  <a:pt x="342" y="466"/>
                </a:lnTo>
                <a:lnTo>
                  <a:pt x="342" y="466"/>
                </a:lnTo>
                <a:lnTo>
                  <a:pt x="342" y="466"/>
                </a:lnTo>
                <a:lnTo>
                  <a:pt x="342" y="466"/>
                </a:lnTo>
                <a:lnTo>
                  <a:pt x="342" y="466"/>
                </a:lnTo>
                <a:lnTo>
                  <a:pt x="342" y="466"/>
                </a:lnTo>
                <a:lnTo>
                  <a:pt x="340" y="467"/>
                </a:lnTo>
                <a:lnTo>
                  <a:pt x="340" y="467"/>
                </a:lnTo>
                <a:lnTo>
                  <a:pt x="340" y="467"/>
                </a:lnTo>
                <a:lnTo>
                  <a:pt x="340" y="467"/>
                </a:lnTo>
                <a:lnTo>
                  <a:pt x="340" y="467"/>
                </a:lnTo>
                <a:lnTo>
                  <a:pt x="340" y="467"/>
                </a:lnTo>
                <a:lnTo>
                  <a:pt x="340" y="467"/>
                </a:lnTo>
                <a:lnTo>
                  <a:pt x="339" y="467"/>
                </a:lnTo>
                <a:lnTo>
                  <a:pt x="339" y="468"/>
                </a:lnTo>
                <a:lnTo>
                  <a:pt x="339" y="468"/>
                </a:lnTo>
                <a:lnTo>
                  <a:pt x="339" y="468"/>
                </a:lnTo>
                <a:lnTo>
                  <a:pt x="339" y="468"/>
                </a:lnTo>
                <a:lnTo>
                  <a:pt x="339" y="468"/>
                </a:lnTo>
                <a:lnTo>
                  <a:pt x="338" y="468"/>
                </a:lnTo>
                <a:lnTo>
                  <a:pt x="338" y="468"/>
                </a:lnTo>
                <a:lnTo>
                  <a:pt x="338" y="469"/>
                </a:lnTo>
                <a:lnTo>
                  <a:pt x="338" y="469"/>
                </a:lnTo>
                <a:lnTo>
                  <a:pt x="338" y="469"/>
                </a:lnTo>
                <a:lnTo>
                  <a:pt x="338" y="469"/>
                </a:lnTo>
                <a:lnTo>
                  <a:pt x="338" y="469"/>
                </a:lnTo>
                <a:lnTo>
                  <a:pt x="337" y="469"/>
                </a:lnTo>
                <a:lnTo>
                  <a:pt x="337" y="469"/>
                </a:lnTo>
                <a:lnTo>
                  <a:pt x="337" y="469"/>
                </a:lnTo>
                <a:lnTo>
                  <a:pt x="337" y="471"/>
                </a:lnTo>
                <a:lnTo>
                  <a:pt x="337" y="471"/>
                </a:lnTo>
                <a:lnTo>
                  <a:pt x="337" y="471"/>
                </a:lnTo>
                <a:lnTo>
                  <a:pt x="336" y="471"/>
                </a:lnTo>
                <a:lnTo>
                  <a:pt x="336" y="471"/>
                </a:lnTo>
                <a:lnTo>
                  <a:pt x="336" y="471"/>
                </a:lnTo>
                <a:lnTo>
                  <a:pt x="336" y="471"/>
                </a:lnTo>
                <a:lnTo>
                  <a:pt x="336" y="471"/>
                </a:lnTo>
                <a:lnTo>
                  <a:pt x="336" y="471"/>
                </a:lnTo>
                <a:lnTo>
                  <a:pt x="335" y="472"/>
                </a:lnTo>
                <a:lnTo>
                  <a:pt x="335" y="472"/>
                </a:lnTo>
                <a:lnTo>
                  <a:pt x="335" y="472"/>
                </a:lnTo>
                <a:lnTo>
                  <a:pt x="335" y="472"/>
                </a:lnTo>
                <a:lnTo>
                  <a:pt x="335" y="472"/>
                </a:lnTo>
                <a:lnTo>
                  <a:pt x="335" y="472"/>
                </a:lnTo>
                <a:lnTo>
                  <a:pt x="334" y="472"/>
                </a:lnTo>
                <a:lnTo>
                  <a:pt x="334" y="472"/>
                </a:lnTo>
                <a:lnTo>
                  <a:pt x="334" y="472"/>
                </a:lnTo>
                <a:lnTo>
                  <a:pt x="334" y="473"/>
                </a:lnTo>
                <a:lnTo>
                  <a:pt x="334" y="473"/>
                </a:lnTo>
                <a:lnTo>
                  <a:pt x="334" y="473"/>
                </a:lnTo>
                <a:lnTo>
                  <a:pt x="333" y="473"/>
                </a:lnTo>
                <a:lnTo>
                  <a:pt x="333" y="473"/>
                </a:lnTo>
                <a:lnTo>
                  <a:pt x="333" y="473"/>
                </a:lnTo>
                <a:lnTo>
                  <a:pt x="333" y="473"/>
                </a:lnTo>
                <a:lnTo>
                  <a:pt x="333" y="473"/>
                </a:lnTo>
                <a:lnTo>
                  <a:pt x="333" y="473"/>
                </a:lnTo>
                <a:lnTo>
                  <a:pt x="331" y="473"/>
                </a:lnTo>
                <a:lnTo>
                  <a:pt x="331" y="474"/>
                </a:lnTo>
                <a:lnTo>
                  <a:pt x="331" y="474"/>
                </a:lnTo>
                <a:lnTo>
                  <a:pt x="331" y="474"/>
                </a:lnTo>
                <a:lnTo>
                  <a:pt x="331" y="474"/>
                </a:lnTo>
                <a:lnTo>
                  <a:pt x="330" y="474"/>
                </a:lnTo>
                <a:lnTo>
                  <a:pt x="330" y="474"/>
                </a:lnTo>
                <a:lnTo>
                  <a:pt x="330" y="474"/>
                </a:lnTo>
                <a:lnTo>
                  <a:pt x="330" y="474"/>
                </a:lnTo>
                <a:lnTo>
                  <a:pt x="330" y="474"/>
                </a:lnTo>
                <a:lnTo>
                  <a:pt x="330" y="474"/>
                </a:lnTo>
                <a:lnTo>
                  <a:pt x="329" y="474"/>
                </a:lnTo>
                <a:lnTo>
                  <a:pt x="329" y="475"/>
                </a:lnTo>
                <a:lnTo>
                  <a:pt x="329" y="475"/>
                </a:lnTo>
                <a:lnTo>
                  <a:pt x="329" y="475"/>
                </a:lnTo>
                <a:lnTo>
                  <a:pt x="329" y="475"/>
                </a:lnTo>
                <a:lnTo>
                  <a:pt x="328" y="475"/>
                </a:lnTo>
                <a:lnTo>
                  <a:pt x="328" y="475"/>
                </a:lnTo>
                <a:lnTo>
                  <a:pt x="328" y="475"/>
                </a:lnTo>
                <a:lnTo>
                  <a:pt x="328" y="475"/>
                </a:lnTo>
                <a:lnTo>
                  <a:pt x="328" y="475"/>
                </a:lnTo>
                <a:lnTo>
                  <a:pt x="327" y="475"/>
                </a:lnTo>
                <a:lnTo>
                  <a:pt x="327" y="475"/>
                </a:lnTo>
                <a:lnTo>
                  <a:pt x="327" y="475"/>
                </a:lnTo>
                <a:lnTo>
                  <a:pt x="327" y="475"/>
                </a:lnTo>
                <a:lnTo>
                  <a:pt x="327" y="475"/>
                </a:lnTo>
                <a:lnTo>
                  <a:pt x="326" y="476"/>
                </a:lnTo>
                <a:lnTo>
                  <a:pt x="326" y="476"/>
                </a:lnTo>
                <a:lnTo>
                  <a:pt x="326" y="476"/>
                </a:lnTo>
                <a:lnTo>
                  <a:pt x="326" y="476"/>
                </a:lnTo>
                <a:lnTo>
                  <a:pt x="326" y="476"/>
                </a:lnTo>
                <a:lnTo>
                  <a:pt x="325" y="476"/>
                </a:lnTo>
                <a:lnTo>
                  <a:pt x="325" y="476"/>
                </a:lnTo>
                <a:lnTo>
                  <a:pt x="325" y="476"/>
                </a:lnTo>
                <a:lnTo>
                  <a:pt x="325" y="476"/>
                </a:lnTo>
                <a:lnTo>
                  <a:pt x="325" y="476"/>
                </a:lnTo>
                <a:lnTo>
                  <a:pt x="325" y="476"/>
                </a:lnTo>
                <a:lnTo>
                  <a:pt x="323" y="476"/>
                </a:lnTo>
                <a:lnTo>
                  <a:pt x="323" y="476"/>
                </a:lnTo>
                <a:lnTo>
                  <a:pt x="323" y="476"/>
                </a:lnTo>
                <a:lnTo>
                  <a:pt x="323" y="476"/>
                </a:lnTo>
                <a:lnTo>
                  <a:pt x="323" y="476"/>
                </a:lnTo>
                <a:lnTo>
                  <a:pt x="322" y="476"/>
                </a:lnTo>
                <a:lnTo>
                  <a:pt x="322" y="477"/>
                </a:lnTo>
                <a:lnTo>
                  <a:pt x="322" y="477"/>
                </a:lnTo>
                <a:lnTo>
                  <a:pt x="322" y="477"/>
                </a:lnTo>
                <a:lnTo>
                  <a:pt x="321" y="477"/>
                </a:lnTo>
                <a:lnTo>
                  <a:pt x="321" y="477"/>
                </a:lnTo>
                <a:lnTo>
                  <a:pt x="321" y="477"/>
                </a:lnTo>
                <a:lnTo>
                  <a:pt x="321" y="477"/>
                </a:lnTo>
                <a:lnTo>
                  <a:pt x="321" y="477"/>
                </a:lnTo>
                <a:lnTo>
                  <a:pt x="320" y="477"/>
                </a:lnTo>
                <a:lnTo>
                  <a:pt x="320" y="477"/>
                </a:lnTo>
                <a:lnTo>
                  <a:pt x="320" y="477"/>
                </a:lnTo>
                <a:lnTo>
                  <a:pt x="320" y="477"/>
                </a:lnTo>
                <a:lnTo>
                  <a:pt x="320" y="477"/>
                </a:lnTo>
                <a:lnTo>
                  <a:pt x="319" y="477"/>
                </a:lnTo>
                <a:lnTo>
                  <a:pt x="319" y="477"/>
                </a:lnTo>
                <a:lnTo>
                  <a:pt x="319" y="477"/>
                </a:lnTo>
                <a:lnTo>
                  <a:pt x="319" y="477"/>
                </a:lnTo>
                <a:lnTo>
                  <a:pt x="319" y="477"/>
                </a:lnTo>
                <a:lnTo>
                  <a:pt x="318" y="477"/>
                </a:lnTo>
                <a:lnTo>
                  <a:pt x="318" y="477"/>
                </a:lnTo>
                <a:lnTo>
                  <a:pt x="318" y="477"/>
                </a:lnTo>
                <a:lnTo>
                  <a:pt x="318" y="477"/>
                </a:lnTo>
                <a:lnTo>
                  <a:pt x="318" y="477"/>
                </a:lnTo>
                <a:lnTo>
                  <a:pt x="317" y="477"/>
                </a:lnTo>
                <a:lnTo>
                  <a:pt x="317" y="477"/>
                </a:lnTo>
                <a:lnTo>
                  <a:pt x="317" y="477"/>
                </a:lnTo>
                <a:lnTo>
                  <a:pt x="317" y="477"/>
                </a:lnTo>
                <a:lnTo>
                  <a:pt x="316" y="477"/>
                </a:lnTo>
                <a:lnTo>
                  <a:pt x="316" y="477"/>
                </a:lnTo>
                <a:lnTo>
                  <a:pt x="316" y="477"/>
                </a:lnTo>
                <a:lnTo>
                  <a:pt x="316" y="477"/>
                </a:lnTo>
                <a:lnTo>
                  <a:pt x="316" y="477"/>
                </a:lnTo>
                <a:lnTo>
                  <a:pt x="314" y="477"/>
                </a:lnTo>
                <a:lnTo>
                  <a:pt x="314" y="477"/>
                </a:lnTo>
                <a:lnTo>
                  <a:pt x="314" y="477"/>
                </a:lnTo>
                <a:lnTo>
                  <a:pt x="314" y="477"/>
                </a:lnTo>
                <a:lnTo>
                  <a:pt x="314" y="477"/>
                </a:lnTo>
                <a:lnTo>
                  <a:pt x="313" y="477"/>
                </a:lnTo>
                <a:lnTo>
                  <a:pt x="313" y="477"/>
                </a:lnTo>
                <a:lnTo>
                  <a:pt x="313" y="477"/>
                </a:lnTo>
                <a:lnTo>
                  <a:pt x="313" y="477"/>
                </a:lnTo>
                <a:lnTo>
                  <a:pt x="312" y="477"/>
                </a:lnTo>
                <a:lnTo>
                  <a:pt x="312" y="477"/>
                </a:lnTo>
                <a:lnTo>
                  <a:pt x="312" y="477"/>
                </a:lnTo>
                <a:lnTo>
                  <a:pt x="312" y="477"/>
                </a:lnTo>
                <a:lnTo>
                  <a:pt x="312" y="477"/>
                </a:lnTo>
                <a:lnTo>
                  <a:pt x="311" y="477"/>
                </a:lnTo>
                <a:lnTo>
                  <a:pt x="311" y="477"/>
                </a:lnTo>
                <a:lnTo>
                  <a:pt x="311" y="477"/>
                </a:lnTo>
                <a:lnTo>
                  <a:pt x="311" y="477"/>
                </a:lnTo>
                <a:lnTo>
                  <a:pt x="311" y="477"/>
                </a:lnTo>
                <a:lnTo>
                  <a:pt x="310" y="477"/>
                </a:lnTo>
                <a:lnTo>
                  <a:pt x="310" y="477"/>
                </a:lnTo>
                <a:lnTo>
                  <a:pt x="310" y="477"/>
                </a:lnTo>
                <a:lnTo>
                  <a:pt x="310" y="477"/>
                </a:lnTo>
                <a:lnTo>
                  <a:pt x="310" y="477"/>
                </a:lnTo>
                <a:lnTo>
                  <a:pt x="309" y="477"/>
                </a:lnTo>
                <a:lnTo>
                  <a:pt x="309" y="477"/>
                </a:lnTo>
                <a:lnTo>
                  <a:pt x="309" y="477"/>
                </a:lnTo>
                <a:lnTo>
                  <a:pt x="309" y="477"/>
                </a:lnTo>
                <a:lnTo>
                  <a:pt x="308" y="477"/>
                </a:lnTo>
                <a:lnTo>
                  <a:pt x="308" y="477"/>
                </a:lnTo>
                <a:lnTo>
                  <a:pt x="308" y="477"/>
                </a:lnTo>
                <a:lnTo>
                  <a:pt x="308" y="477"/>
                </a:lnTo>
                <a:lnTo>
                  <a:pt x="308" y="477"/>
                </a:lnTo>
                <a:lnTo>
                  <a:pt x="307" y="477"/>
                </a:lnTo>
                <a:lnTo>
                  <a:pt x="307" y="477"/>
                </a:lnTo>
                <a:lnTo>
                  <a:pt x="307" y="477"/>
                </a:lnTo>
                <a:lnTo>
                  <a:pt x="307" y="477"/>
                </a:lnTo>
                <a:lnTo>
                  <a:pt x="307" y="477"/>
                </a:lnTo>
                <a:lnTo>
                  <a:pt x="305" y="477"/>
                </a:lnTo>
                <a:lnTo>
                  <a:pt x="305" y="476"/>
                </a:lnTo>
                <a:lnTo>
                  <a:pt x="305" y="476"/>
                </a:lnTo>
                <a:lnTo>
                  <a:pt x="305" y="476"/>
                </a:lnTo>
                <a:lnTo>
                  <a:pt x="305" y="476"/>
                </a:lnTo>
                <a:lnTo>
                  <a:pt x="304" y="476"/>
                </a:lnTo>
                <a:lnTo>
                  <a:pt x="304" y="476"/>
                </a:lnTo>
                <a:lnTo>
                  <a:pt x="304" y="476"/>
                </a:lnTo>
                <a:lnTo>
                  <a:pt x="304" y="476"/>
                </a:lnTo>
                <a:lnTo>
                  <a:pt x="304" y="476"/>
                </a:lnTo>
                <a:lnTo>
                  <a:pt x="303" y="476"/>
                </a:lnTo>
                <a:lnTo>
                  <a:pt x="303" y="476"/>
                </a:lnTo>
                <a:lnTo>
                  <a:pt x="303" y="476"/>
                </a:lnTo>
                <a:lnTo>
                  <a:pt x="303" y="476"/>
                </a:lnTo>
                <a:lnTo>
                  <a:pt x="303" y="476"/>
                </a:lnTo>
                <a:lnTo>
                  <a:pt x="302" y="476"/>
                </a:lnTo>
                <a:lnTo>
                  <a:pt x="302" y="476"/>
                </a:lnTo>
                <a:lnTo>
                  <a:pt x="302" y="476"/>
                </a:lnTo>
                <a:lnTo>
                  <a:pt x="302" y="475"/>
                </a:lnTo>
                <a:lnTo>
                  <a:pt x="302" y="475"/>
                </a:lnTo>
                <a:lnTo>
                  <a:pt x="301" y="475"/>
                </a:lnTo>
                <a:lnTo>
                  <a:pt x="301" y="475"/>
                </a:lnTo>
                <a:lnTo>
                  <a:pt x="301" y="475"/>
                </a:lnTo>
                <a:lnTo>
                  <a:pt x="301" y="475"/>
                </a:lnTo>
                <a:lnTo>
                  <a:pt x="301" y="475"/>
                </a:lnTo>
                <a:lnTo>
                  <a:pt x="301" y="475"/>
                </a:lnTo>
                <a:lnTo>
                  <a:pt x="300" y="475"/>
                </a:lnTo>
                <a:lnTo>
                  <a:pt x="300" y="475"/>
                </a:lnTo>
                <a:lnTo>
                  <a:pt x="300" y="475"/>
                </a:lnTo>
                <a:lnTo>
                  <a:pt x="300" y="475"/>
                </a:lnTo>
                <a:lnTo>
                  <a:pt x="300" y="475"/>
                </a:lnTo>
                <a:lnTo>
                  <a:pt x="299" y="475"/>
                </a:lnTo>
                <a:lnTo>
                  <a:pt x="299" y="474"/>
                </a:lnTo>
                <a:lnTo>
                  <a:pt x="299" y="474"/>
                </a:lnTo>
                <a:lnTo>
                  <a:pt x="299" y="474"/>
                </a:lnTo>
                <a:lnTo>
                  <a:pt x="299" y="474"/>
                </a:lnTo>
                <a:lnTo>
                  <a:pt x="298" y="474"/>
                </a:lnTo>
                <a:lnTo>
                  <a:pt x="298" y="474"/>
                </a:lnTo>
                <a:lnTo>
                  <a:pt x="298" y="474"/>
                </a:lnTo>
                <a:lnTo>
                  <a:pt x="298" y="474"/>
                </a:lnTo>
                <a:lnTo>
                  <a:pt x="298" y="474"/>
                </a:lnTo>
                <a:lnTo>
                  <a:pt x="298" y="474"/>
                </a:lnTo>
                <a:lnTo>
                  <a:pt x="296" y="474"/>
                </a:lnTo>
                <a:lnTo>
                  <a:pt x="296" y="473"/>
                </a:lnTo>
                <a:lnTo>
                  <a:pt x="296" y="473"/>
                </a:lnTo>
                <a:lnTo>
                  <a:pt x="296" y="473"/>
                </a:lnTo>
                <a:lnTo>
                  <a:pt x="296" y="473"/>
                </a:lnTo>
                <a:lnTo>
                  <a:pt x="296" y="473"/>
                </a:lnTo>
                <a:lnTo>
                  <a:pt x="295" y="473"/>
                </a:lnTo>
                <a:lnTo>
                  <a:pt x="295" y="473"/>
                </a:lnTo>
                <a:lnTo>
                  <a:pt x="295" y="473"/>
                </a:lnTo>
                <a:lnTo>
                  <a:pt x="295" y="473"/>
                </a:lnTo>
                <a:lnTo>
                  <a:pt x="295" y="473"/>
                </a:lnTo>
                <a:lnTo>
                  <a:pt x="294" y="472"/>
                </a:lnTo>
                <a:lnTo>
                  <a:pt x="294" y="472"/>
                </a:lnTo>
                <a:lnTo>
                  <a:pt x="294" y="472"/>
                </a:lnTo>
                <a:lnTo>
                  <a:pt x="294" y="472"/>
                </a:lnTo>
                <a:lnTo>
                  <a:pt x="294" y="472"/>
                </a:lnTo>
                <a:lnTo>
                  <a:pt x="294" y="472"/>
                </a:lnTo>
                <a:lnTo>
                  <a:pt x="293" y="472"/>
                </a:lnTo>
                <a:lnTo>
                  <a:pt x="293" y="472"/>
                </a:lnTo>
                <a:lnTo>
                  <a:pt x="293" y="472"/>
                </a:lnTo>
                <a:lnTo>
                  <a:pt x="293" y="471"/>
                </a:lnTo>
                <a:lnTo>
                  <a:pt x="293" y="471"/>
                </a:lnTo>
                <a:lnTo>
                  <a:pt x="293" y="471"/>
                </a:lnTo>
                <a:lnTo>
                  <a:pt x="292" y="471"/>
                </a:lnTo>
                <a:lnTo>
                  <a:pt x="292" y="471"/>
                </a:lnTo>
                <a:lnTo>
                  <a:pt x="292" y="471"/>
                </a:lnTo>
                <a:lnTo>
                  <a:pt x="292" y="471"/>
                </a:lnTo>
                <a:lnTo>
                  <a:pt x="292" y="471"/>
                </a:lnTo>
                <a:lnTo>
                  <a:pt x="292" y="471"/>
                </a:lnTo>
                <a:lnTo>
                  <a:pt x="291" y="469"/>
                </a:lnTo>
                <a:lnTo>
                  <a:pt x="291" y="469"/>
                </a:lnTo>
                <a:lnTo>
                  <a:pt x="291" y="469"/>
                </a:lnTo>
                <a:lnTo>
                  <a:pt x="291" y="469"/>
                </a:lnTo>
                <a:lnTo>
                  <a:pt x="291" y="469"/>
                </a:lnTo>
                <a:lnTo>
                  <a:pt x="291" y="469"/>
                </a:lnTo>
                <a:lnTo>
                  <a:pt x="291" y="469"/>
                </a:lnTo>
                <a:lnTo>
                  <a:pt x="290" y="469"/>
                </a:lnTo>
                <a:lnTo>
                  <a:pt x="290" y="468"/>
                </a:lnTo>
                <a:lnTo>
                  <a:pt x="290" y="468"/>
                </a:lnTo>
                <a:lnTo>
                  <a:pt x="290" y="468"/>
                </a:lnTo>
                <a:lnTo>
                  <a:pt x="290" y="468"/>
                </a:lnTo>
                <a:lnTo>
                  <a:pt x="290" y="468"/>
                </a:lnTo>
                <a:lnTo>
                  <a:pt x="289" y="468"/>
                </a:lnTo>
                <a:lnTo>
                  <a:pt x="289" y="468"/>
                </a:lnTo>
                <a:lnTo>
                  <a:pt x="289" y="467"/>
                </a:lnTo>
                <a:lnTo>
                  <a:pt x="289" y="467"/>
                </a:lnTo>
                <a:lnTo>
                  <a:pt x="289" y="467"/>
                </a:lnTo>
                <a:lnTo>
                  <a:pt x="289" y="467"/>
                </a:lnTo>
                <a:lnTo>
                  <a:pt x="289" y="467"/>
                </a:lnTo>
                <a:lnTo>
                  <a:pt x="287" y="467"/>
                </a:lnTo>
                <a:lnTo>
                  <a:pt x="287" y="467"/>
                </a:lnTo>
                <a:lnTo>
                  <a:pt x="287" y="467"/>
                </a:lnTo>
                <a:lnTo>
                  <a:pt x="287" y="466"/>
                </a:lnTo>
                <a:lnTo>
                  <a:pt x="287" y="466"/>
                </a:lnTo>
                <a:lnTo>
                  <a:pt x="287" y="466"/>
                </a:lnTo>
                <a:lnTo>
                  <a:pt x="287" y="466"/>
                </a:lnTo>
                <a:lnTo>
                  <a:pt x="286" y="466"/>
                </a:lnTo>
                <a:lnTo>
                  <a:pt x="286" y="466"/>
                </a:lnTo>
                <a:lnTo>
                  <a:pt x="286" y="465"/>
                </a:lnTo>
                <a:lnTo>
                  <a:pt x="286" y="465"/>
                </a:lnTo>
                <a:lnTo>
                  <a:pt x="286" y="465"/>
                </a:lnTo>
                <a:lnTo>
                  <a:pt x="286" y="465"/>
                </a:lnTo>
                <a:lnTo>
                  <a:pt x="286" y="465"/>
                </a:lnTo>
                <a:lnTo>
                  <a:pt x="286" y="465"/>
                </a:lnTo>
                <a:lnTo>
                  <a:pt x="285" y="465"/>
                </a:lnTo>
                <a:lnTo>
                  <a:pt x="285" y="464"/>
                </a:lnTo>
                <a:lnTo>
                  <a:pt x="285" y="464"/>
                </a:lnTo>
                <a:lnTo>
                  <a:pt x="285" y="464"/>
                </a:lnTo>
                <a:lnTo>
                  <a:pt x="285" y="464"/>
                </a:lnTo>
                <a:lnTo>
                  <a:pt x="285" y="464"/>
                </a:lnTo>
                <a:lnTo>
                  <a:pt x="285" y="464"/>
                </a:lnTo>
                <a:lnTo>
                  <a:pt x="285" y="464"/>
                </a:lnTo>
                <a:lnTo>
                  <a:pt x="284" y="463"/>
                </a:lnTo>
                <a:lnTo>
                  <a:pt x="284" y="463"/>
                </a:lnTo>
                <a:lnTo>
                  <a:pt x="284" y="463"/>
                </a:lnTo>
                <a:lnTo>
                  <a:pt x="284" y="463"/>
                </a:lnTo>
                <a:lnTo>
                  <a:pt x="284" y="463"/>
                </a:lnTo>
                <a:lnTo>
                  <a:pt x="284" y="463"/>
                </a:lnTo>
                <a:lnTo>
                  <a:pt x="284" y="462"/>
                </a:lnTo>
                <a:lnTo>
                  <a:pt x="284" y="462"/>
                </a:lnTo>
                <a:lnTo>
                  <a:pt x="283" y="462"/>
                </a:lnTo>
                <a:lnTo>
                  <a:pt x="283" y="462"/>
                </a:lnTo>
                <a:lnTo>
                  <a:pt x="283" y="462"/>
                </a:lnTo>
                <a:lnTo>
                  <a:pt x="283" y="462"/>
                </a:lnTo>
                <a:lnTo>
                  <a:pt x="283" y="460"/>
                </a:lnTo>
                <a:lnTo>
                  <a:pt x="283" y="460"/>
                </a:lnTo>
                <a:lnTo>
                  <a:pt x="283" y="460"/>
                </a:lnTo>
                <a:lnTo>
                  <a:pt x="283" y="460"/>
                </a:lnTo>
                <a:lnTo>
                  <a:pt x="283" y="460"/>
                </a:lnTo>
                <a:lnTo>
                  <a:pt x="282" y="460"/>
                </a:lnTo>
                <a:lnTo>
                  <a:pt x="282" y="459"/>
                </a:lnTo>
                <a:lnTo>
                  <a:pt x="282" y="459"/>
                </a:lnTo>
                <a:lnTo>
                  <a:pt x="282" y="459"/>
                </a:lnTo>
                <a:lnTo>
                  <a:pt x="282" y="459"/>
                </a:lnTo>
                <a:lnTo>
                  <a:pt x="282" y="459"/>
                </a:lnTo>
                <a:lnTo>
                  <a:pt x="282" y="459"/>
                </a:lnTo>
                <a:lnTo>
                  <a:pt x="282" y="458"/>
                </a:lnTo>
                <a:lnTo>
                  <a:pt x="282" y="458"/>
                </a:lnTo>
                <a:lnTo>
                  <a:pt x="282" y="458"/>
                </a:lnTo>
                <a:lnTo>
                  <a:pt x="281" y="458"/>
                </a:lnTo>
                <a:lnTo>
                  <a:pt x="281" y="458"/>
                </a:lnTo>
                <a:lnTo>
                  <a:pt x="281" y="457"/>
                </a:lnTo>
                <a:lnTo>
                  <a:pt x="281" y="457"/>
                </a:lnTo>
                <a:lnTo>
                  <a:pt x="281" y="457"/>
                </a:lnTo>
                <a:lnTo>
                  <a:pt x="281" y="457"/>
                </a:lnTo>
                <a:lnTo>
                  <a:pt x="281" y="457"/>
                </a:lnTo>
                <a:lnTo>
                  <a:pt x="281" y="457"/>
                </a:lnTo>
                <a:lnTo>
                  <a:pt x="281" y="456"/>
                </a:lnTo>
                <a:lnTo>
                  <a:pt x="281" y="456"/>
                </a:lnTo>
                <a:lnTo>
                  <a:pt x="280" y="456"/>
                </a:lnTo>
                <a:lnTo>
                  <a:pt x="280" y="456"/>
                </a:lnTo>
                <a:lnTo>
                  <a:pt x="280" y="456"/>
                </a:lnTo>
                <a:lnTo>
                  <a:pt x="280" y="455"/>
                </a:lnTo>
                <a:lnTo>
                  <a:pt x="280" y="455"/>
                </a:lnTo>
                <a:lnTo>
                  <a:pt x="280" y="455"/>
                </a:lnTo>
                <a:lnTo>
                  <a:pt x="280" y="455"/>
                </a:lnTo>
                <a:lnTo>
                  <a:pt x="280" y="455"/>
                </a:lnTo>
                <a:lnTo>
                  <a:pt x="280" y="455"/>
                </a:lnTo>
                <a:lnTo>
                  <a:pt x="280" y="454"/>
                </a:lnTo>
                <a:lnTo>
                  <a:pt x="280" y="454"/>
                </a:lnTo>
                <a:lnTo>
                  <a:pt x="280" y="454"/>
                </a:lnTo>
                <a:lnTo>
                  <a:pt x="280" y="454"/>
                </a:lnTo>
                <a:lnTo>
                  <a:pt x="278" y="454"/>
                </a:lnTo>
                <a:lnTo>
                  <a:pt x="278" y="453"/>
                </a:lnTo>
                <a:lnTo>
                  <a:pt x="278" y="453"/>
                </a:lnTo>
                <a:lnTo>
                  <a:pt x="278" y="453"/>
                </a:lnTo>
                <a:lnTo>
                  <a:pt x="278" y="453"/>
                </a:lnTo>
                <a:lnTo>
                  <a:pt x="278" y="453"/>
                </a:lnTo>
                <a:lnTo>
                  <a:pt x="278" y="451"/>
                </a:lnTo>
                <a:lnTo>
                  <a:pt x="278" y="451"/>
                </a:lnTo>
                <a:lnTo>
                  <a:pt x="278" y="451"/>
                </a:lnTo>
                <a:lnTo>
                  <a:pt x="278" y="451"/>
                </a:lnTo>
                <a:lnTo>
                  <a:pt x="278" y="451"/>
                </a:lnTo>
                <a:lnTo>
                  <a:pt x="278" y="450"/>
                </a:lnTo>
                <a:lnTo>
                  <a:pt x="278" y="450"/>
                </a:lnTo>
                <a:lnTo>
                  <a:pt x="278" y="450"/>
                </a:lnTo>
                <a:lnTo>
                  <a:pt x="278" y="450"/>
                </a:lnTo>
                <a:lnTo>
                  <a:pt x="278" y="450"/>
                </a:lnTo>
                <a:lnTo>
                  <a:pt x="277" y="449"/>
                </a:lnTo>
                <a:lnTo>
                  <a:pt x="277" y="449"/>
                </a:lnTo>
                <a:lnTo>
                  <a:pt x="277" y="449"/>
                </a:lnTo>
                <a:lnTo>
                  <a:pt x="277" y="449"/>
                </a:lnTo>
                <a:lnTo>
                  <a:pt x="277" y="449"/>
                </a:lnTo>
                <a:lnTo>
                  <a:pt x="277" y="448"/>
                </a:lnTo>
                <a:lnTo>
                  <a:pt x="277" y="448"/>
                </a:lnTo>
                <a:lnTo>
                  <a:pt x="277" y="448"/>
                </a:lnTo>
                <a:lnTo>
                  <a:pt x="277" y="448"/>
                </a:lnTo>
                <a:lnTo>
                  <a:pt x="277" y="448"/>
                </a:lnTo>
                <a:lnTo>
                  <a:pt x="277" y="447"/>
                </a:lnTo>
                <a:lnTo>
                  <a:pt x="277" y="447"/>
                </a:lnTo>
                <a:lnTo>
                  <a:pt x="277" y="447"/>
                </a:lnTo>
                <a:lnTo>
                  <a:pt x="277" y="447"/>
                </a:lnTo>
                <a:lnTo>
                  <a:pt x="277" y="447"/>
                </a:lnTo>
                <a:lnTo>
                  <a:pt x="277" y="446"/>
                </a:lnTo>
                <a:lnTo>
                  <a:pt x="277" y="446"/>
                </a:lnTo>
                <a:lnTo>
                  <a:pt x="277" y="446"/>
                </a:lnTo>
                <a:lnTo>
                  <a:pt x="277" y="446"/>
                </a:lnTo>
                <a:lnTo>
                  <a:pt x="277" y="446"/>
                </a:lnTo>
                <a:lnTo>
                  <a:pt x="277" y="445"/>
                </a:lnTo>
                <a:lnTo>
                  <a:pt x="277" y="445"/>
                </a:lnTo>
                <a:lnTo>
                  <a:pt x="277" y="445"/>
                </a:lnTo>
                <a:lnTo>
                  <a:pt x="277" y="445"/>
                </a:lnTo>
                <a:lnTo>
                  <a:pt x="277" y="445"/>
                </a:lnTo>
                <a:lnTo>
                  <a:pt x="277" y="444"/>
                </a:lnTo>
                <a:lnTo>
                  <a:pt x="277" y="444"/>
                </a:lnTo>
                <a:lnTo>
                  <a:pt x="277" y="444"/>
                </a:lnTo>
                <a:lnTo>
                  <a:pt x="276" y="444"/>
                </a:lnTo>
                <a:lnTo>
                  <a:pt x="276" y="442"/>
                </a:lnTo>
                <a:lnTo>
                  <a:pt x="276" y="442"/>
                </a:lnTo>
                <a:lnTo>
                  <a:pt x="276" y="442"/>
                </a:lnTo>
                <a:lnTo>
                  <a:pt x="276" y="442"/>
                </a:lnTo>
                <a:lnTo>
                  <a:pt x="276" y="442"/>
                </a:lnTo>
                <a:lnTo>
                  <a:pt x="276" y="441"/>
                </a:lnTo>
                <a:lnTo>
                  <a:pt x="276" y="441"/>
                </a:lnTo>
                <a:lnTo>
                  <a:pt x="276" y="441"/>
                </a:lnTo>
                <a:lnTo>
                  <a:pt x="276" y="441"/>
                </a:lnTo>
                <a:lnTo>
                  <a:pt x="276" y="441"/>
                </a:lnTo>
                <a:lnTo>
                  <a:pt x="276" y="440"/>
                </a:lnTo>
                <a:lnTo>
                  <a:pt x="276" y="440"/>
                </a:lnTo>
                <a:lnTo>
                  <a:pt x="276" y="440"/>
                </a:lnTo>
                <a:lnTo>
                  <a:pt x="276" y="440"/>
                </a:lnTo>
                <a:lnTo>
                  <a:pt x="276" y="439"/>
                </a:lnTo>
                <a:lnTo>
                  <a:pt x="276" y="439"/>
                </a:lnTo>
                <a:lnTo>
                  <a:pt x="276" y="439"/>
                </a:lnTo>
                <a:lnTo>
                  <a:pt x="276" y="439"/>
                </a:lnTo>
                <a:lnTo>
                  <a:pt x="276" y="439"/>
                </a:lnTo>
                <a:lnTo>
                  <a:pt x="276" y="438"/>
                </a:lnTo>
                <a:lnTo>
                  <a:pt x="276" y="438"/>
                </a:lnTo>
                <a:lnTo>
                  <a:pt x="276" y="438"/>
                </a:lnTo>
                <a:lnTo>
                  <a:pt x="276" y="438"/>
                </a:lnTo>
                <a:lnTo>
                  <a:pt x="276" y="438"/>
                </a:lnTo>
                <a:lnTo>
                  <a:pt x="276" y="437"/>
                </a:lnTo>
                <a:lnTo>
                  <a:pt x="276" y="437"/>
                </a:lnTo>
                <a:lnTo>
                  <a:pt x="277" y="437"/>
                </a:lnTo>
                <a:lnTo>
                  <a:pt x="277" y="437"/>
                </a:lnTo>
                <a:lnTo>
                  <a:pt x="277" y="437"/>
                </a:lnTo>
                <a:lnTo>
                  <a:pt x="277" y="436"/>
                </a:lnTo>
                <a:lnTo>
                  <a:pt x="277" y="436"/>
                </a:lnTo>
                <a:lnTo>
                  <a:pt x="277" y="436"/>
                </a:lnTo>
                <a:lnTo>
                  <a:pt x="277" y="436"/>
                </a:lnTo>
                <a:lnTo>
                  <a:pt x="277" y="434"/>
                </a:lnTo>
                <a:lnTo>
                  <a:pt x="277" y="434"/>
                </a:lnTo>
                <a:lnTo>
                  <a:pt x="277" y="434"/>
                </a:lnTo>
                <a:lnTo>
                  <a:pt x="277" y="434"/>
                </a:lnTo>
                <a:lnTo>
                  <a:pt x="277" y="434"/>
                </a:lnTo>
                <a:lnTo>
                  <a:pt x="277" y="433"/>
                </a:lnTo>
                <a:lnTo>
                  <a:pt x="277" y="433"/>
                </a:lnTo>
                <a:lnTo>
                  <a:pt x="277" y="433"/>
                </a:lnTo>
                <a:lnTo>
                  <a:pt x="277" y="433"/>
                </a:lnTo>
                <a:lnTo>
                  <a:pt x="277" y="433"/>
                </a:lnTo>
                <a:lnTo>
                  <a:pt x="277" y="432"/>
                </a:lnTo>
                <a:lnTo>
                  <a:pt x="277" y="432"/>
                </a:lnTo>
                <a:lnTo>
                  <a:pt x="277" y="432"/>
                </a:lnTo>
                <a:lnTo>
                  <a:pt x="277" y="432"/>
                </a:lnTo>
                <a:lnTo>
                  <a:pt x="277" y="432"/>
                </a:lnTo>
                <a:lnTo>
                  <a:pt x="277" y="431"/>
                </a:lnTo>
                <a:lnTo>
                  <a:pt x="277" y="431"/>
                </a:lnTo>
                <a:lnTo>
                  <a:pt x="277" y="431"/>
                </a:lnTo>
                <a:lnTo>
                  <a:pt x="277" y="431"/>
                </a:lnTo>
                <a:lnTo>
                  <a:pt x="277" y="431"/>
                </a:lnTo>
                <a:lnTo>
                  <a:pt x="277" y="430"/>
                </a:lnTo>
                <a:lnTo>
                  <a:pt x="278" y="430"/>
                </a:lnTo>
                <a:lnTo>
                  <a:pt x="278" y="430"/>
                </a:lnTo>
                <a:lnTo>
                  <a:pt x="278" y="430"/>
                </a:lnTo>
                <a:lnTo>
                  <a:pt x="278" y="430"/>
                </a:lnTo>
                <a:lnTo>
                  <a:pt x="278" y="429"/>
                </a:lnTo>
                <a:lnTo>
                  <a:pt x="278" y="429"/>
                </a:lnTo>
                <a:lnTo>
                  <a:pt x="278" y="429"/>
                </a:lnTo>
                <a:lnTo>
                  <a:pt x="278" y="429"/>
                </a:lnTo>
                <a:lnTo>
                  <a:pt x="278" y="429"/>
                </a:lnTo>
                <a:lnTo>
                  <a:pt x="278" y="428"/>
                </a:lnTo>
                <a:lnTo>
                  <a:pt x="278" y="428"/>
                </a:lnTo>
                <a:lnTo>
                  <a:pt x="278" y="428"/>
                </a:lnTo>
                <a:lnTo>
                  <a:pt x="278" y="428"/>
                </a:lnTo>
                <a:lnTo>
                  <a:pt x="278" y="428"/>
                </a:lnTo>
                <a:lnTo>
                  <a:pt x="278" y="427"/>
                </a:lnTo>
                <a:lnTo>
                  <a:pt x="278" y="427"/>
                </a:lnTo>
                <a:lnTo>
                  <a:pt x="280" y="427"/>
                </a:lnTo>
                <a:lnTo>
                  <a:pt x="280" y="427"/>
                </a:lnTo>
                <a:lnTo>
                  <a:pt x="280" y="427"/>
                </a:lnTo>
                <a:lnTo>
                  <a:pt x="280" y="425"/>
                </a:lnTo>
                <a:lnTo>
                  <a:pt x="280" y="425"/>
                </a:lnTo>
                <a:lnTo>
                  <a:pt x="280" y="425"/>
                </a:lnTo>
                <a:lnTo>
                  <a:pt x="280" y="425"/>
                </a:lnTo>
                <a:lnTo>
                  <a:pt x="280" y="425"/>
                </a:lnTo>
                <a:lnTo>
                  <a:pt x="280" y="425"/>
                </a:lnTo>
                <a:lnTo>
                  <a:pt x="280" y="424"/>
                </a:lnTo>
                <a:lnTo>
                  <a:pt x="280" y="424"/>
                </a:lnTo>
                <a:lnTo>
                  <a:pt x="280" y="424"/>
                </a:lnTo>
                <a:lnTo>
                  <a:pt x="280" y="424"/>
                </a:lnTo>
                <a:lnTo>
                  <a:pt x="281" y="424"/>
                </a:lnTo>
                <a:lnTo>
                  <a:pt x="281" y="423"/>
                </a:lnTo>
                <a:lnTo>
                  <a:pt x="281" y="423"/>
                </a:lnTo>
                <a:lnTo>
                  <a:pt x="281" y="423"/>
                </a:lnTo>
                <a:lnTo>
                  <a:pt x="281" y="423"/>
                </a:lnTo>
                <a:lnTo>
                  <a:pt x="281" y="423"/>
                </a:lnTo>
                <a:lnTo>
                  <a:pt x="281" y="423"/>
                </a:lnTo>
                <a:lnTo>
                  <a:pt x="281" y="422"/>
                </a:lnTo>
                <a:lnTo>
                  <a:pt x="281" y="422"/>
                </a:lnTo>
                <a:lnTo>
                  <a:pt x="281" y="422"/>
                </a:lnTo>
                <a:lnTo>
                  <a:pt x="282" y="422"/>
                </a:lnTo>
                <a:lnTo>
                  <a:pt x="282" y="422"/>
                </a:lnTo>
                <a:lnTo>
                  <a:pt x="282" y="421"/>
                </a:lnTo>
                <a:lnTo>
                  <a:pt x="282" y="421"/>
                </a:lnTo>
                <a:lnTo>
                  <a:pt x="282" y="421"/>
                </a:lnTo>
                <a:lnTo>
                  <a:pt x="282" y="421"/>
                </a:lnTo>
                <a:lnTo>
                  <a:pt x="282" y="421"/>
                </a:lnTo>
                <a:lnTo>
                  <a:pt x="282" y="421"/>
                </a:lnTo>
                <a:lnTo>
                  <a:pt x="282" y="420"/>
                </a:lnTo>
                <a:lnTo>
                  <a:pt x="282" y="420"/>
                </a:lnTo>
                <a:lnTo>
                  <a:pt x="283" y="420"/>
                </a:lnTo>
                <a:lnTo>
                  <a:pt x="283" y="420"/>
                </a:lnTo>
                <a:lnTo>
                  <a:pt x="283" y="420"/>
                </a:lnTo>
                <a:lnTo>
                  <a:pt x="283" y="420"/>
                </a:lnTo>
                <a:lnTo>
                  <a:pt x="283" y="419"/>
                </a:lnTo>
                <a:lnTo>
                  <a:pt x="283" y="419"/>
                </a:lnTo>
                <a:lnTo>
                  <a:pt x="283" y="419"/>
                </a:lnTo>
                <a:lnTo>
                  <a:pt x="283" y="419"/>
                </a:lnTo>
                <a:lnTo>
                  <a:pt x="283" y="419"/>
                </a:lnTo>
                <a:lnTo>
                  <a:pt x="284" y="419"/>
                </a:lnTo>
                <a:lnTo>
                  <a:pt x="284" y="418"/>
                </a:lnTo>
                <a:lnTo>
                  <a:pt x="284" y="418"/>
                </a:lnTo>
                <a:lnTo>
                  <a:pt x="284" y="418"/>
                </a:lnTo>
                <a:lnTo>
                  <a:pt x="284" y="418"/>
                </a:lnTo>
                <a:lnTo>
                  <a:pt x="284" y="418"/>
                </a:lnTo>
                <a:lnTo>
                  <a:pt x="284" y="418"/>
                </a:lnTo>
                <a:lnTo>
                  <a:pt x="284" y="416"/>
                </a:lnTo>
                <a:lnTo>
                  <a:pt x="285" y="416"/>
                </a:lnTo>
                <a:lnTo>
                  <a:pt x="285" y="416"/>
                </a:lnTo>
                <a:lnTo>
                  <a:pt x="285" y="416"/>
                </a:lnTo>
                <a:lnTo>
                  <a:pt x="285" y="416"/>
                </a:lnTo>
                <a:lnTo>
                  <a:pt x="285" y="416"/>
                </a:lnTo>
                <a:lnTo>
                  <a:pt x="285" y="416"/>
                </a:lnTo>
                <a:lnTo>
                  <a:pt x="285" y="415"/>
                </a:lnTo>
                <a:lnTo>
                  <a:pt x="285" y="415"/>
                </a:lnTo>
                <a:lnTo>
                  <a:pt x="286" y="415"/>
                </a:lnTo>
                <a:lnTo>
                  <a:pt x="286" y="415"/>
                </a:lnTo>
                <a:lnTo>
                  <a:pt x="286" y="415"/>
                </a:lnTo>
                <a:lnTo>
                  <a:pt x="286" y="415"/>
                </a:lnTo>
                <a:lnTo>
                  <a:pt x="286" y="414"/>
                </a:lnTo>
                <a:lnTo>
                  <a:pt x="286" y="414"/>
                </a:lnTo>
                <a:lnTo>
                  <a:pt x="286" y="414"/>
                </a:lnTo>
                <a:lnTo>
                  <a:pt x="286" y="414"/>
                </a:lnTo>
                <a:lnTo>
                  <a:pt x="287" y="414"/>
                </a:lnTo>
                <a:lnTo>
                  <a:pt x="287" y="414"/>
                </a:lnTo>
                <a:lnTo>
                  <a:pt x="287" y="414"/>
                </a:lnTo>
                <a:lnTo>
                  <a:pt x="287" y="413"/>
                </a:lnTo>
                <a:lnTo>
                  <a:pt x="287" y="413"/>
                </a:lnTo>
                <a:lnTo>
                  <a:pt x="287" y="413"/>
                </a:lnTo>
                <a:lnTo>
                  <a:pt x="287" y="413"/>
                </a:lnTo>
                <a:lnTo>
                  <a:pt x="289" y="413"/>
                </a:lnTo>
                <a:lnTo>
                  <a:pt x="289" y="413"/>
                </a:lnTo>
                <a:lnTo>
                  <a:pt x="289" y="413"/>
                </a:lnTo>
                <a:lnTo>
                  <a:pt x="289" y="412"/>
                </a:lnTo>
                <a:lnTo>
                  <a:pt x="289" y="412"/>
                </a:lnTo>
                <a:lnTo>
                  <a:pt x="289" y="412"/>
                </a:lnTo>
                <a:lnTo>
                  <a:pt x="289" y="412"/>
                </a:lnTo>
                <a:lnTo>
                  <a:pt x="290" y="412"/>
                </a:lnTo>
                <a:lnTo>
                  <a:pt x="290" y="412"/>
                </a:lnTo>
                <a:lnTo>
                  <a:pt x="290" y="412"/>
                </a:lnTo>
                <a:lnTo>
                  <a:pt x="290" y="412"/>
                </a:lnTo>
                <a:lnTo>
                  <a:pt x="290" y="411"/>
                </a:lnTo>
                <a:lnTo>
                  <a:pt x="290" y="411"/>
                </a:lnTo>
                <a:lnTo>
                  <a:pt x="291" y="411"/>
                </a:lnTo>
                <a:lnTo>
                  <a:pt x="291" y="411"/>
                </a:lnTo>
                <a:lnTo>
                  <a:pt x="291" y="411"/>
                </a:lnTo>
                <a:lnTo>
                  <a:pt x="291" y="411"/>
                </a:lnTo>
                <a:lnTo>
                  <a:pt x="291" y="411"/>
                </a:lnTo>
                <a:lnTo>
                  <a:pt x="291" y="411"/>
                </a:lnTo>
                <a:lnTo>
                  <a:pt x="291" y="410"/>
                </a:lnTo>
                <a:lnTo>
                  <a:pt x="292" y="410"/>
                </a:lnTo>
                <a:lnTo>
                  <a:pt x="292" y="410"/>
                </a:lnTo>
                <a:lnTo>
                  <a:pt x="292" y="410"/>
                </a:lnTo>
                <a:lnTo>
                  <a:pt x="292" y="410"/>
                </a:lnTo>
                <a:lnTo>
                  <a:pt x="292" y="410"/>
                </a:lnTo>
                <a:lnTo>
                  <a:pt x="292" y="410"/>
                </a:lnTo>
                <a:lnTo>
                  <a:pt x="293" y="410"/>
                </a:lnTo>
                <a:lnTo>
                  <a:pt x="293" y="409"/>
                </a:lnTo>
                <a:lnTo>
                  <a:pt x="293" y="409"/>
                </a:lnTo>
                <a:lnTo>
                  <a:pt x="293" y="409"/>
                </a:lnTo>
                <a:lnTo>
                  <a:pt x="293" y="409"/>
                </a:lnTo>
                <a:lnTo>
                  <a:pt x="293" y="409"/>
                </a:lnTo>
                <a:lnTo>
                  <a:pt x="294" y="409"/>
                </a:lnTo>
                <a:lnTo>
                  <a:pt x="294" y="409"/>
                </a:lnTo>
                <a:lnTo>
                  <a:pt x="294" y="409"/>
                </a:lnTo>
                <a:lnTo>
                  <a:pt x="294" y="409"/>
                </a:lnTo>
                <a:lnTo>
                  <a:pt x="294" y="407"/>
                </a:lnTo>
                <a:lnTo>
                  <a:pt x="294" y="407"/>
                </a:lnTo>
                <a:lnTo>
                  <a:pt x="295" y="407"/>
                </a:lnTo>
                <a:lnTo>
                  <a:pt x="295" y="407"/>
                </a:lnTo>
                <a:lnTo>
                  <a:pt x="295" y="407"/>
                </a:lnTo>
                <a:lnTo>
                  <a:pt x="295" y="407"/>
                </a:lnTo>
                <a:lnTo>
                  <a:pt x="295" y="407"/>
                </a:lnTo>
                <a:lnTo>
                  <a:pt x="296" y="407"/>
                </a:lnTo>
                <a:lnTo>
                  <a:pt x="296" y="407"/>
                </a:lnTo>
                <a:lnTo>
                  <a:pt x="296" y="407"/>
                </a:lnTo>
                <a:lnTo>
                  <a:pt x="296" y="406"/>
                </a:lnTo>
                <a:lnTo>
                  <a:pt x="296" y="406"/>
                </a:lnTo>
                <a:lnTo>
                  <a:pt x="296" y="406"/>
                </a:lnTo>
                <a:lnTo>
                  <a:pt x="298" y="406"/>
                </a:lnTo>
                <a:lnTo>
                  <a:pt x="298" y="406"/>
                </a:lnTo>
                <a:lnTo>
                  <a:pt x="298" y="406"/>
                </a:lnTo>
                <a:lnTo>
                  <a:pt x="298" y="406"/>
                </a:lnTo>
                <a:lnTo>
                  <a:pt x="298" y="406"/>
                </a:lnTo>
                <a:lnTo>
                  <a:pt x="298" y="406"/>
                </a:lnTo>
                <a:lnTo>
                  <a:pt x="299" y="406"/>
                </a:lnTo>
                <a:lnTo>
                  <a:pt x="299" y="406"/>
                </a:lnTo>
                <a:lnTo>
                  <a:pt x="299" y="405"/>
                </a:lnTo>
                <a:lnTo>
                  <a:pt x="299" y="405"/>
                </a:lnTo>
                <a:lnTo>
                  <a:pt x="299" y="405"/>
                </a:lnTo>
                <a:lnTo>
                  <a:pt x="300" y="405"/>
                </a:lnTo>
                <a:lnTo>
                  <a:pt x="300" y="405"/>
                </a:lnTo>
                <a:lnTo>
                  <a:pt x="300" y="405"/>
                </a:lnTo>
                <a:lnTo>
                  <a:pt x="300" y="405"/>
                </a:lnTo>
                <a:lnTo>
                  <a:pt x="300" y="405"/>
                </a:lnTo>
                <a:lnTo>
                  <a:pt x="301" y="405"/>
                </a:lnTo>
                <a:lnTo>
                  <a:pt x="301" y="405"/>
                </a:lnTo>
                <a:lnTo>
                  <a:pt x="301" y="405"/>
                </a:lnTo>
                <a:lnTo>
                  <a:pt x="301" y="405"/>
                </a:lnTo>
                <a:lnTo>
                  <a:pt x="301" y="405"/>
                </a:lnTo>
                <a:lnTo>
                  <a:pt x="301" y="404"/>
                </a:lnTo>
                <a:lnTo>
                  <a:pt x="302" y="404"/>
                </a:lnTo>
                <a:lnTo>
                  <a:pt x="302" y="404"/>
                </a:lnTo>
                <a:lnTo>
                  <a:pt x="302" y="404"/>
                </a:lnTo>
                <a:lnTo>
                  <a:pt x="302" y="404"/>
                </a:lnTo>
                <a:lnTo>
                  <a:pt x="302" y="404"/>
                </a:lnTo>
                <a:lnTo>
                  <a:pt x="303" y="404"/>
                </a:lnTo>
                <a:lnTo>
                  <a:pt x="303" y="404"/>
                </a:lnTo>
                <a:lnTo>
                  <a:pt x="303" y="404"/>
                </a:lnTo>
                <a:lnTo>
                  <a:pt x="303" y="404"/>
                </a:lnTo>
                <a:lnTo>
                  <a:pt x="303" y="404"/>
                </a:lnTo>
                <a:lnTo>
                  <a:pt x="304" y="404"/>
                </a:lnTo>
                <a:lnTo>
                  <a:pt x="304" y="404"/>
                </a:lnTo>
                <a:lnTo>
                  <a:pt x="304" y="404"/>
                </a:lnTo>
                <a:lnTo>
                  <a:pt x="304" y="404"/>
                </a:lnTo>
                <a:lnTo>
                  <a:pt x="304" y="404"/>
                </a:lnTo>
                <a:lnTo>
                  <a:pt x="305" y="404"/>
                </a:lnTo>
                <a:lnTo>
                  <a:pt x="305" y="403"/>
                </a:lnTo>
                <a:lnTo>
                  <a:pt x="305" y="403"/>
                </a:lnTo>
                <a:lnTo>
                  <a:pt x="305" y="403"/>
                </a:lnTo>
                <a:lnTo>
                  <a:pt x="305" y="403"/>
                </a:lnTo>
                <a:lnTo>
                  <a:pt x="307" y="403"/>
                </a:lnTo>
                <a:lnTo>
                  <a:pt x="307" y="403"/>
                </a:lnTo>
                <a:lnTo>
                  <a:pt x="307" y="403"/>
                </a:lnTo>
                <a:lnTo>
                  <a:pt x="307" y="403"/>
                </a:lnTo>
                <a:lnTo>
                  <a:pt x="307" y="403"/>
                </a:lnTo>
                <a:lnTo>
                  <a:pt x="308" y="403"/>
                </a:lnTo>
                <a:lnTo>
                  <a:pt x="308" y="403"/>
                </a:lnTo>
                <a:lnTo>
                  <a:pt x="308" y="403"/>
                </a:lnTo>
                <a:lnTo>
                  <a:pt x="308" y="403"/>
                </a:lnTo>
                <a:lnTo>
                  <a:pt x="308" y="403"/>
                </a:lnTo>
                <a:lnTo>
                  <a:pt x="309" y="403"/>
                </a:lnTo>
                <a:lnTo>
                  <a:pt x="309" y="403"/>
                </a:lnTo>
                <a:lnTo>
                  <a:pt x="309" y="403"/>
                </a:lnTo>
                <a:lnTo>
                  <a:pt x="309" y="403"/>
                </a:lnTo>
                <a:lnTo>
                  <a:pt x="310" y="403"/>
                </a:lnTo>
                <a:lnTo>
                  <a:pt x="310" y="403"/>
                </a:lnTo>
                <a:lnTo>
                  <a:pt x="310" y="403"/>
                </a:lnTo>
                <a:lnTo>
                  <a:pt x="310" y="403"/>
                </a:lnTo>
                <a:lnTo>
                  <a:pt x="310" y="403"/>
                </a:lnTo>
                <a:lnTo>
                  <a:pt x="310" y="396"/>
                </a:lnTo>
                <a:lnTo>
                  <a:pt x="318" y="396"/>
                </a:lnTo>
                <a:lnTo>
                  <a:pt x="318" y="403"/>
                </a:lnTo>
                <a:lnTo>
                  <a:pt x="318" y="403"/>
                </a:lnTo>
                <a:close/>
                <a:moveTo>
                  <a:pt x="318" y="365"/>
                </a:moveTo>
                <a:lnTo>
                  <a:pt x="310" y="365"/>
                </a:lnTo>
                <a:lnTo>
                  <a:pt x="310" y="349"/>
                </a:lnTo>
                <a:lnTo>
                  <a:pt x="318" y="349"/>
                </a:lnTo>
                <a:lnTo>
                  <a:pt x="318" y="365"/>
                </a:lnTo>
                <a:lnTo>
                  <a:pt x="318" y="365"/>
                </a:lnTo>
                <a:close/>
                <a:moveTo>
                  <a:pt x="318" y="317"/>
                </a:moveTo>
                <a:lnTo>
                  <a:pt x="310" y="317"/>
                </a:lnTo>
                <a:lnTo>
                  <a:pt x="310" y="302"/>
                </a:lnTo>
                <a:lnTo>
                  <a:pt x="318" y="302"/>
                </a:lnTo>
                <a:lnTo>
                  <a:pt x="318" y="317"/>
                </a:lnTo>
                <a:lnTo>
                  <a:pt x="318" y="317"/>
                </a:lnTo>
                <a:close/>
                <a:moveTo>
                  <a:pt x="307" y="275"/>
                </a:moveTo>
                <a:lnTo>
                  <a:pt x="307" y="282"/>
                </a:lnTo>
                <a:lnTo>
                  <a:pt x="291" y="282"/>
                </a:lnTo>
                <a:lnTo>
                  <a:pt x="291" y="275"/>
                </a:lnTo>
                <a:lnTo>
                  <a:pt x="307" y="275"/>
                </a:lnTo>
                <a:lnTo>
                  <a:pt x="307" y="275"/>
                </a:lnTo>
                <a:close/>
                <a:moveTo>
                  <a:pt x="259" y="275"/>
                </a:moveTo>
                <a:lnTo>
                  <a:pt x="259" y="282"/>
                </a:lnTo>
                <a:lnTo>
                  <a:pt x="244" y="282"/>
                </a:lnTo>
                <a:lnTo>
                  <a:pt x="244" y="275"/>
                </a:lnTo>
                <a:lnTo>
                  <a:pt x="259" y="275"/>
                </a:lnTo>
                <a:lnTo>
                  <a:pt x="259" y="275"/>
                </a:lnTo>
                <a:close/>
                <a:moveTo>
                  <a:pt x="212" y="275"/>
                </a:moveTo>
                <a:lnTo>
                  <a:pt x="212" y="282"/>
                </a:lnTo>
                <a:lnTo>
                  <a:pt x="196" y="282"/>
                </a:lnTo>
                <a:lnTo>
                  <a:pt x="196" y="275"/>
                </a:lnTo>
                <a:lnTo>
                  <a:pt x="212" y="275"/>
                </a:lnTo>
                <a:lnTo>
                  <a:pt x="212" y="275"/>
                </a:lnTo>
                <a:close/>
                <a:moveTo>
                  <a:pt x="165" y="275"/>
                </a:moveTo>
                <a:lnTo>
                  <a:pt x="165" y="282"/>
                </a:lnTo>
                <a:lnTo>
                  <a:pt x="149" y="282"/>
                </a:lnTo>
                <a:lnTo>
                  <a:pt x="149" y="275"/>
                </a:lnTo>
                <a:lnTo>
                  <a:pt x="165" y="275"/>
                </a:lnTo>
                <a:lnTo>
                  <a:pt x="165" y="275"/>
                </a:lnTo>
                <a:close/>
                <a:moveTo>
                  <a:pt x="117" y="275"/>
                </a:moveTo>
                <a:lnTo>
                  <a:pt x="117" y="282"/>
                </a:lnTo>
                <a:lnTo>
                  <a:pt x="102" y="282"/>
                </a:lnTo>
                <a:lnTo>
                  <a:pt x="102" y="275"/>
                </a:lnTo>
                <a:lnTo>
                  <a:pt x="117" y="275"/>
                </a:lnTo>
                <a:lnTo>
                  <a:pt x="117" y="275"/>
                </a:lnTo>
                <a:close/>
                <a:moveTo>
                  <a:pt x="70" y="275"/>
                </a:moveTo>
                <a:lnTo>
                  <a:pt x="70" y="282"/>
                </a:lnTo>
                <a:lnTo>
                  <a:pt x="54" y="282"/>
                </a:lnTo>
                <a:lnTo>
                  <a:pt x="54" y="275"/>
                </a:lnTo>
                <a:lnTo>
                  <a:pt x="70" y="275"/>
                </a:lnTo>
                <a:lnTo>
                  <a:pt x="70" y="275"/>
                </a:lnTo>
                <a:close/>
                <a:moveTo>
                  <a:pt x="24" y="275"/>
                </a:moveTo>
                <a:lnTo>
                  <a:pt x="24" y="282"/>
                </a:lnTo>
                <a:lnTo>
                  <a:pt x="8" y="282"/>
                </a:lnTo>
                <a:lnTo>
                  <a:pt x="8" y="275"/>
                </a:lnTo>
                <a:lnTo>
                  <a:pt x="24" y="275"/>
                </a:lnTo>
                <a:lnTo>
                  <a:pt x="24" y="275"/>
                </a:lnTo>
                <a:close/>
                <a:moveTo>
                  <a:pt x="8" y="251"/>
                </a:moveTo>
                <a:lnTo>
                  <a:pt x="0" y="251"/>
                </a:lnTo>
                <a:lnTo>
                  <a:pt x="0" y="235"/>
                </a:lnTo>
                <a:lnTo>
                  <a:pt x="8" y="235"/>
                </a:lnTo>
                <a:lnTo>
                  <a:pt x="8" y="251"/>
                </a:lnTo>
                <a:lnTo>
                  <a:pt x="8" y="251"/>
                </a:lnTo>
                <a:close/>
                <a:moveTo>
                  <a:pt x="8" y="204"/>
                </a:moveTo>
                <a:lnTo>
                  <a:pt x="0" y="204"/>
                </a:lnTo>
                <a:lnTo>
                  <a:pt x="0" y="188"/>
                </a:lnTo>
                <a:lnTo>
                  <a:pt x="8" y="188"/>
                </a:lnTo>
                <a:lnTo>
                  <a:pt x="8" y="204"/>
                </a:lnTo>
                <a:lnTo>
                  <a:pt x="8" y="204"/>
                </a:lnTo>
                <a:close/>
                <a:moveTo>
                  <a:pt x="8" y="156"/>
                </a:moveTo>
                <a:lnTo>
                  <a:pt x="0" y="156"/>
                </a:lnTo>
                <a:lnTo>
                  <a:pt x="0" y="141"/>
                </a:lnTo>
                <a:lnTo>
                  <a:pt x="8" y="141"/>
                </a:lnTo>
                <a:lnTo>
                  <a:pt x="8" y="156"/>
                </a:lnTo>
                <a:lnTo>
                  <a:pt x="8" y="156"/>
                </a:lnTo>
                <a:close/>
                <a:moveTo>
                  <a:pt x="8" y="109"/>
                </a:moveTo>
                <a:lnTo>
                  <a:pt x="0" y="109"/>
                </a:lnTo>
                <a:lnTo>
                  <a:pt x="0" y="93"/>
                </a:lnTo>
                <a:lnTo>
                  <a:pt x="8" y="93"/>
                </a:lnTo>
                <a:lnTo>
                  <a:pt x="8" y="109"/>
                </a:lnTo>
                <a:lnTo>
                  <a:pt x="8" y="109"/>
                </a:lnTo>
                <a:close/>
                <a:moveTo>
                  <a:pt x="8" y="62"/>
                </a:moveTo>
                <a:lnTo>
                  <a:pt x="0" y="62"/>
                </a:lnTo>
                <a:lnTo>
                  <a:pt x="0" y="46"/>
                </a:lnTo>
                <a:lnTo>
                  <a:pt x="8" y="46"/>
                </a:lnTo>
                <a:lnTo>
                  <a:pt x="8" y="62"/>
                </a:lnTo>
                <a:close/>
              </a:path>
            </a:pathLst>
          </a:custGeom>
          <a:solidFill>
            <a:srgbClr val="8497B0"/>
          </a:solidFill>
          <a:ln>
            <a:solidFill>
              <a:schemeClr val="accent3">
                <a:lumMod val="60000"/>
                <a:lumOff val="40000"/>
              </a:schemeClr>
            </a:solidFill>
          </a:ln>
        </p:spPr>
        <p:txBody>
          <a:bodyPr vert="horz" wrap="square" lIns="91440" tIns="45720" rIns="91440" bIns="45720" numCol="1" anchor="t" anchorCtr="0" compatLnSpc="1">
            <a:prstTxWarp prst="textNoShape">
              <a:avLst/>
            </a:prstTxWarp>
          </a:bodyPr>
          <a:lstStyle/>
          <a:p>
            <a:endParaRPr lang="en-US"/>
          </a:p>
        </p:txBody>
      </p:sp>
      <p:sp>
        <p:nvSpPr>
          <p:cNvPr id="84" name="Freeform 78">
            <a:extLst>
              <a:ext uri="{FF2B5EF4-FFF2-40B4-BE49-F238E27FC236}">
                <a16:creationId xmlns:a16="http://schemas.microsoft.com/office/drawing/2014/main" id="{7CF97531-4F2C-48DD-9D3A-8BCC77E6DA44}"/>
              </a:ext>
            </a:extLst>
          </p:cNvPr>
          <p:cNvSpPr>
            <a:spLocks noEditPoints="1"/>
          </p:cNvSpPr>
          <p:nvPr/>
        </p:nvSpPr>
        <p:spPr bwMode="auto">
          <a:xfrm>
            <a:off x="5653533" y="1993105"/>
            <a:ext cx="720725" cy="769937"/>
          </a:xfrm>
          <a:custGeom>
            <a:avLst/>
            <a:gdLst>
              <a:gd name="T0" fmla="*/ 68 w 454"/>
              <a:gd name="T1" fmla="*/ 442 h 485"/>
              <a:gd name="T2" fmla="*/ 66 w 454"/>
              <a:gd name="T3" fmla="*/ 437 h 485"/>
              <a:gd name="T4" fmla="*/ 64 w 454"/>
              <a:gd name="T5" fmla="*/ 431 h 485"/>
              <a:gd name="T6" fmla="*/ 59 w 454"/>
              <a:gd name="T7" fmla="*/ 427 h 485"/>
              <a:gd name="T8" fmla="*/ 55 w 454"/>
              <a:gd name="T9" fmla="*/ 423 h 485"/>
              <a:gd name="T10" fmla="*/ 49 w 454"/>
              <a:gd name="T11" fmla="*/ 420 h 485"/>
              <a:gd name="T12" fmla="*/ 43 w 454"/>
              <a:gd name="T13" fmla="*/ 419 h 485"/>
              <a:gd name="T14" fmla="*/ 36 w 454"/>
              <a:gd name="T15" fmla="*/ 419 h 485"/>
              <a:gd name="T16" fmla="*/ 31 w 454"/>
              <a:gd name="T17" fmla="*/ 420 h 485"/>
              <a:gd name="T18" fmla="*/ 25 w 454"/>
              <a:gd name="T19" fmla="*/ 422 h 485"/>
              <a:gd name="T20" fmla="*/ 20 w 454"/>
              <a:gd name="T21" fmla="*/ 424 h 485"/>
              <a:gd name="T22" fmla="*/ 15 w 454"/>
              <a:gd name="T23" fmla="*/ 429 h 485"/>
              <a:gd name="T24" fmla="*/ 12 w 454"/>
              <a:gd name="T25" fmla="*/ 435 h 485"/>
              <a:gd name="T26" fmla="*/ 9 w 454"/>
              <a:gd name="T27" fmla="*/ 440 h 485"/>
              <a:gd name="T28" fmla="*/ 8 w 454"/>
              <a:gd name="T29" fmla="*/ 446 h 485"/>
              <a:gd name="T30" fmla="*/ 9 w 454"/>
              <a:gd name="T31" fmla="*/ 453 h 485"/>
              <a:gd name="T32" fmla="*/ 11 w 454"/>
              <a:gd name="T33" fmla="*/ 458 h 485"/>
              <a:gd name="T34" fmla="*/ 14 w 454"/>
              <a:gd name="T35" fmla="*/ 464 h 485"/>
              <a:gd name="T36" fmla="*/ 17 w 454"/>
              <a:gd name="T37" fmla="*/ 468 h 485"/>
              <a:gd name="T38" fmla="*/ 22 w 454"/>
              <a:gd name="T39" fmla="*/ 473 h 485"/>
              <a:gd name="T40" fmla="*/ 27 w 454"/>
              <a:gd name="T41" fmla="*/ 475 h 485"/>
              <a:gd name="T42" fmla="*/ 33 w 454"/>
              <a:gd name="T43" fmla="*/ 477 h 485"/>
              <a:gd name="T44" fmla="*/ 40 w 454"/>
              <a:gd name="T45" fmla="*/ 477 h 485"/>
              <a:gd name="T46" fmla="*/ 46 w 454"/>
              <a:gd name="T47" fmla="*/ 476 h 485"/>
              <a:gd name="T48" fmla="*/ 52 w 454"/>
              <a:gd name="T49" fmla="*/ 474 h 485"/>
              <a:gd name="T50" fmla="*/ 57 w 454"/>
              <a:gd name="T51" fmla="*/ 472 h 485"/>
              <a:gd name="T52" fmla="*/ 61 w 454"/>
              <a:gd name="T53" fmla="*/ 467 h 485"/>
              <a:gd name="T54" fmla="*/ 65 w 454"/>
              <a:gd name="T55" fmla="*/ 462 h 485"/>
              <a:gd name="T56" fmla="*/ 67 w 454"/>
              <a:gd name="T57" fmla="*/ 456 h 485"/>
              <a:gd name="T58" fmla="*/ 68 w 454"/>
              <a:gd name="T59" fmla="*/ 450 h 485"/>
              <a:gd name="T60" fmla="*/ 43 w 454"/>
              <a:gd name="T61" fmla="*/ 411 h 485"/>
              <a:gd name="T62" fmla="*/ 51 w 454"/>
              <a:gd name="T63" fmla="*/ 412 h 485"/>
              <a:gd name="T64" fmla="*/ 58 w 454"/>
              <a:gd name="T65" fmla="*/ 415 h 485"/>
              <a:gd name="T66" fmla="*/ 65 w 454"/>
              <a:gd name="T67" fmla="*/ 421 h 485"/>
              <a:gd name="T68" fmla="*/ 69 w 454"/>
              <a:gd name="T69" fmla="*/ 427 h 485"/>
              <a:gd name="T70" fmla="*/ 73 w 454"/>
              <a:gd name="T71" fmla="*/ 433 h 485"/>
              <a:gd name="T72" fmla="*/ 75 w 454"/>
              <a:gd name="T73" fmla="*/ 440 h 485"/>
              <a:gd name="T74" fmla="*/ 76 w 454"/>
              <a:gd name="T75" fmla="*/ 449 h 485"/>
              <a:gd name="T76" fmla="*/ 75 w 454"/>
              <a:gd name="T77" fmla="*/ 457 h 485"/>
              <a:gd name="T78" fmla="*/ 73 w 454"/>
              <a:gd name="T79" fmla="*/ 464 h 485"/>
              <a:gd name="T80" fmla="*/ 68 w 454"/>
              <a:gd name="T81" fmla="*/ 471 h 485"/>
              <a:gd name="T82" fmla="*/ 64 w 454"/>
              <a:gd name="T83" fmla="*/ 476 h 485"/>
              <a:gd name="T84" fmla="*/ 57 w 454"/>
              <a:gd name="T85" fmla="*/ 481 h 485"/>
              <a:gd name="T86" fmla="*/ 50 w 454"/>
              <a:gd name="T87" fmla="*/ 484 h 485"/>
              <a:gd name="T88" fmla="*/ 42 w 454"/>
              <a:gd name="T89" fmla="*/ 485 h 485"/>
              <a:gd name="T90" fmla="*/ 34 w 454"/>
              <a:gd name="T91" fmla="*/ 485 h 485"/>
              <a:gd name="T92" fmla="*/ 26 w 454"/>
              <a:gd name="T93" fmla="*/ 483 h 485"/>
              <a:gd name="T94" fmla="*/ 20 w 454"/>
              <a:gd name="T95" fmla="*/ 481 h 485"/>
              <a:gd name="T96" fmla="*/ 13 w 454"/>
              <a:gd name="T97" fmla="*/ 475 h 485"/>
              <a:gd name="T98" fmla="*/ 8 w 454"/>
              <a:gd name="T99" fmla="*/ 470 h 485"/>
              <a:gd name="T100" fmla="*/ 4 w 454"/>
              <a:gd name="T101" fmla="*/ 463 h 485"/>
              <a:gd name="T102" fmla="*/ 2 w 454"/>
              <a:gd name="T103" fmla="*/ 456 h 485"/>
              <a:gd name="T104" fmla="*/ 0 w 454"/>
              <a:gd name="T105" fmla="*/ 448 h 485"/>
              <a:gd name="T106" fmla="*/ 2 w 454"/>
              <a:gd name="T107" fmla="*/ 440 h 485"/>
              <a:gd name="T108" fmla="*/ 4 w 454"/>
              <a:gd name="T109" fmla="*/ 432 h 485"/>
              <a:gd name="T110" fmla="*/ 8 w 454"/>
              <a:gd name="T111" fmla="*/ 426 h 485"/>
              <a:gd name="T112" fmla="*/ 13 w 454"/>
              <a:gd name="T113" fmla="*/ 420 h 485"/>
              <a:gd name="T114" fmla="*/ 20 w 454"/>
              <a:gd name="T115" fmla="*/ 415 h 485"/>
              <a:gd name="T116" fmla="*/ 26 w 454"/>
              <a:gd name="T117" fmla="*/ 412 h 485"/>
              <a:gd name="T118" fmla="*/ 34 w 454"/>
              <a:gd name="T119" fmla="*/ 411 h 485"/>
              <a:gd name="T120" fmla="*/ 42 w 454"/>
              <a:gd name="T121" fmla="*/ 294 h 485"/>
              <a:gd name="T122" fmla="*/ 274 w 454"/>
              <a:gd name="T123" fmla="*/ 259 h 485"/>
              <a:gd name="T124" fmla="*/ 454 w 454"/>
              <a:gd name="T125" fmla="*/ 204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4" h="485">
                <a:moveTo>
                  <a:pt x="454" y="16"/>
                </a:moveTo>
                <a:lnTo>
                  <a:pt x="447" y="16"/>
                </a:lnTo>
                <a:lnTo>
                  <a:pt x="447" y="0"/>
                </a:lnTo>
                <a:lnTo>
                  <a:pt x="454" y="0"/>
                </a:lnTo>
                <a:lnTo>
                  <a:pt x="454" y="16"/>
                </a:lnTo>
                <a:lnTo>
                  <a:pt x="454" y="16"/>
                </a:lnTo>
                <a:close/>
                <a:moveTo>
                  <a:pt x="68" y="448"/>
                </a:moveTo>
                <a:lnTo>
                  <a:pt x="68" y="448"/>
                </a:lnTo>
                <a:lnTo>
                  <a:pt x="68" y="448"/>
                </a:lnTo>
                <a:lnTo>
                  <a:pt x="68" y="447"/>
                </a:lnTo>
                <a:lnTo>
                  <a:pt x="68" y="447"/>
                </a:lnTo>
                <a:lnTo>
                  <a:pt x="68" y="447"/>
                </a:lnTo>
                <a:lnTo>
                  <a:pt x="68" y="447"/>
                </a:lnTo>
                <a:lnTo>
                  <a:pt x="68" y="447"/>
                </a:lnTo>
                <a:lnTo>
                  <a:pt x="68" y="447"/>
                </a:lnTo>
                <a:lnTo>
                  <a:pt x="68" y="446"/>
                </a:lnTo>
                <a:lnTo>
                  <a:pt x="68" y="446"/>
                </a:lnTo>
                <a:lnTo>
                  <a:pt x="68" y="446"/>
                </a:lnTo>
                <a:lnTo>
                  <a:pt x="68" y="446"/>
                </a:lnTo>
                <a:lnTo>
                  <a:pt x="68" y="446"/>
                </a:lnTo>
                <a:lnTo>
                  <a:pt x="68" y="446"/>
                </a:lnTo>
                <a:lnTo>
                  <a:pt x="68" y="445"/>
                </a:lnTo>
                <a:lnTo>
                  <a:pt x="68" y="445"/>
                </a:lnTo>
                <a:lnTo>
                  <a:pt x="68" y="445"/>
                </a:lnTo>
                <a:lnTo>
                  <a:pt x="68" y="445"/>
                </a:lnTo>
                <a:lnTo>
                  <a:pt x="68" y="445"/>
                </a:lnTo>
                <a:lnTo>
                  <a:pt x="68" y="445"/>
                </a:lnTo>
                <a:lnTo>
                  <a:pt x="68" y="444"/>
                </a:lnTo>
                <a:lnTo>
                  <a:pt x="68" y="444"/>
                </a:lnTo>
                <a:lnTo>
                  <a:pt x="68" y="444"/>
                </a:lnTo>
                <a:lnTo>
                  <a:pt x="68" y="444"/>
                </a:lnTo>
                <a:lnTo>
                  <a:pt x="68" y="444"/>
                </a:lnTo>
                <a:lnTo>
                  <a:pt x="68" y="444"/>
                </a:lnTo>
                <a:lnTo>
                  <a:pt x="68" y="442"/>
                </a:lnTo>
                <a:lnTo>
                  <a:pt x="68" y="442"/>
                </a:lnTo>
                <a:lnTo>
                  <a:pt x="68" y="442"/>
                </a:lnTo>
                <a:lnTo>
                  <a:pt x="68" y="442"/>
                </a:lnTo>
                <a:lnTo>
                  <a:pt x="68" y="442"/>
                </a:lnTo>
                <a:lnTo>
                  <a:pt x="68" y="442"/>
                </a:lnTo>
                <a:lnTo>
                  <a:pt x="67" y="441"/>
                </a:lnTo>
                <a:lnTo>
                  <a:pt x="67" y="441"/>
                </a:lnTo>
                <a:lnTo>
                  <a:pt x="67" y="441"/>
                </a:lnTo>
                <a:lnTo>
                  <a:pt x="67" y="441"/>
                </a:lnTo>
                <a:lnTo>
                  <a:pt x="67" y="441"/>
                </a:lnTo>
                <a:lnTo>
                  <a:pt x="67" y="441"/>
                </a:lnTo>
                <a:lnTo>
                  <a:pt x="67" y="440"/>
                </a:lnTo>
                <a:lnTo>
                  <a:pt x="67" y="440"/>
                </a:lnTo>
                <a:lnTo>
                  <a:pt x="67" y="440"/>
                </a:lnTo>
                <a:lnTo>
                  <a:pt x="67" y="440"/>
                </a:lnTo>
                <a:lnTo>
                  <a:pt x="67" y="440"/>
                </a:lnTo>
                <a:lnTo>
                  <a:pt x="67" y="440"/>
                </a:lnTo>
                <a:lnTo>
                  <a:pt x="67" y="440"/>
                </a:lnTo>
                <a:lnTo>
                  <a:pt x="67" y="439"/>
                </a:lnTo>
                <a:lnTo>
                  <a:pt x="67" y="439"/>
                </a:lnTo>
                <a:lnTo>
                  <a:pt x="67" y="439"/>
                </a:lnTo>
                <a:lnTo>
                  <a:pt x="67" y="439"/>
                </a:lnTo>
                <a:lnTo>
                  <a:pt x="67" y="439"/>
                </a:lnTo>
                <a:lnTo>
                  <a:pt x="67" y="439"/>
                </a:lnTo>
                <a:lnTo>
                  <a:pt x="67" y="438"/>
                </a:lnTo>
                <a:lnTo>
                  <a:pt x="67" y="438"/>
                </a:lnTo>
                <a:lnTo>
                  <a:pt x="67" y="438"/>
                </a:lnTo>
                <a:lnTo>
                  <a:pt x="67" y="438"/>
                </a:lnTo>
                <a:lnTo>
                  <a:pt x="66" y="438"/>
                </a:lnTo>
                <a:lnTo>
                  <a:pt x="66" y="438"/>
                </a:lnTo>
                <a:lnTo>
                  <a:pt x="66" y="438"/>
                </a:lnTo>
                <a:lnTo>
                  <a:pt x="66" y="437"/>
                </a:lnTo>
                <a:lnTo>
                  <a:pt x="66" y="437"/>
                </a:lnTo>
                <a:lnTo>
                  <a:pt x="66" y="437"/>
                </a:lnTo>
                <a:lnTo>
                  <a:pt x="66" y="437"/>
                </a:lnTo>
                <a:lnTo>
                  <a:pt x="66" y="437"/>
                </a:lnTo>
                <a:lnTo>
                  <a:pt x="66" y="437"/>
                </a:lnTo>
                <a:lnTo>
                  <a:pt x="66" y="437"/>
                </a:lnTo>
                <a:lnTo>
                  <a:pt x="66" y="436"/>
                </a:lnTo>
                <a:lnTo>
                  <a:pt x="66" y="436"/>
                </a:lnTo>
                <a:lnTo>
                  <a:pt x="66" y="436"/>
                </a:lnTo>
                <a:lnTo>
                  <a:pt x="66" y="436"/>
                </a:lnTo>
                <a:lnTo>
                  <a:pt x="66" y="436"/>
                </a:lnTo>
                <a:lnTo>
                  <a:pt x="66" y="436"/>
                </a:lnTo>
                <a:lnTo>
                  <a:pt x="65" y="436"/>
                </a:lnTo>
                <a:lnTo>
                  <a:pt x="65" y="435"/>
                </a:lnTo>
                <a:lnTo>
                  <a:pt x="65" y="435"/>
                </a:lnTo>
                <a:lnTo>
                  <a:pt x="65" y="435"/>
                </a:lnTo>
                <a:lnTo>
                  <a:pt x="65" y="435"/>
                </a:lnTo>
                <a:lnTo>
                  <a:pt x="65" y="435"/>
                </a:lnTo>
                <a:lnTo>
                  <a:pt x="65" y="435"/>
                </a:lnTo>
                <a:lnTo>
                  <a:pt x="65" y="435"/>
                </a:lnTo>
                <a:lnTo>
                  <a:pt x="65" y="433"/>
                </a:lnTo>
                <a:lnTo>
                  <a:pt x="65" y="433"/>
                </a:lnTo>
                <a:lnTo>
                  <a:pt x="65" y="433"/>
                </a:lnTo>
                <a:lnTo>
                  <a:pt x="65" y="433"/>
                </a:lnTo>
                <a:lnTo>
                  <a:pt x="65" y="433"/>
                </a:lnTo>
                <a:lnTo>
                  <a:pt x="64" y="433"/>
                </a:lnTo>
                <a:lnTo>
                  <a:pt x="64" y="433"/>
                </a:lnTo>
                <a:lnTo>
                  <a:pt x="64" y="432"/>
                </a:lnTo>
                <a:lnTo>
                  <a:pt x="64" y="432"/>
                </a:lnTo>
                <a:lnTo>
                  <a:pt x="64" y="432"/>
                </a:lnTo>
                <a:lnTo>
                  <a:pt x="64" y="432"/>
                </a:lnTo>
                <a:lnTo>
                  <a:pt x="64" y="432"/>
                </a:lnTo>
                <a:lnTo>
                  <a:pt x="64" y="432"/>
                </a:lnTo>
                <a:lnTo>
                  <a:pt x="64" y="432"/>
                </a:lnTo>
                <a:lnTo>
                  <a:pt x="64" y="431"/>
                </a:lnTo>
                <a:lnTo>
                  <a:pt x="64" y="431"/>
                </a:lnTo>
                <a:lnTo>
                  <a:pt x="64" y="431"/>
                </a:lnTo>
                <a:lnTo>
                  <a:pt x="62" y="431"/>
                </a:lnTo>
                <a:lnTo>
                  <a:pt x="62" y="431"/>
                </a:lnTo>
                <a:lnTo>
                  <a:pt x="62" y="431"/>
                </a:lnTo>
                <a:lnTo>
                  <a:pt x="62" y="431"/>
                </a:lnTo>
                <a:lnTo>
                  <a:pt x="62" y="431"/>
                </a:lnTo>
                <a:lnTo>
                  <a:pt x="62" y="430"/>
                </a:lnTo>
                <a:lnTo>
                  <a:pt x="62" y="430"/>
                </a:lnTo>
                <a:lnTo>
                  <a:pt x="62" y="430"/>
                </a:lnTo>
                <a:lnTo>
                  <a:pt x="62" y="430"/>
                </a:lnTo>
                <a:lnTo>
                  <a:pt x="62" y="430"/>
                </a:lnTo>
                <a:lnTo>
                  <a:pt x="62" y="430"/>
                </a:lnTo>
                <a:lnTo>
                  <a:pt x="61" y="430"/>
                </a:lnTo>
                <a:lnTo>
                  <a:pt x="61" y="430"/>
                </a:lnTo>
                <a:lnTo>
                  <a:pt x="61" y="429"/>
                </a:lnTo>
                <a:lnTo>
                  <a:pt x="61" y="429"/>
                </a:lnTo>
                <a:lnTo>
                  <a:pt x="61" y="429"/>
                </a:lnTo>
                <a:lnTo>
                  <a:pt x="61" y="429"/>
                </a:lnTo>
                <a:lnTo>
                  <a:pt x="61" y="429"/>
                </a:lnTo>
                <a:lnTo>
                  <a:pt x="61" y="429"/>
                </a:lnTo>
                <a:lnTo>
                  <a:pt x="61" y="429"/>
                </a:lnTo>
                <a:lnTo>
                  <a:pt x="61" y="429"/>
                </a:lnTo>
                <a:lnTo>
                  <a:pt x="60" y="428"/>
                </a:lnTo>
                <a:lnTo>
                  <a:pt x="60" y="428"/>
                </a:lnTo>
                <a:lnTo>
                  <a:pt x="60" y="428"/>
                </a:lnTo>
                <a:lnTo>
                  <a:pt x="60" y="428"/>
                </a:lnTo>
                <a:lnTo>
                  <a:pt x="60" y="428"/>
                </a:lnTo>
                <a:lnTo>
                  <a:pt x="60" y="428"/>
                </a:lnTo>
                <a:lnTo>
                  <a:pt x="60" y="428"/>
                </a:lnTo>
                <a:lnTo>
                  <a:pt x="60" y="428"/>
                </a:lnTo>
                <a:lnTo>
                  <a:pt x="60" y="428"/>
                </a:lnTo>
                <a:lnTo>
                  <a:pt x="59" y="427"/>
                </a:lnTo>
                <a:lnTo>
                  <a:pt x="59" y="427"/>
                </a:lnTo>
                <a:lnTo>
                  <a:pt x="59" y="427"/>
                </a:lnTo>
                <a:lnTo>
                  <a:pt x="59" y="427"/>
                </a:lnTo>
                <a:lnTo>
                  <a:pt x="59" y="427"/>
                </a:lnTo>
                <a:lnTo>
                  <a:pt x="59" y="427"/>
                </a:lnTo>
                <a:lnTo>
                  <a:pt x="59" y="427"/>
                </a:lnTo>
                <a:lnTo>
                  <a:pt x="59" y="427"/>
                </a:lnTo>
                <a:lnTo>
                  <a:pt x="59" y="427"/>
                </a:lnTo>
                <a:lnTo>
                  <a:pt x="58" y="426"/>
                </a:lnTo>
                <a:lnTo>
                  <a:pt x="58" y="426"/>
                </a:lnTo>
                <a:lnTo>
                  <a:pt x="58" y="426"/>
                </a:lnTo>
                <a:lnTo>
                  <a:pt x="58" y="426"/>
                </a:lnTo>
                <a:lnTo>
                  <a:pt x="58" y="426"/>
                </a:lnTo>
                <a:lnTo>
                  <a:pt x="58" y="426"/>
                </a:lnTo>
                <a:lnTo>
                  <a:pt x="58" y="426"/>
                </a:lnTo>
                <a:lnTo>
                  <a:pt x="58" y="426"/>
                </a:lnTo>
                <a:lnTo>
                  <a:pt x="57" y="426"/>
                </a:lnTo>
                <a:lnTo>
                  <a:pt x="57" y="424"/>
                </a:lnTo>
                <a:lnTo>
                  <a:pt x="57" y="424"/>
                </a:lnTo>
                <a:lnTo>
                  <a:pt x="57" y="424"/>
                </a:lnTo>
                <a:lnTo>
                  <a:pt x="57" y="424"/>
                </a:lnTo>
                <a:lnTo>
                  <a:pt x="57" y="424"/>
                </a:lnTo>
                <a:lnTo>
                  <a:pt x="57" y="424"/>
                </a:lnTo>
                <a:lnTo>
                  <a:pt x="57" y="424"/>
                </a:lnTo>
                <a:lnTo>
                  <a:pt x="56" y="424"/>
                </a:lnTo>
                <a:lnTo>
                  <a:pt x="56" y="424"/>
                </a:lnTo>
                <a:lnTo>
                  <a:pt x="56" y="424"/>
                </a:lnTo>
                <a:lnTo>
                  <a:pt x="56" y="424"/>
                </a:lnTo>
                <a:lnTo>
                  <a:pt x="56" y="423"/>
                </a:lnTo>
                <a:lnTo>
                  <a:pt x="56" y="423"/>
                </a:lnTo>
                <a:lnTo>
                  <a:pt x="56" y="423"/>
                </a:lnTo>
                <a:lnTo>
                  <a:pt x="56" y="423"/>
                </a:lnTo>
                <a:lnTo>
                  <a:pt x="55" y="423"/>
                </a:lnTo>
                <a:lnTo>
                  <a:pt x="55" y="423"/>
                </a:lnTo>
                <a:lnTo>
                  <a:pt x="55" y="423"/>
                </a:lnTo>
                <a:lnTo>
                  <a:pt x="55" y="423"/>
                </a:lnTo>
                <a:lnTo>
                  <a:pt x="55" y="423"/>
                </a:lnTo>
                <a:lnTo>
                  <a:pt x="55" y="423"/>
                </a:lnTo>
                <a:lnTo>
                  <a:pt x="55" y="423"/>
                </a:lnTo>
                <a:lnTo>
                  <a:pt x="53" y="422"/>
                </a:lnTo>
                <a:lnTo>
                  <a:pt x="53" y="422"/>
                </a:lnTo>
                <a:lnTo>
                  <a:pt x="53" y="422"/>
                </a:lnTo>
                <a:lnTo>
                  <a:pt x="53" y="422"/>
                </a:lnTo>
                <a:lnTo>
                  <a:pt x="53" y="422"/>
                </a:lnTo>
                <a:lnTo>
                  <a:pt x="53" y="422"/>
                </a:lnTo>
                <a:lnTo>
                  <a:pt x="53" y="422"/>
                </a:lnTo>
                <a:lnTo>
                  <a:pt x="53" y="422"/>
                </a:lnTo>
                <a:lnTo>
                  <a:pt x="52" y="422"/>
                </a:lnTo>
                <a:lnTo>
                  <a:pt x="52" y="422"/>
                </a:lnTo>
                <a:lnTo>
                  <a:pt x="52" y="422"/>
                </a:lnTo>
                <a:lnTo>
                  <a:pt x="52" y="422"/>
                </a:lnTo>
                <a:lnTo>
                  <a:pt x="52" y="422"/>
                </a:lnTo>
                <a:lnTo>
                  <a:pt x="52" y="421"/>
                </a:lnTo>
                <a:lnTo>
                  <a:pt x="52" y="421"/>
                </a:lnTo>
                <a:lnTo>
                  <a:pt x="51" y="421"/>
                </a:lnTo>
                <a:lnTo>
                  <a:pt x="51" y="421"/>
                </a:lnTo>
                <a:lnTo>
                  <a:pt x="51" y="421"/>
                </a:lnTo>
                <a:lnTo>
                  <a:pt x="51" y="421"/>
                </a:lnTo>
                <a:lnTo>
                  <a:pt x="51" y="421"/>
                </a:lnTo>
                <a:lnTo>
                  <a:pt x="51" y="421"/>
                </a:lnTo>
                <a:lnTo>
                  <a:pt x="51" y="421"/>
                </a:lnTo>
                <a:lnTo>
                  <a:pt x="50" y="421"/>
                </a:lnTo>
                <a:lnTo>
                  <a:pt x="50" y="421"/>
                </a:lnTo>
                <a:lnTo>
                  <a:pt x="50" y="421"/>
                </a:lnTo>
                <a:lnTo>
                  <a:pt x="50" y="421"/>
                </a:lnTo>
                <a:lnTo>
                  <a:pt x="50" y="421"/>
                </a:lnTo>
                <a:lnTo>
                  <a:pt x="50" y="420"/>
                </a:lnTo>
                <a:lnTo>
                  <a:pt x="49" y="420"/>
                </a:lnTo>
                <a:lnTo>
                  <a:pt x="49" y="420"/>
                </a:lnTo>
                <a:lnTo>
                  <a:pt x="49" y="420"/>
                </a:lnTo>
                <a:lnTo>
                  <a:pt x="49" y="420"/>
                </a:lnTo>
                <a:lnTo>
                  <a:pt x="49" y="420"/>
                </a:lnTo>
                <a:lnTo>
                  <a:pt x="49" y="420"/>
                </a:lnTo>
                <a:lnTo>
                  <a:pt x="49" y="420"/>
                </a:lnTo>
                <a:lnTo>
                  <a:pt x="48" y="420"/>
                </a:lnTo>
                <a:lnTo>
                  <a:pt x="48" y="420"/>
                </a:lnTo>
                <a:lnTo>
                  <a:pt x="48" y="420"/>
                </a:lnTo>
                <a:lnTo>
                  <a:pt x="48" y="420"/>
                </a:lnTo>
                <a:lnTo>
                  <a:pt x="48" y="420"/>
                </a:lnTo>
                <a:lnTo>
                  <a:pt x="48" y="420"/>
                </a:lnTo>
                <a:lnTo>
                  <a:pt x="48" y="420"/>
                </a:lnTo>
                <a:lnTo>
                  <a:pt x="47" y="420"/>
                </a:lnTo>
                <a:lnTo>
                  <a:pt x="47" y="420"/>
                </a:lnTo>
                <a:lnTo>
                  <a:pt x="47" y="420"/>
                </a:lnTo>
                <a:lnTo>
                  <a:pt x="47" y="420"/>
                </a:lnTo>
                <a:lnTo>
                  <a:pt x="47" y="420"/>
                </a:lnTo>
                <a:lnTo>
                  <a:pt x="47" y="419"/>
                </a:lnTo>
                <a:lnTo>
                  <a:pt x="46" y="419"/>
                </a:lnTo>
                <a:lnTo>
                  <a:pt x="46" y="419"/>
                </a:lnTo>
                <a:lnTo>
                  <a:pt x="46" y="419"/>
                </a:lnTo>
                <a:lnTo>
                  <a:pt x="46" y="419"/>
                </a:lnTo>
                <a:lnTo>
                  <a:pt x="46" y="419"/>
                </a:lnTo>
                <a:lnTo>
                  <a:pt x="46" y="419"/>
                </a:lnTo>
                <a:lnTo>
                  <a:pt x="44" y="419"/>
                </a:lnTo>
                <a:lnTo>
                  <a:pt x="44" y="419"/>
                </a:lnTo>
                <a:lnTo>
                  <a:pt x="44" y="419"/>
                </a:lnTo>
                <a:lnTo>
                  <a:pt x="44" y="419"/>
                </a:lnTo>
                <a:lnTo>
                  <a:pt x="44" y="419"/>
                </a:lnTo>
                <a:lnTo>
                  <a:pt x="44" y="419"/>
                </a:lnTo>
                <a:lnTo>
                  <a:pt x="44" y="419"/>
                </a:lnTo>
                <a:lnTo>
                  <a:pt x="43" y="419"/>
                </a:lnTo>
                <a:lnTo>
                  <a:pt x="43" y="419"/>
                </a:lnTo>
                <a:lnTo>
                  <a:pt x="43" y="419"/>
                </a:lnTo>
                <a:lnTo>
                  <a:pt x="43" y="419"/>
                </a:lnTo>
                <a:lnTo>
                  <a:pt x="43" y="419"/>
                </a:lnTo>
                <a:lnTo>
                  <a:pt x="43" y="419"/>
                </a:lnTo>
                <a:lnTo>
                  <a:pt x="42" y="419"/>
                </a:lnTo>
                <a:lnTo>
                  <a:pt x="42" y="419"/>
                </a:lnTo>
                <a:lnTo>
                  <a:pt x="42" y="419"/>
                </a:lnTo>
                <a:lnTo>
                  <a:pt x="42" y="419"/>
                </a:lnTo>
                <a:lnTo>
                  <a:pt x="42" y="419"/>
                </a:lnTo>
                <a:lnTo>
                  <a:pt x="42" y="419"/>
                </a:lnTo>
                <a:lnTo>
                  <a:pt x="41" y="419"/>
                </a:lnTo>
                <a:lnTo>
                  <a:pt x="41" y="419"/>
                </a:lnTo>
                <a:lnTo>
                  <a:pt x="41" y="419"/>
                </a:lnTo>
                <a:lnTo>
                  <a:pt x="41" y="419"/>
                </a:lnTo>
                <a:lnTo>
                  <a:pt x="41" y="419"/>
                </a:lnTo>
                <a:lnTo>
                  <a:pt x="41" y="419"/>
                </a:lnTo>
                <a:lnTo>
                  <a:pt x="40" y="419"/>
                </a:lnTo>
                <a:lnTo>
                  <a:pt x="40" y="419"/>
                </a:lnTo>
                <a:lnTo>
                  <a:pt x="40" y="419"/>
                </a:lnTo>
                <a:lnTo>
                  <a:pt x="40" y="419"/>
                </a:lnTo>
                <a:lnTo>
                  <a:pt x="40" y="419"/>
                </a:lnTo>
                <a:lnTo>
                  <a:pt x="40" y="419"/>
                </a:lnTo>
                <a:lnTo>
                  <a:pt x="39" y="419"/>
                </a:lnTo>
                <a:lnTo>
                  <a:pt x="39" y="419"/>
                </a:lnTo>
                <a:lnTo>
                  <a:pt x="39" y="419"/>
                </a:lnTo>
                <a:lnTo>
                  <a:pt x="39" y="419"/>
                </a:lnTo>
                <a:lnTo>
                  <a:pt x="39" y="419"/>
                </a:lnTo>
                <a:lnTo>
                  <a:pt x="39" y="419"/>
                </a:lnTo>
                <a:lnTo>
                  <a:pt x="38" y="419"/>
                </a:lnTo>
                <a:lnTo>
                  <a:pt x="38" y="419"/>
                </a:lnTo>
                <a:lnTo>
                  <a:pt x="38" y="419"/>
                </a:lnTo>
                <a:lnTo>
                  <a:pt x="38" y="419"/>
                </a:lnTo>
                <a:lnTo>
                  <a:pt x="38" y="419"/>
                </a:lnTo>
                <a:lnTo>
                  <a:pt x="36" y="419"/>
                </a:lnTo>
                <a:lnTo>
                  <a:pt x="36" y="419"/>
                </a:lnTo>
                <a:lnTo>
                  <a:pt x="36" y="419"/>
                </a:lnTo>
                <a:lnTo>
                  <a:pt x="36" y="419"/>
                </a:lnTo>
                <a:lnTo>
                  <a:pt x="36" y="419"/>
                </a:lnTo>
                <a:lnTo>
                  <a:pt x="36" y="419"/>
                </a:lnTo>
                <a:lnTo>
                  <a:pt x="35" y="419"/>
                </a:lnTo>
                <a:lnTo>
                  <a:pt x="35" y="419"/>
                </a:lnTo>
                <a:lnTo>
                  <a:pt x="35" y="419"/>
                </a:lnTo>
                <a:lnTo>
                  <a:pt x="35" y="419"/>
                </a:lnTo>
                <a:lnTo>
                  <a:pt x="35" y="419"/>
                </a:lnTo>
                <a:lnTo>
                  <a:pt x="35" y="419"/>
                </a:lnTo>
                <a:lnTo>
                  <a:pt x="34" y="419"/>
                </a:lnTo>
                <a:lnTo>
                  <a:pt x="34" y="419"/>
                </a:lnTo>
                <a:lnTo>
                  <a:pt x="34" y="419"/>
                </a:lnTo>
                <a:lnTo>
                  <a:pt x="34" y="419"/>
                </a:lnTo>
                <a:lnTo>
                  <a:pt x="34" y="419"/>
                </a:lnTo>
                <a:lnTo>
                  <a:pt x="34" y="419"/>
                </a:lnTo>
                <a:lnTo>
                  <a:pt x="34" y="419"/>
                </a:lnTo>
                <a:lnTo>
                  <a:pt x="33" y="419"/>
                </a:lnTo>
                <a:lnTo>
                  <a:pt x="33" y="419"/>
                </a:lnTo>
                <a:lnTo>
                  <a:pt x="33" y="419"/>
                </a:lnTo>
                <a:lnTo>
                  <a:pt x="33" y="419"/>
                </a:lnTo>
                <a:lnTo>
                  <a:pt x="33" y="419"/>
                </a:lnTo>
                <a:lnTo>
                  <a:pt x="33" y="419"/>
                </a:lnTo>
                <a:lnTo>
                  <a:pt x="32" y="419"/>
                </a:lnTo>
                <a:lnTo>
                  <a:pt x="32" y="419"/>
                </a:lnTo>
                <a:lnTo>
                  <a:pt x="32" y="419"/>
                </a:lnTo>
                <a:lnTo>
                  <a:pt x="32" y="419"/>
                </a:lnTo>
                <a:lnTo>
                  <a:pt x="32" y="419"/>
                </a:lnTo>
                <a:lnTo>
                  <a:pt x="32" y="419"/>
                </a:lnTo>
                <a:lnTo>
                  <a:pt x="31" y="419"/>
                </a:lnTo>
                <a:lnTo>
                  <a:pt x="31" y="419"/>
                </a:lnTo>
                <a:lnTo>
                  <a:pt x="31" y="419"/>
                </a:lnTo>
                <a:lnTo>
                  <a:pt x="31" y="419"/>
                </a:lnTo>
                <a:lnTo>
                  <a:pt x="31" y="419"/>
                </a:lnTo>
                <a:lnTo>
                  <a:pt x="31" y="420"/>
                </a:lnTo>
                <a:lnTo>
                  <a:pt x="30" y="420"/>
                </a:lnTo>
                <a:lnTo>
                  <a:pt x="30" y="420"/>
                </a:lnTo>
                <a:lnTo>
                  <a:pt x="30" y="420"/>
                </a:lnTo>
                <a:lnTo>
                  <a:pt x="30" y="420"/>
                </a:lnTo>
                <a:lnTo>
                  <a:pt x="30" y="420"/>
                </a:lnTo>
                <a:lnTo>
                  <a:pt x="30" y="420"/>
                </a:lnTo>
                <a:lnTo>
                  <a:pt x="30" y="420"/>
                </a:lnTo>
                <a:lnTo>
                  <a:pt x="29" y="420"/>
                </a:lnTo>
                <a:lnTo>
                  <a:pt x="29" y="420"/>
                </a:lnTo>
                <a:lnTo>
                  <a:pt x="29" y="420"/>
                </a:lnTo>
                <a:lnTo>
                  <a:pt x="29" y="420"/>
                </a:lnTo>
                <a:lnTo>
                  <a:pt x="29" y="420"/>
                </a:lnTo>
                <a:lnTo>
                  <a:pt x="29" y="420"/>
                </a:lnTo>
                <a:lnTo>
                  <a:pt x="27" y="420"/>
                </a:lnTo>
                <a:lnTo>
                  <a:pt x="27" y="420"/>
                </a:lnTo>
                <a:lnTo>
                  <a:pt x="27" y="420"/>
                </a:lnTo>
                <a:lnTo>
                  <a:pt x="27" y="420"/>
                </a:lnTo>
                <a:lnTo>
                  <a:pt x="27" y="420"/>
                </a:lnTo>
                <a:lnTo>
                  <a:pt x="27" y="420"/>
                </a:lnTo>
                <a:lnTo>
                  <a:pt x="27" y="421"/>
                </a:lnTo>
                <a:lnTo>
                  <a:pt x="26" y="421"/>
                </a:lnTo>
                <a:lnTo>
                  <a:pt x="26" y="421"/>
                </a:lnTo>
                <a:lnTo>
                  <a:pt x="26" y="421"/>
                </a:lnTo>
                <a:lnTo>
                  <a:pt x="26" y="421"/>
                </a:lnTo>
                <a:lnTo>
                  <a:pt x="26" y="421"/>
                </a:lnTo>
                <a:lnTo>
                  <a:pt x="26" y="421"/>
                </a:lnTo>
                <a:lnTo>
                  <a:pt x="26" y="421"/>
                </a:lnTo>
                <a:lnTo>
                  <a:pt x="25" y="421"/>
                </a:lnTo>
                <a:lnTo>
                  <a:pt x="25" y="421"/>
                </a:lnTo>
                <a:lnTo>
                  <a:pt x="25" y="421"/>
                </a:lnTo>
                <a:lnTo>
                  <a:pt x="25" y="421"/>
                </a:lnTo>
                <a:lnTo>
                  <a:pt x="25" y="421"/>
                </a:lnTo>
                <a:lnTo>
                  <a:pt x="25" y="421"/>
                </a:lnTo>
                <a:lnTo>
                  <a:pt x="25" y="422"/>
                </a:lnTo>
                <a:lnTo>
                  <a:pt x="24" y="422"/>
                </a:lnTo>
                <a:lnTo>
                  <a:pt x="24" y="422"/>
                </a:lnTo>
                <a:lnTo>
                  <a:pt x="24" y="422"/>
                </a:lnTo>
                <a:lnTo>
                  <a:pt x="24" y="422"/>
                </a:lnTo>
                <a:lnTo>
                  <a:pt x="24" y="422"/>
                </a:lnTo>
                <a:lnTo>
                  <a:pt x="24" y="422"/>
                </a:lnTo>
                <a:lnTo>
                  <a:pt x="24" y="422"/>
                </a:lnTo>
                <a:lnTo>
                  <a:pt x="23" y="422"/>
                </a:lnTo>
                <a:lnTo>
                  <a:pt x="23" y="422"/>
                </a:lnTo>
                <a:lnTo>
                  <a:pt x="23" y="422"/>
                </a:lnTo>
                <a:lnTo>
                  <a:pt x="23" y="422"/>
                </a:lnTo>
                <a:lnTo>
                  <a:pt x="23" y="422"/>
                </a:lnTo>
                <a:lnTo>
                  <a:pt x="23" y="423"/>
                </a:lnTo>
                <a:lnTo>
                  <a:pt x="23" y="423"/>
                </a:lnTo>
                <a:lnTo>
                  <a:pt x="22" y="423"/>
                </a:lnTo>
                <a:lnTo>
                  <a:pt x="22" y="423"/>
                </a:lnTo>
                <a:lnTo>
                  <a:pt x="22" y="423"/>
                </a:lnTo>
                <a:lnTo>
                  <a:pt x="22" y="423"/>
                </a:lnTo>
                <a:lnTo>
                  <a:pt x="22" y="423"/>
                </a:lnTo>
                <a:lnTo>
                  <a:pt x="22" y="423"/>
                </a:lnTo>
                <a:lnTo>
                  <a:pt x="22" y="423"/>
                </a:lnTo>
                <a:lnTo>
                  <a:pt x="22" y="423"/>
                </a:lnTo>
                <a:lnTo>
                  <a:pt x="21" y="423"/>
                </a:lnTo>
                <a:lnTo>
                  <a:pt x="21" y="424"/>
                </a:lnTo>
                <a:lnTo>
                  <a:pt x="21" y="424"/>
                </a:lnTo>
                <a:lnTo>
                  <a:pt x="21" y="424"/>
                </a:lnTo>
                <a:lnTo>
                  <a:pt x="21" y="424"/>
                </a:lnTo>
                <a:lnTo>
                  <a:pt x="21" y="424"/>
                </a:lnTo>
                <a:lnTo>
                  <a:pt x="21" y="424"/>
                </a:lnTo>
                <a:lnTo>
                  <a:pt x="21" y="424"/>
                </a:lnTo>
                <a:lnTo>
                  <a:pt x="20" y="424"/>
                </a:lnTo>
                <a:lnTo>
                  <a:pt x="20" y="424"/>
                </a:lnTo>
                <a:lnTo>
                  <a:pt x="20" y="424"/>
                </a:lnTo>
                <a:lnTo>
                  <a:pt x="20" y="424"/>
                </a:lnTo>
                <a:lnTo>
                  <a:pt x="20" y="426"/>
                </a:lnTo>
                <a:lnTo>
                  <a:pt x="20" y="426"/>
                </a:lnTo>
                <a:lnTo>
                  <a:pt x="20" y="426"/>
                </a:lnTo>
                <a:lnTo>
                  <a:pt x="20" y="426"/>
                </a:lnTo>
                <a:lnTo>
                  <a:pt x="18" y="426"/>
                </a:lnTo>
                <a:lnTo>
                  <a:pt x="18" y="426"/>
                </a:lnTo>
                <a:lnTo>
                  <a:pt x="18" y="426"/>
                </a:lnTo>
                <a:lnTo>
                  <a:pt x="18" y="426"/>
                </a:lnTo>
                <a:lnTo>
                  <a:pt x="18" y="426"/>
                </a:lnTo>
                <a:lnTo>
                  <a:pt x="18" y="427"/>
                </a:lnTo>
                <a:lnTo>
                  <a:pt x="18" y="427"/>
                </a:lnTo>
                <a:lnTo>
                  <a:pt x="18" y="427"/>
                </a:lnTo>
                <a:lnTo>
                  <a:pt x="18" y="427"/>
                </a:lnTo>
                <a:lnTo>
                  <a:pt x="17" y="427"/>
                </a:lnTo>
                <a:lnTo>
                  <a:pt x="17" y="427"/>
                </a:lnTo>
                <a:lnTo>
                  <a:pt x="17" y="427"/>
                </a:lnTo>
                <a:lnTo>
                  <a:pt x="17" y="427"/>
                </a:lnTo>
                <a:lnTo>
                  <a:pt x="17" y="427"/>
                </a:lnTo>
                <a:lnTo>
                  <a:pt x="17" y="428"/>
                </a:lnTo>
                <a:lnTo>
                  <a:pt x="17" y="428"/>
                </a:lnTo>
                <a:lnTo>
                  <a:pt x="17" y="428"/>
                </a:lnTo>
                <a:lnTo>
                  <a:pt x="17" y="428"/>
                </a:lnTo>
                <a:lnTo>
                  <a:pt x="16" y="428"/>
                </a:lnTo>
                <a:lnTo>
                  <a:pt x="16" y="428"/>
                </a:lnTo>
                <a:lnTo>
                  <a:pt x="16" y="428"/>
                </a:lnTo>
                <a:lnTo>
                  <a:pt x="16" y="428"/>
                </a:lnTo>
                <a:lnTo>
                  <a:pt x="16" y="428"/>
                </a:lnTo>
                <a:lnTo>
                  <a:pt x="16" y="429"/>
                </a:lnTo>
                <a:lnTo>
                  <a:pt x="16" y="429"/>
                </a:lnTo>
                <a:lnTo>
                  <a:pt x="16" y="429"/>
                </a:lnTo>
                <a:lnTo>
                  <a:pt x="16" y="429"/>
                </a:lnTo>
                <a:lnTo>
                  <a:pt x="15" y="429"/>
                </a:lnTo>
                <a:lnTo>
                  <a:pt x="15" y="429"/>
                </a:lnTo>
                <a:lnTo>
                  <a:pt x="15" y="429"/>
                </a:lnTo>
                <a:lnTo>
                  <a:pt x="15" y="429"/>
                </a:lnTo>
                <a:lnTo>
                  <a:pt x="15" y="430"/>
                </a:lnTo>
                <a:lnTo>
                  <a:pt x="15" y="430"/>
                </a:lnTo>
                <a:lnTo>
                  <a:pt x="15" y="430"/>
                </a:lnTo>
                <a:lnTo>
                  <a:pt x="15" y="430"/>
                </a:lnTo>
                <a:lnTo>
                  <a:pt x="15" y="430"/>
                </a:lnTo>
                <a:lnTo>
                  <a:pt x="15" y="430"/>
                </a:lnTo>
                <a:lnTo>
                  <a:pt x="14" y="430"/>
                </a:lnTo>
                <a:lnTo>
                  <a:pt x="14" y="430"/>
                </a:lnTo>
                <a:lnTo>
                  <a:pt x="14" y="431"/>
                </a:lnTo>
                <a:lnTo>
                  <a:pt x="14" y="431"/>
                </a:lnTo>
                <a:lnTo>
                  <a:pt x="14" y="431"/>
                </a:lnTo>
                <a:lnTo>
                  <a:pt x="14" y="431"/>
                </a:lnTo>
                <a:lnTo>
                  <a:pt x="14" y="431"/>
                </a:lnTo>
                <a:lnTo>
                  <a:pt x="14" y="431"/>
                </a:lnTo>
                <a:lnTo>
                  <a:pt x="14" y="431"/>
                </a:lnTo>
                <a:lnTo>
                  <a:pt x="14" y="431"/>
                </a:lnTo>
                <a:lnTo>
                  <a:pt x="14" y="432"/>
                </a:lnTo>
                <a:lnTo>
                  <a:pt x="13" y="432"/>
                </a:lnTo>
                <a:lnTo>
                  <a:pt x="13" y="432"/>
                </a:lnTo>
                <a:lnTo>
                  <a:pt x="13" y="432"/>
                </a:lnTo>
                <a:lnTo>
                  <a:pt x="13" y="432"/>
                </a:lnTo>
                <a:lnTo>
                  <a:pt x="13" y="432"/>
                </a:lnTo>
                <a:lnTo>
                  <a:pt x="13" y="432"/>
                </a:lnTo>
                <a:lnTo>
                  <a:pt x="13" y="433"/>
                </a:lnTo>
                <a:lnTo>
                  <a:pt x="13" y="433"/>
                </a:lnTo>
                <a:lnTo>
                  <a:pt x="13" y="433"/>
                </a:lnTo>
                <a:lnTo>
                  <a:pt x="13" y="433"/>
                </a:lnTo>
                <a:lnTo>
                  <a:pt x="13" y="433"/>
                </a:lnTo>
                <a:lnTo>
                  <a:pt x="13" y="433"/>
                </a:lnTo>
                <a:lnTo>
                  <a:pt x="13" y="433"/>
                </a:lnTo>
                <a:lnTo>
                  <a:pt x="12" y="435"/>
                </a:lnTo>
                <a:lnTo>
                  <a:pt x="12" y="435"/>
                </a:lnTo>
                <a:lnTo>
                  <a:pt x="12" y="435"/>
                </a:lnTo>
                <a:lnTo>
                  <a:pt x="12" y="435"/>
                </a:lnTo>
                <a:lnTo>
                  <a:pt x="12" y="435"/>
                </a:lnTo>
                <a:lnTo>
                  <a:pt x="12" y="435"/>
                </a:lnTo>
                <a:lnTo>
                  <a:pt x="12" y="435"/>
                </a:lnTo>
                <a:lnTo>
                  <a:pt x="12" y="436"/>
                </a:lnTo>
                <a:lnTo>
                  <a:pt x="12" y="436"/>
                </a:lnTo>
                <a:lnTo>
                  <a:pt x="12" y="436"/>
                </a:lnTo>
                <a:lnTo>
                  <a:pt x="12" y="436"/>
                </a:lnTo>
                <a:lnTo>
                  <a:pt x="12" y="436"/>
                </a:lnTo>
                <a:lnTo>
                  <a:pt x="12" y="436"/>
                </a:lnTo>
                <a:lnTo>
                  <a:pt x="12" y="436"/>
                </a:lnTo>
                <a:lnTo>
                  <a:pt x="11" y="437"/>
                </a:lnTo>
                <a:lnTo>
                  <a:pt x="11" y="437"/>
                </a:lnTo>
                <a:lnTo>
                  <a:pt x="11" y="437"/>
                </a:lnTo>
                <a:lnTo>
                  <a:pt x="11" y="437"/>
                </a:lnTo>
                <a:lnTo>
                  <a:pt x="11" y="437"/>
                </a:lnTo>
                <a:lnTo>
                  <a:pt x="11" y="437"/>
                </a:lnTo>
                <a:lnTo>
                  <a:pt x="11" y="437"/>
                </a:lnTo>
                <a:lnTo>
                  <a:pt x="11" y="438"/>
                </a:lnTo>
                <a:lnTo>
                  <a:pt x="11" y="438"/>
                </a:lnTo>
                <a:lnTo>
                  <a:pt x="11" y="438"/>
                </a:lnTo>
                <a:lnTo>
                  <a:pt x="11" y="438"/>
                </a:lnTo>
                <a:lnTo>
                  <a:pt x="11" y="438"/>
                </a:lnTo>
                <a:lnTo>
                  <a:pt x="11" y="438"/>
                </a:lnTo>
                <a:lnTo>
                  <a:pt x="11" y="438"/>
                </a:lnTo>
                <a:lnTo>
                  <a:pt x="11" y="439"/>
                </a:lnTo>
                <a:lnTo>
                  <a:pt x="11" y="439"/>
                </a:lnTo>
                <a:lnTo>
                  <a:pt x="11" y="439"/>
                </a:lnTo>
                <a:lnTo>
                  <a:pt x="11" y="439"/>
                </a:lnTo>
                <a:lnTo>
                  <a:pt x="9" y="439"/>
                </a:lnTo>
                <a:lnTo>
                  <a:pt x="9" y="439"/>
                </a:lnTo>
                <a:lnTo>
                  <a:pt x="9" y="440"/>
                </a:lnTo>
                <a:lnTo>
                  <a:pt x="9" y="440"/>
                </a:lnTo>
                <a:lnTo>
                  <a:pt x="9" y="440"/>
                </a:lnTo>
                <a:lnTo>
                  <a:pt x="9" y="440"/>
                </a:lnTo>
                <a:lnTo>
                  <a:pt x="9" y="440"/>
                </a:lnTo>
                <a:lnTo>
                  <a:pt x="9" y="440"/>
                </a:lnTo>
                <a:lnTo>
                  <a:pt x="9" y="440"/>
                </a:lnTo>
                <a:lnTo>
                  <a:pt x="9" y="441"/>
                </a:lnTo>
                <a:lnTo>
                  <a:pt x="9" y="441"/>
                </a:lnTo>
                <a:lnTo>
                  <a:pt x="9" y="441"/>
                </a:lnTo>
                <a:lnTo>
                  <a:pt x="9" y="441"/>
                </a:lnTo>
                <a:lnTo>
                  <a:pt x="9" y="441"/>
                </a:lnTo>
                <a:lnTo>
                  <a:pt x="9" y="441"/>
                </a:lnTo>
                <a:lnTo>
                  <a:pt x="9" y="442"/>
                </a:lnTo>
                <a:lnTo>
                  <a:pt x="9" y="442"/>
                </a:lnTo>
                <a:lnTo>
                  <a:pt x="9" y="442"/>
                </a:lnTo>
                <a:lnTo>
                  <a:pt x="9" y="442"/>
                </a:lnTo>
                <a:lnTo>
                  <a:pt x="9" y="442"/>
                </a:lnTo>
                <a:lnTo>
                  <a:pt x="9" y="442"/>
                </a:lnTo>
                <a:lnTo>
                  <a:pt x="9" y="444"/>
                </a:lnTo>
                <a:lnTo>
                  <a:pt x="9" y="444"/>
                </a:lnTo>
                <a:lnTo>
                  <a:pt x="9" y="444"/>
                </a:lnTo>
                <a:lnTo>
                  <a:pt x="9" y="444"/>
                </a:lnTo>
                <a:lnTo>
                  <a:pt x="9" y="444"/>
                </a:lnTo>
                <a:lnTo>
                  <a:pt x="9" y="444"/>
                </a:lnTo>
                <a:lnTo>
                  <a:pt x="9" y="445"/>
                </a:lnTo>
                <a:lnTo>
                  <a:pt x="9" y="445"/>
                </a:lnTo>
                <a:lnTo>
                  <a:pt x="8" y="445"/>
                </a:lnTo>
                <a:lnTo>
                  <a:pt x="8" y="445"/>
                </a:lnTo>
                <a:lnTo>
                  <a:pt x="8" y="445"/>
                </a:lnTo>
                <a:lnTo>
                  <a:pt x="8" y="445"/>
                </a:lnTo>
                <a:lnTo>
                  <a:pt x="8" y="446"/>
                </a:lnTo>
                <a:lnTo>
                  <a:pt x="8" y="446"/>
                </a:lnTo>
                <a:lnTo>
                  <a:pt x="8" y="446"/>
                </a:lnTo>
                <a:lnTo>
                  <a:pt x="8" y="446"/>
                </a:lnTo>
                <a:lnTo>
                  <a:pt x="8" y="446"/>
                </a:lnTo>
                <a:lnTo>
                  <a:pt x="8" y="446"/>
                </a:lnTo>
                <a:lnTo>
                  <a:pt x="8" y="447"/>
                </a:lnTo>
                <a:lnTo>
                  <a:pt x="8" y="447"/>
                </a:lnTo>
                <a:lnTo>
                  <a:pt x="8" y="447"/>
                </a:lnTo>
                <a:lnTo>
                  <a:pt x="8" y="447"/>
                </a:lnTo>
                <a:lnTo>
                  <a:pt x="8" y="447"/>
                </a:lnTo>
                <a:lnTo>
                  <a:pt x="8" y="447"/>
                </a:lnTo>
                <a:lnTo>
                  <a:pt x="8" y="448"/>
                </a:lnTo>
                <a:lnTo>
                  <a:pt x="8" y="448"/>
                </a:lnTo>
                <a:lnTo>
                  <a:pt x="8" y="448"/>
                </a:lnTo>
                <a:lnTo>
                  <a:pt x="8" y="448"/>
                </a:lnTo>
                <a:lnTo>
                  <a:pt x="8" y="448"/>
                </a:lnTo>
                <a:lnTo>
                  <a:pt x="8" y="448"/>
                </a:lnTo>
                <a:lnTo>
                  <a:pt x="8" y="449"/>
                </a:lnTo>
                <a:lnTo>
                  <a:pt x="8" y="449"/>
                </a:lnTo>
                <a:lnTo>
                  <a:pt x="8" y="449"/>
                </a:lnTo>
                <a:lnTo>
                  <a:pt x="8" y="449"/>
                </a:lnTo>
                <a:lnTo>
                  <a:pt x="8" y="449"/>
                </a:lnTo>
                <a:lnTo>
                  <a:pt x="8" y="449"/>
                </a:lnTo>
                <a:lnTo>
                  <a:pt x="8" y="450"/>
                </a:lnTo>
                <a:lnTo>
                  <a:pt x="8" y="450"/>
                </a:lnTo>
                <a:lnTo>
                  <a:pt x="8" y="450"/>
                </a:lnTo>
                <a:lnTo>
                  <a:pt x="8" y="450"/>
                </a:lnTo>
                <a:lnTo>
                  <a:pt x="8" y="450"/>
                </a:lnTo>
                <a:lnTo>
                  <a:pt x="8" y="450"/>
                </a:lnTo>
                <a:lnTo>
                  <a:pt x="8" y="452"/>
                </a:lnTo>
                <a:lnTo>
                  <a:pt x="8" y="452"/>
                </a:lnTo>
                <a:lnTo>
                  <a:pt x="8" y="452"/>
                </a:lnTo>
                <a:lnTo>
                  <a:pt x="9" y="452"/>
                </a:lnTo>
                <a:lnTo>
                  <a:pt x="9" y="452"/>
                </a:lnTo>
                <a:lnTo>
                  <a:pt x="9" y="452"/>
                </a:lnTo>
                <a:lnTo>
                  <a:pt x="9" y="453"/>
                </a:lnTo>
                <a:lnTo>
                  <a:pt x="9" y="453"/>
                </a:lnTo>
                <a:lnTo>
                  <a:pt x="9" y="453"/>
                </a:lnTo>
                <a:lnTo>
                  <a:pt x="9" y="453"/>
                </a:lnTo>
                <a:lnTo>
                  <a:pt x="9" y="453"/>
                </a:lnTo>
                <a:lnTo>
                  <a:pt x="9" y="453"/>
                </a:lnTo>
                <a:lnTo>
                  <a:pt x="9" y="454"/>
                </a:lnTo>
                <a:lnTo>
                  <a:pt x="9" y="454"/>
                </a:lnTo>
                <a:lnTo>
                  <a:pt x="9" y="454"/>
                </a:lnTo>
                <a:lnTo>
                  <a:pt x="9" y="454"/>
                </a:lnTo>
                <a:lnTo>
                  <a:pt x="9" y="454"/>
                </a:lnTo>
                <a:lnTo>
                  <a:pt x="9" y="454"/>
                </a:lnTo>
                <a:lnTo>
                  <a:pt x="9" y="455"/>
                </a:lnTo>
                <a:lnTo>
                  <a:pt x="9" y="455"/>
                </a:lnTo>
                <a:lnTo>
                  <a:pt x="9" y="455"/>
                </a:lnTo>
                <a:lnTo>
                  <a:pt x="9" y="455"/>
                </a:lnTo>
                <a:lnTo>
                  <a:pt x="9" y="455"/>
                </a:lnTo>
                <a:lnTo>
                  <a:pt x="9" y="455"/>
                </a:lnTo>
                <a:lnTo>
                  <a:pt x="9" y="455"/>
                </a:lnTo>
                <a:lnTo>
                  <a:pt x="9" y="456"/>
                </a:lnTo>
                <a:lnTo>
                  <a:pt x="9" y="456"/>
                </a:lnTo>
                <a:lnTo>
                  <a:pt x="9" y="456"/>
                </a:lnTo>
                <a:lnTo>
                  <a:pt x="9" y="456"/>
                </a:lnTo>
                <a:lnTo>
                  <a:pt x="9" y="456"/>
                </a:lnTo>
                <a:lnTo>
                  <a:pt x="9" y="456"/>
                </a:lnTo>
                <a:lnTo>
                  <a:pt x="9" y="457"/>
                </a:lnTo>
                <a:lnTo>
                  <a:pt x="11" y="457"/>
                </a:lnTo>
                <a:lnTo>
                  <a:pt x="11" y="457"/>
                </a:lnTo>
                <a:lnTo>
                  <a:pt x="11" y="457"/>
                </a:lnTo>
                <a:lnTo>
                  <a:pt x="11" y="457"/>
                </a:lnTo>
                <a:lnTo>
                  <a:pt x="11" y="457"/>
                </a:lnTo>
                <a:lnTo>
                  <a:pt x="11" y="457"/>
                </a:lnTo>
                <a:lnTo>
                  <a:pt x="11" y="458"/>
                </a:lnTo>
                <a:lnTo>
                  <a:pt x="11" y="458"/>
                </a:lnTo>
                <a:lnTo>
                  <a:pt x="11" y="458"/>
                </a:lnTo>
                <a:lnTo>
                  <a:pt x="11" y="458"/>
                </a:lnTo>
                <a:lnTo>
                  <a:pt x="11" y="458"/>
                </a:lnTo>
                <a:lnTo>
                  <a:pt x="11" y="458"/>
                </a:lnTo>
                <a:lnTo>
                  <a:pt x="11" y="459"/>
                </a:lnTo>
                <a:lnTo>
                  <a:pt x="11" y="459"/>
                </a:lnTo>
                <a:lnTo>
                  <a:pt x="11" y="459"/>
                </a:lnTo>
                <a:lnTo>
                  <a:pt x="11" y="459"/>
                </a:lnTo>
                <a:lnTo>
                  <a:pt x="11" y="459"/>
                </a:lnTo>
                <a:lnTo>
                  <a:pt x="11" y="459"/>
                </a:lnTo>
                <a:lnTo>
                  <a:pt x="12" y="459"/>
                </a:lnTo>
                <a:lnTo>
                  <a:pt x="12" y="461"/>
                </a:lnTo>
                <a:lnTo>
                  <a:pt x="12" y="461"/>
                </a:lnTo>
                <a:lnTo>
                  <a:pt x="12" y="461"/>
                </a:lnTo>
                <a:lnTo>
                  <a:pt x="12" y="461"/>
                </a:lnTo>
                <a:lnTo>
                  <a:pt x="12" y="461"/>
                </a:lnTo>
                <a:lnTo>
                  <a:pt x="12" y="461"/>
                </a:lnTo>
                <a:lnTo>
                  <a:pt x="12" y="461"/>
                </a:lnTo>
                <a:lnTo>
                  <a:pt x="12" y="462"/>
                </a:lnTo>
                <a:lnTo>
                  <a:pt x="12" y="462"/>
                </a:lnTo>
                <a:lnTo>
                  <a:pt x="12" y="462"/>
                </a:lnTo>
                <a:lnTo>
                  <a:pt x="12" y="462"/>
                </a:lnTo>
                <a:lnTo>
                  <a:pt x="12" y="462"/>
                </a:lnTo>
                <a:lnTo>
                  <a:pt x="12" y="462"/>
                </a:lnTo>
                <a:lnTo>
                  <a:pt x="13" y="462"/>
                </a:lnTo>
                <a:lnTo>
                  <a:pt x="13" y="463"/>
                </a:lnTo>
                <a:lnTo>
                  <a:pt x="13" y="463"/>
                </a:lnTo>
                <a:lnTo>
                  <a:pt x="13" y="463"/>
                </a:lnTo>
                <a:lnTo>
                  <a:pt x="13" y="463"/>
                </a:lnTo>
                <a:lnTo>
                  <a:pt x="13" y="463"/>
                </a:lnTo>
                <a:lnTo>
                  <a:pt x="13" y="463"/>
                </a:lnTo>
                <a:lnTo>
                  <a:pt x="13" y="463"/>
                </a:lnTo>
                <a:lnTo>
                  <a:pt x="13" y="464"/>
                </a:lnTo>
                <a:lnTo>
                  <a:pt x="13" y="464"/>
                </a:lnTo>
                <a:lnTo>
                  <a:pt x="13" y="464"/>
                </a:lnTo>
                <a:lnTo>
                  <a:pt x="13" y="464"/>
                </a:lnTo>
                <a:lnTo>
                  <a:pt x="13" y="464"/>
                </a:lnTo>
                <a:lnTo>
                  <a:pt x="14" y="464"/>
                </a:lnTo>
                <a:lnTo>
                  <a:pt x="14" y="464"/>
                </a:lnTo>
                <a:lnTo>
                  <a:pt x="14" y="464"/>
                </a:lnTo>
                <a:lnTo>
                  <a:pt x="14" y="465"/>
                </a:lnTo>
                <a:lnTo>
                  <a:pt x="14" y="465"/>
                </a:lnTo>
                <a:lnTo>
                  <a:pt x="14" y="465"/>
                </a:lnTo>
                <a:lnTo>
                  <a:pt x="14" y="465"/>
                </a:lnTo>
                <a:lnTo>
                  <a:pt x="14" y="465"/>
                </a:lnTo>
                <a:lnTo>
                  <a:pt x="14" y="465"/>
                </a:lnTo>
                <a:lnTo>
                  <a:pt x="14" y="465"/>
                </a:lnTo>
                <a:lnTo>
                  <a:pt x="14" y="466"/>
                </a:lnTo>
                <a:lnTo>
                  <a:pt x="15" y="466"/>
                </a:lnTo>
                <a:lnTo>
                  <a:pt x="15" y="466"/>
                </a:lnTo>
                <a:lnTo>
                  <a:pt x="15" y="466"/>
                </a:lnTo>
                <a:lnTo>
                  <a:pt x="15" y="466"/>
                </a:lnTo>
                <a:lnTo>
                  <a:pt x="15" y="466"/>
                </a:lnTo>
                <a:lnTo>
                  <a:pt x="15" y="466"/>
                </a:lnTo>
                <a:lnTo>
                  <a:pt x="15" y="466"/>
                </a:lnTo>
                <a:lnTo>
                  <a:pt x="15" y="467"/>
                </a:lnTo>
                <a:lnTo>
                  <a:pt x="15" y="467"/>
                </a:lnTo>
                <a:lnTo>
                  <a:pt x="15" y="467"/>
                </a:lnTo>
                <a:lnTo>
                  <a:pt x="16" y="467"/>
                </a:lnTo>
                <a:lnTo>
                  <a:pt x="16" y="467"/>
                </a:lnTo>
                <a:lnTo>
                  <a:pt x="16" y="467"/>
                </a:lnTo>
                <a:lnTo>
                  <a:pt x="16" y="467"/>
                </a:lnTo>
                <a:lnTo>
                  <a:pt x="16" y="467"/>
                </a:lnTo>
                <a:lnTo>
                  <a:pt x="16" y="468"/>
                </a:lnTo>
                <a:lnTo>
                  <a:pt x="16" y="468"/>
                </a:lnTo>
                <a:lnTo>
                  <a:pt x="16" y="468"/>
                </a:lnTo>
                <a:lnTo>
                  <a:pt x="16" y="468"/>
                </a:lnTo>
                <a:lnTo>
                  <a:pt x="17" y="468"/>
                </a:lnTo>
                <a:lnTo>
                  <a:pt x="17" y="468"/>
                </a:lnTo>
                <a:lnTo>
                  <a:pt x="17" y="468"/>
                </a:lnTo>
                <a:lnTo>
                  <a:pt x="17" y="468"/>
                </a:lnTo>
                <a:lnTo>
                  <a:pt x="17" y="468"/>
                </a:lnTo>
                <a:lnTo>
                  <a:pt x="17" y="470"/>
                </a:lnTo>
                <a:lnTo>
                  <a:pt x="17" y="470"/>
                </a:lnTo>
                <a:lnTo>
                  <a:pt x="17" y="470"/>
                </a:lnTo>
                <a:lnTo>
                  <a:pt x="17" y="470"/>
                </a:lnTo>
                <a:lnTo>
                  <a:pt x="18" y="470"/>
                </a:lnTo>
                <a:lnTo>
                  <a:pt x="18" y="470"/>
                </a:lnTo>
                <a:lnTo>
                  <a:pt x="18" y="470"/>
                </a:lnTo>
                <a:lnTo>
                  <a:pt x="18" y="470"/>
                </a:lnTo>
                <a:lnTo>
                  <a:pt x="18" y="470"/>
                </a:lnTo>
                <a:lnTo>
                  <a:pt x="18" y="471"/>
                </a:lnTo>
                <a:lnTo>
                  <a:pt x="18" y="471"/>
                </a:lnTo>
                <a:lnTo>
                  <a:pt x="18" y="471"/>
                </a:lnTo>
                <a:lnTo>
                  <a:pt x="18" y="471"/>
                </a:lnTo>
                <a:lnTo>
                  <a:pt x="20" y="471"/>
                </a:lnTo>
                <a:lnTo>
                  <a:pt x="20" y="471"/>
                </a:lnTo>
                <a:lnTo>
                  <a:pt x="20" y="471"/>
                </a:lnTo>
                <a:lnTo>
                  <a:pt x="20" y="471"/>
                </a:lnTo>
                <a:lnTo>
                  <a:pt x="20" y="471"/>
                </a:lnTo>
                <a:lnTo>
                  <a:pt x="20" y="471"/>
                </a:lnTo>
                <a:lnTo>
                  <a:pt x="20" y="472"/>
                </a:lnTo>
                <a:lnTo>
                  <a:pt x="20" y="472"/>
                </a:lnTo>
                <a:lnTo>
                  <a:pt x="21" y="472"/>
                </a:lnTo>
                <a:lnTo>
                  <a:pt x="21" y="472"/>
                </a:lnTo>
                <a:lnTo>
                  <a:pt x="21" y="472"/>
                </a:lnTo>
                <a:lnTo>
                  <a:pt x="21" y="472"/>
                </a:lnTo>
                <a:lnTo>
                  <a:pt x="21" y="472"/>
                </a:lnTo>
                <a:lnTo>
                  <a:pt x="21" y="472"/>
                </a:lnTo>
                <a:lnTo>
                  <a:pt x="21" y="472"/>
                </a:lnTo>
                <a:lnTo>
                  <a:pt x="21" y="472"/>
                </a:lnTo>
                <a:lnTo>
                  <a:pt x="22" y="472"/>
                </a:lnTo>
                <a:lnTo>
                  <a:pt x="22" y="473"/>
                </a:lnTo>
                <a:lnTo>
                  <a:pt x="22" y="473"/>
                </a:lnTo>
                <a:lnTo>
                  <a:pt x="22" y="473"/>
                </a:lnTo>
                <a:lnTo>
                  <a:pt x="22" y="473"/>
                </a:lnTo>
                <a:lnTo>
                  <a:pt x="22" y="473"/>
                </a:lnTo>
                <a:lnTo>
                  <a:pt x="22" y="473"/>
                </a:lnTo>
                <a:lnTo>
                  <a:pt x="22" y="473"/>
                </a:lnTo>
                <a:lnTo>
                  <a:pt x="23" y="473"/>
                </a:lnTo>
                <a:lnTo>
                  <a:pt x="23" y="473"/>
                </a:lnTo>
                <a:lnTo>
                  <a:pt x="23" y="473"/>
                </a:lnTo>
                <a:lnTo>
                  <a:pt x="23" y="473"/>
                </a:lnTo>
                <a:lnTo>
                  <a:pt x="23" y="474"/>
                </a:lnTo>
                <a:lnTo>
                  <a:pt x="23" y="474"/>
                </a:lnTo>
                <a:lnTo>
                  <a:pt x="23" y="474"/>
                </a:lnTo>
                <a:lnTo>
                  <a:pt x="24" y="474"/>
                </a:lnTo>
                <a:lnTo>
                  <a:pt x="24" y="474"/>
                </a:lnTo>
                <a:lnTo>
                  <a:pt x="24" y="474"/>
                </a:lnTo>
                <a:lnTo>
                  <a:pt x="24" y="474"/>
                </a:lnTo>
                <a:lnTo>
                  <a:pt x="24" y="474"/>
                </a:lnTo>
                <a:lnTo>
                  <a:pt x="24" y="474"/>
                </a:lnTo>
                <a:lnTo>
                  <a:pt x="24" y="474"/>
                </a:lnTo>
                <a:lnTo>
                  <a:pt x="25" y="474"/>
                </a:lnTo>
                <a:lnTo>
                  <a:pt x="25" y="474"/>
                </a:lnTo>
                <a:lnTo>
                  <a:pt x="25" y="474"/>
                </a:lnTo>
                <a:lnTo>
                  <a:pt x="25" y="475"/>
                </a:lnTo>
                <a:lnTo>
                  <a:pt x="25" y="475"/>
                </a:lnTo>
                <a:lnTo>
                  <a:pt x="25" y="475"/>
                </a:lnTo>
                <a:lnTo>
                  <a:pt x="25" y="475"/>
                </a:lnTo>
                <a:lnTo>
                  <a:pt x="26" y="475"/>
                </a:lnTo>
                <a:lnTo>
                  <a:pt x="26" y="475"/>
                </a:lnTo>
                <a:lnTo>
                  <a:pt x="26" y="475"/>
                </a:lnTo>
                <a:lnTo>
                  <a:pt x="26" y="475"/>
                </a:lnTo>
                <a:lnTo>
                  <a:pt x="26" y="475"/>
                </a:lnTo>
                <a:lnTo>
                  <a:pt x="26" y="475"/>
                </a:lnTo>
                <a:lnTo>
                  <a:pt x="26" y="475"/>
                </a:lnTo>
                <a:lnTo>
                  <a:pt x="27" y="475"/>
                </a:lnTo>
                <a:lnTo>
                  <a:pt x="27" y="475"/>
                </a:lnTo>
                <a:lnTo>
                  <a:pt x="27" y="475"/>
                </a:lnTo>
                <a:lnTo>
                  <a:pt x="27" y="475"/>
                </a:lnTo>
                <a:lnTo>
                  <a:pt x="27" y="476"/>
                </a:lnTo>
                <a:lnTo>
                  <a:pt x="27" y="476"/>
                </a:lnTo>
                <a:lnTo>
                  <a:pt x="27" y="476"/>
                </a:lnTo>
                <a:lnTo>
                  <a:pt x="29" y="476"/>
                </a:lnTo>
                <a:lnTo>
                  <a:pt x="29" y="476"/>
                </a:lnTo>
                <a:lnTo>
                  <a:pt x="29" y="476"/>
                </a:lnTo>
                <a:lnTo>
                  <a:pt x="29" y="476"/>
                </a:lnTo>
                <a:lnTo>
                  <a:pt x="29" y="476"/>
                </a:lnTo>
                <a:lnTo>
                  <a:pt x="29" y="476"/>
                </a:lnTo>
                <a:lnTo>
                  <a:pt x="30" y="476"/>
                </a:lnTo>
                <a:lnTo>
                  <a:pt x="30" y="476"/>
                </a:lnTo>
                <a:lnTo>
                  <a:pt x="30" y="476"/>
                </a:lnTo>
                <a:lnTo>
                  <a:pt x="30" y="476"/>
                </a:lnTo>
                <a:lnTo>
                  <a:pt x="30" y="476"/>
                </a:lnTo>
                <a:lnTo>
                  <a:pt x="30" y="476"/>
                </a:lnTo>
                <a:lnTo>
                  <a:pt x="30" y="476"/>
                </a:lnTo>
                <a:lnTo>
                  <a:pt x="31" y="476"/>
                </a:lnTo>
                <a:lnTo>
                  <a:pt x="31" y="476"/>
                </a:lnTo>
                <a:lnTo>
                  <a:pt x="31" y="476"/>
                </a:lnTo>
                <a:lnTo>
                  <a:pt x="31" y="476"/>
                </a:lnTo>
                <a:lnTo>
                  <a:pt x="31" y="476"/>
                </a:lnTo>
                <a:lnTo>
                  <a:pt x="31" y="477"/>
                </a:lnTo>
                <a:lnTo>
                  <a:pt x="32" y="477"/>
                </a:lnTo>
                <a:lnTo>
                  <a:pt x="32" y="477"/>
                </a:lnTo>
                <a:lnTo>
                  <a:pt x="32" y="477"/>
                </a:lnTo>
                <a:lnTo>
                  <a:pt x="32" y="477"/>
                </a:lnTo>
                <a:lnTo>
                  <a:pt x="32" y="477"/>
                </a:lnTo>
                <a:lnTo>
                  <a:pt x="32" y="477"/>
                </a:lnTo>
                <a:lnTo>
                  <a:pt x="33" y="477"/>
                </a:lnTo>
                <a:lnTo>
                  <a:pt x="33" y="477"/>
                </a:lnTo>
                <a:lnTo>
                  <a:pt x="33" y="477"/>
                </a:lnTo>
                <a:lnTo>
                  <a:pt x="33" y="477"/>
                </a:lnTo>
                <a:lnTo>
                  <a:pt x="33" y="477"/>
                </a:lnTo>
                <a:lnTo>
                  <a:pt x="33" y="477"/>
                </a:lnTo>
                <a:lnTo>
                  <a:pt x="34" y="477"/>
                </a:lnTo>
                <a:lnTo>
                  <a:pt x="34" y="477"/>
                </a:lnTo>
                <a:lnTo>
                  <a:pt x="34" y="477"/>
                </a:lnTo>
                <a:lnTo>
                  <a:pt x="34" y="477"/>
                </a:lnTo>
                <a:lnTo>
                  <a:pt x="34" y="477"/>
                </a:lnTo>
                <a:lnTo>
                  <a:pt x="34" y="477"/>
                </a:lnTo>
                <a:lnTo>
                  <a:pt x="34" y="477"/>
                </a:lnTo>
                <a:lnTo>
                  <a:pt x="35" y="477"/>
                </a:lnTo>
                <a:lnTo>
                  <a:pt x="35" y="477"/>
                </a:lnTo>
                <a:lnTo>
                  <a:pt x="35" y="477"/>
                </a:lnTo>
                <a:lnTo>
                  <a:pt x="35" y="477"/>
                </a:lnTo>
                <a:lnTo>
                  <a:pt x="35" y="477"/>
                </a:lnTo>
                <a:lnTo>
                  <a:pt x="35" y="477"/>
                </a:lnTo>
                <a:lnTo>
                  <a:pt x="36" y="477"/>
                </a:lnTo>
                <a:lnTo>
                  <a:pt x="36" y="477"/>
                </a:lnTo>
                <a:lnTo>
                  <a:pt x="36" y="477"/>
                </a:lnTo>
                <a:lnTo>
                  <a:pt x="36" y="477"/>
                </a:lnTo>
                <a:lnTo>
                  <a:pt x="36" y="477"/>
                </a:lnTo>
                <a:lnTo>
                  <a:pt x="36" y="477"/>
                </a:lnTo>
                <a:lnTo>
                  <a:pt x="38" y="477"/>
                </a:lnTo>
                <a:lnTo>
                  <a:pt x="38" y="477"/>
                </a:lnTo>
                <a:lnTo>
                  <a:pt x="38" y="477"/>
                </a:lnTo>
                <a:lnTo>
                  <a:pt x="38" y="477"/>
                </a:lnTo>
                <a:lnTo>
                  <a:pt x="38" y="477"/>
                </a:lnTo>
                <a:lnTo>
                  <a:pt x="39" y="477"/>
                </a:lnTo>
                <a:lnTo>
                  <a:pt x="39" y="477"/>
                </a:lnTo>
                <a:lnTo>
                  <a:pt x="39" y="477"/>
                </a:lnTo>
                <a:lnTo>
                  <a:pt x="39" y="477"/>
                </a:lnTo>
                <a:lnTo>
                  <a:pt x="39" y="477"/>
                </a:lnTo>
                <a:lnTo>
                  <a:pt x="39" y="477"/>
                </a:lnTo>
                <a:lnTo>
                  <a:pt x="40" y="477"/>
                </a:lnTo>
                <a:lnTo>
                  <a:pt x="40" y="477"/>
                </a:lnTo>
                <a:lnTo>
                  <a:pt x="40" y="477"/>
                </a:lnTo>
                <a:lnTo>
                  <a:pt x="40" y="477"/>
                </a:lnTo>
                <a:lnTo>
                  <a:pt x="40" y="477"/>
                </a:lnTo>
                <a:lnTo>
                  <a:pt x="40" y="477"/>
                </a:lnTo>
                <a:lnTo>
                  <a:pt x="41" y="477"/>
                </a:lnTo>
                <a:lnTo>
                  <a:pt x="41" y="477"/>
                </a:lnTo>
                <a:lnTo>
                  <a:pt x="41" y="477"/>
                </a:lnTo>
                <a:lnTo>
                  <a:pt x="41" y="477"/>
                </a:lnTo>
                <a:lnTo>
                  <a:pt x="41" y="477"/>
                </a:lnTo>
                <a:lnTo>
                  <a:pt x="41" y="477"/>
                </a:lnTo>
                <a:lnTo>
                  <a:pt x="42" y="477"/>
                </a:lnTo>
                <a:lnTo>
                  <a:pt x="42" y="477"/>
                </a:lnTo>
                <a:lnTo>
                  <a:pt x="42" y="477"/>
                </a:lnTo>
                <a:lnTo>
                  <a:pt x="42" y="477"/>
                </a:lnTo>
                <a:lnTo>
                  <a:pt x="42" y="477"/>
                </a:lnTo>
                <a:lnTo>
                  <a:pt x="42" y="477"/>
                </a:lnTo>
                <a:lnTo>
                  <a:pt x="43" y="477"/>
                </a:lnTo>
                <a:lnTo>
                  <a:pt x="43" y="477"/>
                </a:lnTo>
                <a:lnTo>
                  <a:pt x="43" y="477"/>
                </a:lnTo>
                <a:lnTo>
                  <a:pt x="43" y="477"/>
                </a:lnTo>
                <a:lnTo>
                  <a:pt x="43" y="477"/>
                </a:lnTo>
                <a:lnTo>
                  <a:pt x="43" y="477"/>
                </a:lnTo>
                <a:lnTo>
                  <a:pt x="44" y="477"/>
                </a:lnTo>
                <a:lnTo>
                  <a:pt x="44" y="477"/>
                </a:lnTo>
                <a:lnTo>
                  <a:pt x="44" y="477"/>
                </a:lnTo>
                <a:lnTo>
                  <a:pt x="44" y="477"/>
                </a:lnTo>
                <a:lnTo>
                  <a:pt x="44" y="477"/>
                </a:lnTo>
                <a:lnTo>
                  <a:pt x="44" y="477"/>
                </a:lnTo>
                <a:lnTo>
                  <a:pt x="44" y="477"/>
                </a:lnTo>
                <a:lnTo>
                  <a:pt x="46" y="477"/>
                </a:lnTo>
                <a:lnTo>
                  <a:pt x="46" y="477"/>
                </a:lnTo>
                <a:lnTo>
                  <a:pt x="46" y="477"/>
                </a:lnTo>
                <a:lnTo>
                  <a:pt x="46" y="476"/>
                </a:lnTo>
                <a:lnTo>
                  <a:pt x="46" y="476"/>
                </a:lnTo>
                <a:lnTo>
                  <a:pt x="46" y="476"/>
                </a:lnTo>
                <a:lnTo>
                  <a:pt x="47" y="476"/>
                </a:lnTo>
                <a:lnTo>
                  <a:pt x="47" y="476"/>
                </a:lnTo>
                <a:lnTo>
                  <a:pt x="47" y="476"/>
                </a:lnTo>
                <a:lnTo>
                  <a:pt x="47" y="476"/>
                </a:lnTo>
                <a:lnTo>
                  <a:pt x="47" y="476"/>
                </a:lnTo>
                <a:lnTo>
                  <a:pt x="47" y="476"/>
                </a:lnTo>
                <a:lnTo>
                  <a:pt x="48" y="476"/>
                </a:lnTo>
                <a:lnTo>
                  <a:pt x="48" y="476"/>
                </a:lnTo>
                <a:lnTo>
                  <a:pt x="48" y="476"/>
                </a:lnTo>
                <a:lnTo>
                  <a:pt x="48" y="476"/>
                </a:lnTo>
                <a:lnTo>
                  <a:pt x="48" y="476"/>
                </a:lnTo>
                <a:lnTo>
                  <a:pt x="48" y="476"/>
                </a:lnTo>
                <a:lnTo>
                  <a:pt x="48" y="476"/>
                </a:lnTo>
                <a:lnTo>
                  <a:pt x="49" y="476"/>
                </a:lnTo>
                <a:lnTo>
                  <a:pt x="49" y="476"/>
                </a:lnTo>
                <a:lnTo>
                  <a:pt x="49" y="476"/>
                </a:lnTo>
                <a:lnTo>
                  <a:pt x="49" y="476"/>
                </a:lnTo>
                <a:lnTo>
                  <a:pt x="49" y="476"/>
                </a:lnTo>
                <a:lnTo>
                  <a:pt x="49" y="475"/>
                </a:lnTo>
                <a:lnTo>
                  <a:pt x="49" y="475"/>
                </a:lnTo>
                <a:lnTo>
                  <a:pt x="50" y="475"/>
                </a:lnTo>
                <a:lnTo>
                  <a:pt x="50" y="475"/>
                </a:lnTo>
                <a:lnTo>
                  <a:pt x="50" y="475"/>
                </a:lnTo>
                <a:lnTo>
                  <a:pt x="50" y="475"/>
                </a:lnTo>
                <a:lnTo>
                  <a:pt x="50" y="475"/>
                </a:lnTo>
                <a:lnTo>
                  <a:pt x="50" y="475"/>
                </a:lnTo>
                <a:lnTo>
                  <a:pt x="51" y="475"/>
                </a:lnTo>
                <a:lnTo>
                  <a:pt x="51" y="475"/>
                </a:lnTo>
                <a:lnTo>
                  <a:pt x="51" y="475"/>
                </a:lnTo>
                <a:lnTo>
                  <a:pt x="51" y="475"/>
                </a:lnTo>
                <a:lnTo>
                  <a:pt x="51" y="475"/>
                </a:lnTo>
                <a:lnTo>
                  <a:pt x="51" y="475"/>
                </a:lnTo>
                <a:lnTo>
                  <a:pt x="51" y="475"/>
                </a:lnTo>
                <a:lnTo>
                  <a:pt x="52" y="474"/>
                </a:lnTo>
                <a:lnTo>
                  <a:pt x="52" y="474"/>
                </a:lnTo>
                <a:lnTo>
                  <a:pt x="52" y="474"/>
                </a:lnTo>
                <a:lnTo>
                  <a:pt x="52" y="474"/>
                </a:lnTo>
                <a:lnTo>
                  <a:pt x="52" y="474"/>
                </a:lnTo>
                <a:lnTo>
                  <a:pt x="52" y="474"/>
                </a:lnTo>
                <a:lnTo>
                  <a:pt x="52" y="474"/>
                </a:lnTo>
                <a:lnTo>
                  <a:pt x="53" y="474"/>
                </a:lnTo>
                <a:lnTo>
                  <a:pt x="53" y="474"/>
                </a:lnTo>
                <a:lnTo>
                  <a:pt x="53" y="474"/>
                </a:lnTo>
                <a:lnTo>
                  <a:pt x="53" y="474"/>
                </a:lnTo>
                <a:lnTo>
                  <a:pt x="53" y="474"/>
                </a:lnTo>
                <a:lnTo>
                  <a:pt x="53" y="474"/>
                </a:lnTo>
                <a:lnTo>
                  <a:pt x="53" y="473"/>
                </a:lnTo>
                <a:lnTo>
                  <a:pt x="53" y="473"/>
                </a:lnTo>
                <a:lnTo>
                  <a:pt x="55" y="473"/>
                </a:lnTo>
                <a:lnTo>
                  <a:pt x="55" y="473"/>
                </a:lnTo>
                <a:lnTo>
                  <a:pt x="55" y="473"/>
                </a:lnTo>
                <a:lnTo>
                  <a:pt x="55" y="473"/>
                </a:lnTo>
                <a:lnTo>
                  <a:pt x="55" y="473"/>
                </a:lnTo>
                <a:lnTo>
                  <a:pt x="55" y="473"/>
                </a:lnTo>
                <a:lnTo>
                  <a:pt x="55" y="473"/>
                </a:lnTo>
                <a:lnTo>
                  <a:pt x="56" y="473"/>
                </a:lnTo>
                <a:lnTo>
                  <a:pt x="56" y="473"/>
                </a:lnTo>
                <a:lnTo>
                  <a:pt x="56" y="472"/>
                </a:lnTo>
                <a:lnTo>
                  <a:pt x="56" y="472"/>
                </a:lnTo>
                <a:lnTo>
                  <a:pt x="56" y="472"/>
                </a:lnTo>
                <a:lnTo>
                  <a:pt x="56" y="472"/>
                </a:lnTo>
                <a:lnTo>
                  <a:pt x="56" y="472"/>
                </a:lnTo>
                <a:lnTo>
                  <a:pt x="56" y="472"/>
                </a:lnTo>
                <a:lnTo>
                  <a:pt x="57" y="472"/>
                </a:lnTo>
                <a:lnTo>
                  <a:pt x="57" y="472"/>
                </a:lnTo>
                <a:lnTo>
                  <a:pt x="57" y="472"/>
                </a:lnTo>
                <a:lnTo>
                  <a:pt x="57" y="472"/>
                </a:lnTo>
                <a:lnTo>
                  <a:pt x="57" y="472"/>
                </a:lnTo>
                <a:lnTo>
                  <a:pt x="57" y="471"/>
                </a:lnTo>
                <a:lnTo>
                  <a:pt x="57" y="471"/>
                </a:lnTo>
                <a:lnTo>
                  <a:pt x="57" y="471"/>
                </a:lnTo>
                <a:lnTo>
                  <a:pt x="58" y="471"/>
                </a:lnTo>
                <a:lnTo>
                  <a:pt x="58" y="471"/>
                </a:lnTo>
                <a:lnTo>
                  <a:pt x="58" y="471"/>
                </a:lnTo>
                <a:lnTo>
                  <a:pt x="58" y="471"/>
                </a:lnTo>
                <a:lnTo>
                  <a:pt x="58" y="471"/>
                </a:lnTo>
                <a:lnTo>
                  <a:pt x="58" y="471"/>
                </a:lnTo>
                <a:lnTo>
                  <a:pt x="58" y="471"/>
                </a:lnTo>
                <a:lnTo>
                  <a:pt x="58" y="470"/>
                </a:lnTo>
                <a:lnTo>
                  <a:pt x="59" y="470"/>
                </a:lnTo>
                <a:lnTo>
                  <a:pt x="59" y="470"/>
                </a:lnTo>
                <a:lnTo>
                  <a:pt x="59" y="470"/>
                </a:lnTo>
                <a:lnTo>
                  <a:pt x="59" y="470"/>
                </a:lnTo>
                <a:lnTo>
                  <a:pt x="59" y="470"/>
                </a:lnTo>
                <a:lnTo>
                  <a:pt x="59" y="470"/>
                </a:lnTo>
                <a:lnTo>
                  <a:pt x="59" y="470"/>
                </a:lnTo>
                <a:lnTo>
                  <a:pt x="59" y="470"/>
                </a:lnTo>
                <a:lnTo>
                  <a:pt x="59" y="468"/>
                </a:lnTo>
                <a:lnTo>
                  <a:pt x="60" y="468"/>
                </a:lnTo>
                <a:lnTo>
                  <a:pt x="60" y="468"/>
                </a:lnTo>
                <a:lnTo>
                  <a:pt x="60" y="468"/>
                </a:lnTo>
                <a:lnTo>
                  <a:pt x="60" y="468"/>
                </a:lnTo>
                <a:lnTo>
                  <a:pt x="60" y="468"/>
                </a:lnTo>
                <a:lnTo>
                  <a:pt x="60" y="468"/>
                </a:lnTo>
                <a:lnTo>
                  <a:pt x="60" y="468"/>
                </a:lnTo>
                <a:lnTo>
                  <a:pt x="60" y="468"/>
                </a:lnTo>
                <a:lnTo>
                  <a:pt x="60" y="467"/>
                </a:lnTo>
                <a:lnTo>
                  <a:pt x="61" y="467"/>
                </a:lnTo>
                <a:lnTo>
                  <a:pt x="61" y="467"/>
                </a:lnTo>
                <a:lnTo>
                  <a:pt x="61" y="467"/>
                </a:lnTo>
                <a:lnTo>
                  <a:pt x="61" y="467"/>
                </a:lnTo>
                <a:lnTo>
                  <a:pt x="61" y="467"/>
                </a:lnTo>
                <a:lnTo>
                  <a:pt x="61" y="467"/>
                </a:lnTo>
                <a:lnTo>
                  <a:pt x="61" y="467"/>
                </a:lnTo>
                <a:lnTo>
                  <a:pt x="61" y="466"/>
                </a:lnTo>
                <a:lnTo>
                  <a:pt x="61" y="466"/>
                </a:lnTo>
                <a:lnTo>
                  <a:pt x="61" y="466"/>
                </a:lnTo>
                <a:lnTo>
                  <a:pt x="62" y="466"/>
                </a:lnTo>
                <a:lnTo>
                  <a:pt x="62" y="466"/>
                </a:lnTo>
                <a:lnTo>
                  <a:pt x="62" y="466"/>
                </a:lnTo>
                <a:lnTo>
                  <a:pt x="62" y="466"/>
                </a:lnTo>
                <a:lnTo>
                  <a:pt x="62" y="466"/>
                </a:lnTo>
                <a:lnTo>
                  <a:pt x="62" y="465"/>
                </a:lnTo>
                <a:lnTo>
                  <a:pt x="62" y="465"/>
                </a:lnTo>
                <a:lnTo>
                  <a:pt x="62" y="465"/>
                </a:lnTo>
                <a:lnTo>
                  <a:pt x="62" y="465"/>
                </a:lnTo>
                <a:lnTo>
                  <a:pt x="62" y="465"/>
                </a:lnTo>
                <a:lnTo>
                  <a:pt x="62" y="465"/>
                </a:lnTo>
                <a:lnTo>
                  <a:pt x="64" y="465"/>
                </a:lnTo>
                <a:lnTo>
                  <a:pt x="64" y="464"/>
                </a:lnTo>
                <a:lnTo>
                  <a:pt x="64" y="464"/>
                </a:lnTo>
                <a:lnTo>
                  <a:pt x="64" y="464"/>
                </a:lnTo>
                <a:lnTo>
                  <a:pt x="64" y="464"/>
                </a:lnTo>
                <a:lnTo>
                  <a:pt x="64" y="464"/>
                </a:lnTo>
                <a:lnTo>
                  <a:pt x="64" y="464"/>
                </a:lnTo>
                <a:lnTo>
                  <a:pt x="64" y="464"/>
                </a:lnTo>
                <a:lnTo>
                  <a:pt x="64" y="464"/>
                </a:lnTo>
                <a:lnTo>
                  <a:pt x="64" y="463"/>
                </a:lnTo>
                <a:lnTo>
                  <a:pt x="64" y="463"/>
                </a:lnTo>
                <a:lnTo>
                  <a:pt x="64" y="463"/>
                </a:lnTo>
                <a:lnTo>
                  <a:pt x="65" y="463"/>
                </a:lnTo>
                <a:lnTo>
                  <a:pt x="65" y="463"/>
                </a:lnTo>
                <a:lnTo>
                  <a:pt x="65" y="463"/>
                </a:lnTo>
                <a:lnTo>
                  <a:pt x="65" y="463"/>
                </a:lnTo>
                <a:lnTo>
                  <a:pt x="65" y="462"/>
                </a:lnTo>
                <a:lnTo>
                  <a:pt x="65" y="462"/>
                </a:lnTo>
                <a:lnTo>
                  <a:pt x="65" y="462"/>
                </a:lnTo>
                <a:lnTo>
                  <a:pt x="65" y="462"/>
                </a:lnTo>
                <a:lnTo>
                  <a:pt x="65" y="462"/>
                </a:lnTo>
                <a:lnTo>
                  <a:pt x="65" y="462"/>
                </a:lnTo>
                <a:lnTo>
                  <a:pt x="65" y="462"/>
                </a:lnTo>
                <a:lnTo>
                  <a:pt x="65" y="461"/>
                </a:lnTo>
                <a:lnTo>
                  <a:pt x="65" y="461"/>
                </a:lnTo>
                <a:lnTo>
                  <a:pt x="66" y="461"/>
                </a:lnTo>
                <a:lnTo>
                  <a:pt x="66" y="461"/>
                </a:lnTo>
                <a:lnTo>
                  <a:pt x="66" y="461"/>
                </a:lnTo>
                <a:lnTo>
                  <a:pt x="66" y="461"/>
                </a:lnTo>
                <a:lnTo>
                  <a:pt x="66" y="461"/>
                </a:lnTo>
                <a:lnTo>
                  <a:pt x="66" y="459"/>
                </a:lnTo>
                <a:lnTo>
                  <a:pt x="66" y="459"/>
                </a:lnTo>
                <a:lnTo>
                  <a:pt x="66" y="459"/>
                </a:lnTo>
                <a:lnTo>
                  <a:pt x="66" y="459"/>
                </a:lnTo>
                <a:lnTo>
                  <a:pt x="66" y="459"/>
                </a:lnTo>
                <a:lnTo>
                  <a:pt x="66" y="459"/>
                </a:lnTo>
                <a:lnTo>
                  <a:pt x="66" y="459"/>
                </a:lnTo>
                <a:lnTo>
                  <a:pt x="66" y="458"/>
                </a:lnTo>
                <a:lnTo>
                  <a:pt x="66" y="458"/>
                </a:lnTo>
                <a:lnTo>
                  <a:pt x="66" y="458"/>
                </a:lnTo>
                <a:lnTo>
                  <a:pt x="66" y="458"/>
                </a:lnTo>
                <a:lnTo>
                  <a:pt x="67" y="458"/>
                </a:lnTo>
                <a:lnTo>
                  <a:pt x="67" y="458"/>
                </a:lnTo>
                <a:lnTo>
                  <a:pt x="67" y="457"/>
                </a:lnTo>
                <a:lnTo>
                  <a:pt x="67" y="457"/>
                </a:lnTo>
                <a:lnTo>
                  <a:pt x="67" y="457"/>
                </a:lnTo>
                <a:lnTo>
                  <a:pt x="67" y="457"/>
                </a:lnTo>
                <a:lnTo>
                  <a:pt x="67" y="457"/>
                </a:lnTo>
                <a:lnTo>
                  <a:pt x="67" y="457"/>
                </a:lnTo>
                <a:lnTo>
                  <a:pt x="67" y="457"/>
                </a:lnTo>
                <a:lnTo>
                  <a:pt x="67" y="456"/>
                </a:lnTo>
                <a:lnTo>
                  <a:pt x="67" y="456"/>
                </a:lnTo>
                <a:lnTo>
                  <a:pt x="67" y="456"/>
                </a:lnTo>
                <a:lnTo>
                  <a:pt x="67" y="456"/>
                </a:lnTo>
                <a:lnTo>
                  <a:pt x="67" y="456"/>
                </a:lnTo>
                <a:lnTo>
                  <a:pt x="67" y="456"/>
                </a:lnTo>
                <a:lnTo>
                  <a:pt x="67" y="455"/>
                </a:lnTo>
                <a:lnTo>
                  <a:pt x="67" y="455"/>
                </a:lnTo>
                <a:lnTo>
                  <a:pt x="67" y="455"/>
                </a:lnTo>
                <a:lnTo>
                  <a:pt x="67" y="455"/>
                </a:lnTo>
                <a:lnTo>
                  <a:pt x="67" y="455"/>
                </a:lnTo>
                <a:lnTo>
                  <a:pt x="67" y="455"/>
                </a:lnTo>
                <a:lnTo>
                  <a:pt x="67" y="455"/>
                </a:lnTo>
                <a:lnTo>
                  <a:pt x="67" y="454"/>
                </a:lnTo>
                <a:lnTo>
                  <a:pt x="68" y="454"/>
                </a:lnTo>
                <a:lnTo>
                  <a:pt x="68" y="454"/>
                </a:lnTo>
                <a:lnTo>
                  <a:pt x="68" y="454"/>
                </a:lnTo>
                <a:lnTo>
                  <a:pt x="68" y="454"/>
                </a:lnTo>
                <a:lnTo>
                  <a:pt x="68" y="454"/>
                </a:lnTo>
                <a:lnTo>
                  <a:pt x="68" y="453"/>
                </a:lnTo>
                <a:lnTo>
                  <a:pt x="68" y="453"/>
                </a:lnTo>
                <a:lnTo>
                  <a:pt x="68" y="453"/>
                </a:lnTo>
                <a:lnTo>
                  <a:pt x="68" y="453"/>
                </a:lnTo>
                <a:lnTo>
                  <a:pt x="68" y="453"/>
                </a:lnTo>
                <a:lnTo>
                  <a:pt x="68" y="453"/>
                </a:lnTo>
                <a:lnTo>
                  <a:pt x="68" y="452"/>
                </a:lnTo>
                <a:lnTo>
                  <a:pt x="68" y="452"/>
                </a:lnTo>
                <a:lnTo>
                  <a:pt x="68" y="452"/>
                </a:lnTo>
                <a:lnTo>
                  <a:pt x="68" y="452"/>
                </a:lnTo>
                <a:lnTo>
                  <a:pt x="68" y="452"/>
                </a:lnTo>
                <a:lnTo>
                  <a:pt x="68" y="452"/>
                </a:lnTo>
                <a:lnTo>
                  <a:pt x="68" y="450"/>
                </a:lnTo>
                <a:lnTo>
                  <a:pt x="68" y="450"/>
                </a:lnTo>
                <a:lnTo>
                  <a:pt x="68" y="450"/>
                </a:lnTo>
                <a:lnTo>
                  <a:pt x="68" y="450"/>
                </a:lnTo>
                <a:lnTo>
                  <a:pt x="68" y="450"/>
                </a:lnTo>
                <a:lnTo>
                  <a:pt x="68" y="450"/>
                </a:lnTo>
                <a:lnTo>
                  <a:pt x="68" y="449"/>
                </a:lnTo>
                <a:lnTo>
                  <a:pt x="68" y="449"/>
                </a:lnTo>
                <a:lnTo>
                  <a:pt x="68" y="449"/>
                </a:lnTo>
                <a:lnTo>
                  <a:pt x="68" y="449"/>
                </a:lnTo>
                <a:lnTo>
                  <a:pt x="68" y="449"/>
                </a:lnTo>
                <a:lnTo>
                  <a:pt x="68" y="449"/>
                </a:lnTo>
                <a:lnTo>
                  <a:pt x="68" y="448"/>
                </a:lnTo>
                <a:lnTo>
                  <a:pt x="68" y="448"/>
                </a:lnTo>
                <a:lnTo>
                  <a:pt x="68" y="448"/>
                </a:lnTo>
                <a:lnTo>
                  <a:pt x="68" y="448"/>
                </a:lnTo>
                <a:lnTo>
                  <a:pt x="68" y="448"/>
                </a:lnTo>
                <a:close/>
                <a:moveTo>
                  <a:pt x="39" y="411"/>
                </a:moveTo>
                <a:lnTo>
                  <a:pt x="39" y="411"/>
                </a:lnTo>
                <a:lnTo>
                  <a:pt x="39" y="411"/>
                </a:lnTo>
                <a:lnTo>
                  <a:pt x="39" y="411"/>
                </a:lnTo>
                <a:lnTo>
                  <a:pt x="40" y="411"/>
                </a:lnTo>
                <a:lnTo>
                  <a:pt x="40" y="411"/>
                </a:lnTo>
                <a:lnTo>
                  <a:pt x="40" y="411"/>
                </a:lnTo>
                <a:lnTo>
                  <a:pt x="40" y="411"/>
                </a:lnTo>
                <a:lnTo>
                  <a:pt x="40" y="411"/>
                </a:lnTo>
                <a:lnTo>
                  <a:pt x="41" y="411"/>
                </a:lnTo>
                <a:lnTo>
                  <a:pt x="41" y="411"/>
                </a:lnTo>
                <a:lnTo>
                  <a:pt x="41" y="411"/>
                </a:lnTo>
                <a:lnTo>
                  <a:pt x="41" y="411"/>
                </a:lnTo>
                <a:lnTo>
                  <a:pt x="41" y="411"/>
                </a:lnTo>
                <a:lnTo>
                  <a:pt x="42" y="411"/>
                </a:lnTo>
                <a:lnTo>
                  <a:pt x="42" y="411"/>
                </a:lnTo>
                <a:lnTo>
                  <a:pt x="42" y="411"/>
                </a:lnTo>
                <a:lnTo>
                  <a:pt x="42" y="411"/>
                </a:lnTo>
                <a:lnTo>
                  <a:pt x="43" y="411"/>
                </a:lnTo>
                <a:lnTo>
                  <a:pt x="43" y="411"/>
                </a:lnTo>
                <a:lnTo>
                  <a:pt x="43" y="411"/>
                </a:lnTo>
                <a:lnTo>
                  <a:pt x="43" y="411"/>
                </a:lnTo>
                <a:lnTo>
                  <a:pt x="43" y="411"/>
                </a:lnTo>
                <a:lnTo>
                  <a:pt x="44" y="411"/>
                </a:lnTo>
                <a:lnTo>
                  <a:pt x="44" y="411"/>
                </a:lnTo>
                <a:lnTo>
                  <a:pt x="44" y="411"/>
                </a:lnTo>
                <a:lnTo>
                  <a:pt x="44" y="411"/>
                </a:lnTo>
                <a:lnTo>
                  <a:pt x="44" y="411"/>
                </a:lnTo>
                <a:lnTo>
                  <a:pt x="46" y="411"/>
                </a:lnTo>
                <a:lnTo>
                  <a:pt x="46" y="411"/>
                </a:lnTo>
                <a:lnTo>
                  <a:pt x="46" y="411"/>
                </a:lnTo>
                <a:lnTo>
                  <a:pt x="46" y="411"/>
                </a:lnTo>
                <a:lnTo>
                  <a:pt x="46" y="411"/>
                </a:lnTo>
                <a:lnTo>
                  <a:pt x="47" y="411"/>
                </a:lnTo>
                <a:lnTo>
                  <a:pt x="47" y="411"/>
                </a:lnTo>
                <a:lnTo>
                  <a:pt x="47" y="411"/>
                </a:lnTo>
                <a:lnTo>
                  <a:pt x="47" y="411"/>
                </a:lnTo>
                <a:lnTo>
                  <a:pt x="47" y="411"/>
                </a:lnTo>
                <a:lnTo>
                  <a:pt x="48" y="411"/>
                </a:lnTo>
                <a:lnTo>
                  <a:pt x="48" y="412"/>
                </a:lnTo>
                <a:lnTo>
                  <a:pt x="48" y="412"/>
                </a:lnTo>
                <a:lnTo>
                  <a:pt x="48" y="412"/>
                </a:lnTo>
                <a:lnTo>
                  <a:pt x="48" y="412"/>
                </a:lnTo>
                <a:lnTo>
                  <a:pt x="49" y="412"/>
                </a:lnTo>
                <a:lnTo>
                  <a:pt x="49" y="412"/>
                </a:lnTo>
                <a:lnTo>
                  <a:pt x="49" y="412"/>
                </a:lnTo>
                <a:lnTo>
                  <a:pt x="49" y="412"/>
                </a:lnTo>
                <a:lnTo>
                  <a:pt x="49" y="412"/>
                </a:lnTo>
                <a:lnTo>
                  <a:pt x="50" y="412"/>
                </a:lnTo>
                <a:lnTo>
                  <a:pt x="50" y="412"/>
                </a:lnTo>
                <a:lnTo>
                  <a:pt x="50" y="412"/>
                </a:lnTo>
                <a:lnTo>
                  <a:pt x="50" y="412"/>
                </a:lnTo>
                <a:lnTo>
                  <a:pt x="50" y="412"/>
                </a:lnTo>
                <a:lnTo>
                  <a:pt x="51" y="412"/>
                </a:lnTo>
                <a:lnTo>
                  <a:pt x="51" y="412"/>
                </a:lnTo>
                <a:lnTo>
                  <a:pt x="51" y="412"/>
                </a:lnTo>
                <a:lnTo>
                  <a:pt x="51" y="413"/>
                </a:lnTo>
                <a:lnTo>
                  <a:pt x="51" y="413"/>
                </a:lnTo>
                <a:lnTo>
                  <a:pt x="52" y="413"/>
                </a:lnTo>
                <a:lnTo>
                  <a:pt x="52" y="413"/>
                </a:lnTo>
                <a:lnTo>
                  <a:pt x="52" y="413"/>
                </a:lnTo>
                <a:lnTo>
                  <a:pt x="52" y="413"/>
                </a:lnTo>
                <a:lnTo>
                  <a:pt x="52" y="413"/>
                </a:lnTo>
                <a:lnTo>
                  <a:pt x="52" y="413"/>
                </a:lnTo>
                <a:lnTo>
                  <a:pt x="53" y="413"/>
                </a:lnTo>
                <a:lnTo>
                  <a:pt x="53" y="413"/>
                </a:lnTo>
                <a:lnTo>
                  <a:pt x="53" y="413"/>
                </a:lnTo>
                <a:lnTo>
                  <a:pt x="53" y="413"/>
                </a:lnTo>
                <a:lnTo>
                  <a:pt x="53" y="413"/>
                </a:lnTo>
                <a:lnTo>
                  <a:pt x="55" y="414"/>
                </a:lnTo>
                <a:lnTo>
                  <a:pt x="55" y="414"/>
                </a:lnTo>
                <a:lnTo>
                  <a:pt x="55" y="414"/>
                </a:lnTo>
                <a:lnTo>
                  <a:pt x="55" y="414"/>
                </a:lnTo>
                <a:lnTo>
                  <a:pt x="55" y="414"/>
                </a:lnTo>
                <a:lnTo>
                  <a:pt x="56" y="414"/>
                </a:lnTo>
                <a:lnTo>
                  <a:pt x="56" y="414"/>
                </a:lnTo>
                <a:lnTo>
                  <a:pt x="56" y="414"/>
                </a:lnTo>
                <a:lnTo>
                  <a:pt x="56" y="414"/>
                </a:lnTo>
                <a:lnTo>
                  <a:pt x="56" y="414"/>
                </a:lnTo>
                <a:lnTo>
                  <a:pt x="56" y="414"/>
                </a:lnTo>
                <a:lnTo>
                  <a:pt x="57" y="415"/>
                </a:lnTo>
                <a:lnTo>
                  <a:pt x="57" y="415"/>
                </a:lnTo>
                <a:lnTo>
                  <a:pt x="57" y="415"/>
                </a:lnTo>
                <a:lnTo>
                  <a:pt x="57" y="415"/>
                </a:lnTo>
                <a:lnTo>
                  <a:pt x="57" y="415"/>
                </a:lnTo>
                <a:lnTo>
                  <a:pt x="57" y="415"/>
                </a:lnTo>
                <a:lnTo>
                  <a:pt x="58" y="415"/>
                </a:lnTo>
                <a:lnTo>
                  <a:pt x="58" y="415"/>
                </a:lnTo>
                <a:lnTo>
                  <a:pt x="58" y="415"/>
                </a:lnTo>
                <a:lnTo>
                  <a:pt x="58" y="415"/>
                </a:lnTo>
                <a:lnTo>
                  <a:pt x="58" y="417"/>
                </a:lnTo>
                <a:lnTo>
                  <a:pt x="59" y="417"/>
                </a:lnTo>
                <a:lnTo>
                  <a:pt x="59" y="417"/>
                </a:lnTo>
                <a:lnTo>
                  <a:pt x="59" y="417"/>
                </a:lnTo>
                <a:lnTo>
                  <a:pt x="59" y="417"/>
                </a:lnTo>
                <a:lnTo>
                  <a:pt x="59" y="417"/>
                </a:lnTo>
                <a:lnTo>
                  <a:pt x="59" y="417"/>
                </a:lnTo>
                <a:lnTo>
                  <a:pt x="60" y="417"/>
                </a:lnTo>
                <a:lnTo>
                  <a:pt x="60" y="417"/>
                </a:lnTo>
                <a:lnTo>
                  <a:pt x="60" y="418"/>
                </a:lnTo>
                <a:lnTo>
                  <a:pt x="60" y="418"/>
                </a:lnTo>
                <a:lnTo>
                  <a:pt x="60" y="418"/>
                </a:lnTo>
                <a:lnTo>
                  <a:pt x="60" y="418"/>
                </a:lnTo>
                <a:lnTo>
                  <a:pt x="61" y="418"/>
                </a:lnTo>
                <a:lnTo>
                  <a:pt x="61" y="418"/>
                </a:lnTo>
                <a:lnTo>
                  <a:pt x="61" y="418"/>
                </a:lnTo>
                <a:lnTo>
                  <a:pt x="61" y="418"/>
                </a:lnTo>
                <a:lnTo>
                  <a:pt x="61" y="419"/>
                </a:lnTo>
                <a:lnTo>
                  <a:pt x="61" y="419"/>
                </a:lnTo>
                <a:lnTo>
                  <a:pt x="61" y="419"/>
                </a:lnTo>
                <a:lnTo>
                  <a:pt x="62" y="419"/>
                </a:lnTo>
                <a:lnTo>
                  <a:pt x="62" y="419"/>
                </a:lnTo>
                <a:lnTo>
                  <a:pt x="62" y="419"/>
                </a:lnTo>
                <a:lnTo>
                  <a:pt x="62" y="419"/>
                </a:lnTo>
                <a:lnTo>
                  <a:pt x="62" y="419"/>
                </a:lnTo>
                <a:lnTo>
                  <a:pt x="62" y="420"/>
                </a:lnTo>
                <a:lnTo>
                  <a:pt x="64" y="420"/>
                </a:lnTo>
                <a:lnTo>
                  <a:pt x="64" y="420"/>
                </a:lnTo>
                <a:lnTo>
                  <a:pt x="64" y="420"/>
                </a:lnTo>
                <a:lnTo>
                  <a:pt x="64" y="420"/>
                </a:lnTo>
                <a:lnTo>
                  <a:pt x="64" y="420"/>
                </a:lnTo>
                <a:lnTo>
                  <a:pt x="64" y="420"/>
                </a:lnTo>
                <a:lnTo>
                  <a:pt x="64" y="420"/>
                </a:lnTo>
                <a:lnTo>
                  <a:pt x="65" y="421"/>
                </a:lnTo>
                <a:lnTo>
                  <a:pt x="65" y="421"/>
                </a:lnTo>
                <a:lnTo>
                  <a:pt x="65" y="421"/>
                </a:lnTo>
                <a:lnTo>
                  <a:pt x="65" y="421"/>
                </a:lnTo>
                <a:lnTo>
                  <a:pt x="65" y="421"/>
                </a:lnTo>
                <a:lnTo>
                  <a:pt x="65" y="421"/>
                </a:lnTo>
                <a:lnTo>
                  <a:pt x="65" y="421"/>
                </a:lnTo>
                <a:lnTo>
                  <a:pt x="66" y="422"/>
                </a:lnTo>
                <a:lnTo>
                  <a:pt x="66" y="422"/>
                </a:lnTo>
                <a:lnTo>
                  <a:pt x="66" y="422"/>
                </a:lnTo>
                <a:lnTo>
                  <a:pt x="66" y="422"/>
                </a:lnTo>
                <a:lnTo>
                  <a:pt x="66" y="422"/>
                </a:lnTo>
                <a:lnTo>
                  <a:pt x="66" y="422"/>
                </a:lnTo>
                <a:lnTo>
                  <a:pt x="66" y="422"/>
                </a:lnTo>
                <a:lnTo>
                  <a:pt x="67" y="423"/>
                </a:lnTo>
                <a:lnTo>
                  <a:pt x="67" y="423"/>
                </a:lnTo>
                <a:lnTo>
                  <a:pt x="67" y="423"/>
                </a:lnTo>
                <a:lnTo>
                  <a:pt x="67" y="423"/>
                </a:lnTo>
                <a:lnTo>
                  <a:pt x="67" y="423"/>
                </a:lnTo>
                <a:lnTo>
                  <a:pt x="67" y="423"/>
                </a:lnTo>
                <a:lnTo>
                  <a:pt x="67" y="424"/>
                </a:lnTo>
                <a:lnTo>
                  <a:pt x="67" y="424"/>
                </a:lnTo>
                <a:lnTo>
                  <a:pt x="68" y="424"/>
                </a:lnTo>
                <a:lnTo>
                  <a:pt x="68" y="424"/>
                </a:lnTo>
                <a:lnTo>
                  <a:pt x="68" y="424"/>
                </a:lnTo>
                <a:lnTo>
                  <a:pt x="68" y="424"/>
                </a:lnTo>
                <a:lnTo>
                  <a:pt x="68" y="424"/>
                </a:lnTo>
                <a:lnTo>
                  <a:pt x="68" y="426"/>
                </a:lnTo>
                <a:lnTo>
                  <a:pt x="68" y="426"/>
                </a:lnTo>
                <a:lnTo>
                  <a:pt x="68" y="426"/>
                </a:lnTo>
                <a:lnTo>
                  <a:pt x="69" y="426"/>
                </a:lnTo>
                <a:lnTo>
                  <a:pt x="69" y="426"/>
                </a:lnTo>
                <a:lnTo>
                  <a:pt x="69" y="426"/>
                </a:lnTo>
                <a:lnTo>
                  <a:pt x="69" y="427"/>
                </a:lnTo>
                <a:lnTo>
                  <a:pt x="69" y="427"/>
                </a:lnTo>
                <a:lnTo>
                  <a:pt x="69" y="427"/>
                </a:lnTo>
                <a:lnTo>
                  <a:pt x="69" y="427"/>
                </a:lnTo>
                <a:lnTo>
                  <a:pt x="69" y="427"/>
                </a:lnTo>
                <a:lnTo>
                  <a:pt x="69" y="427"/>
                </a:lnTo>
                <a:lnTo>
                  <a:pt x="70" y="428"/>
                </a:lnTo>
                <a:lnTo>
                  <a:pt x="70" y="428"/>
                </a:lnTo>
                <a:lnTo>
                  <a:pt x="70" y="428"/>
                </a:lnTo>
                <a:lnTo>
                  <a:pt x="70" y="428"/>
                </a:lnTo>
                <a:lnTo>
                  <a:pt x="70" y="428"/>
                </a:lnTo>
                <a:lnTo>
                  <a:pt x="70" y="428"/>
                </a:lnTo>
                <a:lnTo>
                  <a:pt x="70" y="429"/>
                </a:lnTo>
                <a:lnTo>
                  <a:pt x="70" y="429"/>
                </a:lnTo>
                <a:lnTo>
                  <a:pt x="70" y="429"/>
                </a:lnTo>
                <a:lnTo>
                  <a:pt x="71" y="429"/>
                </a:lnTo>
                <a:lnTo>
                  <a:pt x="71" y="429"/>
                </a:lnTo>
                <a:lnTo>
                  <a:pt x="71" y="429"/>
                </a:lnTo>
                <a:lnTo>
                  <a:pt x="71" y="430"/>
                </a:lnTo>
                <a:lnTo>
                  <a:pt x="71" y="430"/>
                </a:lnTo>
                <a:lnTo>
                  <a:pt x="71" y="430"/>
                </a:lnTo>
                <a:lnTo>
                  <a:pt x="71" y="430"/>
                </a:lnTo>
                <a:lnTo>
                  <a:pt x="71" y="430"/>
                </a:lnTo>
                <a:lnTo>
                  <a:pt x="71" y="431"/>
                </a:lnTo>
                <a:lnTo>
                  <a:pt x="71" y="431"/>
                </a:lnTo>
                <a:lnTo>
                  <a:pt x="73" y="431"/>
                </a:lnTo>
                <a:lnTo>
                  <a:pt x="73" y="431"/>
                </a:lnTo>
                <a:lnTo>
                  <a:pt x="73" y="431"/>
                </a:lnTo>
                <a:lnTo>
                  <a:pt x="73" y="431"/>
                </a:lnTo>
                <a:lnTo>
                  <a:pt x="73" y="432"/>
                </a:lnTo>
                <a:lnTo>
                  <a:pt x="73" y="432"/>
                </a:lnTo>
                <a:lnTo>
                  <a:pt x="73" y="432"/>
                </a:lnTo>
                <a:lnTo>
                  <a:pt x="73" y="432"/>
                </a:lnTo>
                <a:lnTo>
                  <a:pt x="73" y="432"/>
                </a:lnTo>
                <a:lnTo>
                  <a:pt x="73" y="433"/>
                </a:lnTo>
                <a:lnTo>
                  <a:pt x="73" y="433"/>
                </a:lnTo>
                <a:lnTo>
                  <a:pt x="73" y="433"/>
                </a:lnTo>
                <a:lnTo>
                  <a:pt x="74" y="433"/>
                </a:lnTo>
                <a:lnTo>
                  <a:pt x="74" y="433"/>
                </a:lnTo>
                <a:lnTo>
                  <a:pt x="74" y="433"/>
                </a:lnTo>
                <a:lnTo>
                  <a:pt x="74" y="435"/>
                </a:lnTo>
                <a:lnTo>
                  <a:pt x="74" y="435"/>
                </a:lnTo>
                <a:lnTo>
                  <a:pt x="74" y="435"/>
                </a:lnTo>
                <a:lnTo>
                  <a:pt x="74" y="435"/>
                </a:lnTo>
                <a:lnTo>
                  <a:pt x="74" y="435"/>
                </a:lnTo>
                <a:lnTo>
                  <a:pt x="74" y="436"/>
                </a:lnTo>
                <a:lnTo>
                  <a:pt x="74" y="436"/>
                </a:lnTo>
                <a:lnTo>
                  <a:pt x="74" y="436"/>
                </a:lnTo>
                <a:lnTo>
                  <a:pt x="74" y="436"/>
                </a:lnTo>
                <a:lnTo>
                  <a:pt x="74" y="436"/>
                </a:lnTo>
                <a:lnTo>
                  <a:pt x="74" y="437"/>
                </a:lnTo>
                <a:lnTo>
                  <a:pt x="75" y="437"/>
                </a:lnTo>
                <a:lnTo>
                  <a:pt x="75" y="437"/>
                </a:lnTo>
                <a:lnTo>
                  <a:pt x="75" y="437"/>
                </a:lnTo>
                <a:lnTo>
                  <a:pt x="75" y="437"/>
                </a:lnTo>
                <a:lnTo>
                  <a:pt x="75" y="438"/>
                </a:lnTo>
                <a:lnTo>
                  <a:pt x="75" y="438"/>
                </a:lnTo>
                <a:lnTo>
                  <a:pt x="75" y="438"/>
                </a:lnTo>
                <a:lnTo>
                  <a:pt x="75" y="438"/>
                </a:lnTo>
                <a:lnTo>
                  <a:pt x="75" y="438"/>
                </a:lnTo>
                <a:lnTo>
                  <a:pt x="75" y="439"/>
                </a:lnTo>
                <a:lnTo>
                  <a:pt x="75" y="439"/>
                </a:lnTo>
                <a:lnTo>
                  <a:pt x="75" y="439"/>
                </a:lnTo>
                <a:lnTo>
                  <a:pt x="75" y="439"/>
                </a:lnTo>
                <a:lnTo>
                  <a:pt x="75" y="439"/>
                </a:lnTo>
                <a:lnTo>
                  <a:pt x="75" y="440"/>
                </a:lnTo>
                <a:lnTo>
                  <a:pt x="75" y="440"/>
                </a:lnTo>
                <a:lnTo>
                  <a:pt x="75" y="440"/>
                </a:lnTo>
                <a:lnTo>
                  <a:pt x="75" y="440"/>
                </a:lnTo>
                <a:lnTo>
                  <a:pt x="75" y="440"/>
                </a:lnTo>
                <a:lnTo>
                  <a:pt x="75" y="441"/>
                </a:lnTo>
                <a:lnTo>
                  <a:pt x="76" y="441"/>
                </a:lnTo>
                <a:lnTo>
                  <a:pt x="76" y="441"/>
                </a:lnTo>
                <a:lnTo>
                  <a:pt x="76" y="441"/>
                </a:lnTo>
                <a:lnTo>
                  <a:pt x="76" y="441"/>
                </a:lnTo>
                <a:lnTo>
                  <a:pt x="76" y="442"/>
                </a:lnTo>
                <a:lnTo>
                  <a:pt x="76" y="442"/>
                </a:lnTo>
                <a:lnTo>
                  <a:pt x="76" y="442"/>
                </a:lnTo>
                <a:lnTo>
                  <a:pt x="76" y="442"/>
                </a:lnTo>
                <a:lnTo>
                  <a:pt x="76" y="442"/>
                </a:lnTo>
                <a:lnTo>
                  <a:pt x="76" y="444"/>
                </a:lnTo>
                <a:lnTo>
                  <a:pt x="76" y="444"/>
                </a:lnTo>
                <a:lnTo>
                  <a:pt x="76" y="444"/>
                </a:lnTo>
                <a:lnTo>
                  <a:pt x="76" y="444"/>
                </a:lnTo>
                <a:lnTo>
                  <a:pt x="76" y="445"/>
                </a:lnTo>
                <a:lnTo>
                  <a:pt x="76" y="445"/>
                </a:lnTo>
                <a:lnTo>
                  <a:pt x="76" y="445"/>
                </a:lnTo>
                <a:lnTo>
                  <a:pt x="76" y="445"/>
                </a:lnTo>
                <a:lnTo>
                  <a:pt x="76" y="445"/>
                </a:lnTo>
                <a:lnTo>
                  <a:pt x="76" y="446"/>
                </a:lnTo>
                <a:lnTo>
                  <a:pt x="76" y="446"/>
                </a:lnTo>
                <a:lnTo>
                  <a:pt x="76" y="446"/>
                </a:lnTo>
                <a:lnTo>
                  <a:pt x="76" y="446"/>
                </a:lnTo>
                <a:lnTo>
                  <a:pt x="76" y="446"/>
                </a:lnTo>
                <a:lnTo>
                  <a:pt x="76" y="447"/>
                </a:lnTo>
                <a:lnTo>
                  <a:pt x="76" y="447"/>
                </a:lnTo>
                <a:lnTo>
                  <a:pt x="76" y="447"/>
                </a:lnTo>
                <a:lnTo>
                  <a:pt x="76" y="447"/>
                </a:lnTo>
                <a:lnTo>
                  <a:pt x="76" y="447"/>
                </a:lnTo>
                <a:lnTo>
                  <a:pt x="76" y="448"/>
                </a:lnTo>
                <a:lnTo>
                  <a:pt x="76" y="448"/>
                </a:lnTo>
                <a:lnTo>
                  <a:pt x="76" y="448"/>
                </a:lnTo>
                <a:lnTo>
                  <a:pt x="76" y="448"/>
                </a:lnTo>
                <a:lnTo>
                  <a:pt x="76" y="449"/>
                </a:lnTo>
                <a:lnTo>
                  <a:pt x="76" y="449"/>
                </a:lnTo>
                <a:lnTo>
                  <a:pt x="76" y="449"/>
                </a:lnTo>
                <a:lnTo>
                  <a:pt x="76" y="449"/>
                </a:lnTo>
                <a:lnTo>
                  <a:pt x="76" y="449"/>
                </a:lnTo>
                <a:lnTo>
                  <a:pt x="76" y="450"/>
                </a:lnTo>
                <a:lnTo>
                  <a:pt x="76" y="450"/>
                </a:lnTo>
                <a:lnTo>
                  <a:pt x="76" y="450"/>
                </a:lnTo>
                <a:lnTo>
                  <a:pt x="76" y="450"/>
                </a:lnTo>
                <a:lnTo>
                  <a:pt x="76" y="450"/>
                </a:lnTo>
                <a:lnTo>
                  <a:pt x="76" y="452"/>
                </a:lnTo>
                <a:lnTo>
                  <a:pt x="76" y="452"/>
                </a:lnTo>
                <a:lnTo>
                  <a:pt x="76" y="452"/>
                </a:lnTo>
                <a:lnTo>
                  <a:pt x="76" y="452"/>
                </a:lnTo>
                <a:lnTo>
                  <a:pt x="76" y="453"/>
                </a:lnTo>
                <a:lnTo>
                  <a:pt x="76" y="453"/>
                </a:lnTo>
                <a:lnTo>
                  <a:pt x="76" y="453"/>
                </a:lnTo>
                <a:lnTo>
                  <a:pt x="76" y="453"/>
                </a:lnTo>
                <a:lnTo>
                  <a:pt x="76" y="453"/>
                </a:lnTo>
                <a:lnTo>
                  <a:pt x="76" y="454"/>
                </a:lnTo>
                <a:lnTo>
                  <a:pt x="76" y="454"/>
                </a:lnTo>
                <a:lnTo>
                  <a:pt x="76" y="454"/>
                </a:lnTo>
                <a:lnTo>
                  <a:pt x="76" y="454"/>
                </a:lnTo>
                <a:lnTo>
                  <a:pt x="76" y="454"/>
                </a:lnTo>
                <a:lnTo>
                  <a:pt x="76" y="455"/>
                </a:lnTo>
                <a:lnTo>
                  <a:pt x="76" y="455"/>
                </a:lnTo>
                <a:lnTo>
                  <a:pt x="76" y="455"/>
                </a:lnTo>
                <a:lnTo>
                  <a:pt x="75" y="455"/>
                </a:lnTo>
                <a:lnTo>
                  <a:pt x="75" y="455"/>
                </a:lnTo>
                <a:lnTo>
                  <a:pt x="75" y="456"/>
                </a:lnTo>
                <a:lnTo>
                  <a:pt x="75" y="456"/>
                </a:lnTo>
                <a:lnTo>
                  <a:pt x="75" y="456"/>
                </a:lnTo>
                <a:lnTo>
                  <a:pt x="75" y="456"/>
                </a:lnTo>
                <a:lnTo>
                  <a:pt x="75" y="456"/>
                </a:lnTo>
                <a:lnTo>
                  <a:pt x="75" y="457"/>
                </a:lnTo>
                <a:lnTo>
                  <a:pt x="75" y="457"/>
                </a:lnTo>
                <a:lnTo>
                  <a:pt x="75" y="457"/>
                </a:lnTo>
                <a:lnTo>
                  <a:pt x="75" y="457"/>
                </a:lnTo>
                <a:lnTo>
                  <a:pt x="75" y="457"/>
                </a:lnTo>
                <a:lnTo>
                  <a:pt x="75" y="458"/>
                </a:lnTo>
                <a:lnTo>
                  <a:pt x="75" y="458"/>
                </a:lnTo>
                <a:lnTo>
                  <a:pt x="75" y="458"/>
                </a:lnTo>
                <a:lnTo>
                  <a:pt x="75" y="458"/>
                </a:lnTo>
                <a:lnTo>
                  <a:pt x="75" y="458"/>
                </a:lnTo>
                <a:lnTo>
                  <a:pt x="75" y="459"/>
                </a:lnTo>
                <a:lnTo>
                  <a:pt x="75" y="459"/>
                </a:lnTo>
                <a:lnTo>
                  <a:pt x="75" y="459"/>
                </a:lnTo>
                <a:lnTo>
                  <a:pt x="74" y="459"/>
                </a:lnTo>
                <a:lnTo>
                  <a:pt x="74" y="459"/>
                </a:lnTo>
                <a:lnTo>
                  <a:pt x="74" y="461"/>
                </a:lnTo>
                <a:lnTo>
                  <a:pt x="74" y="461"/>
                </a:lnTo>
                <a:lnTo>
                  <a:pt x="74" y="461"/>
                </a:lnTo>
                <a:lnTo>
                  <a:pt x="74" y="461"/>
                </a:lnTo>
                <a:lnTo>
                  <a:pt x="74" y="461"/>
                </a:lnTo>
                <a:lnTo>
                  <a:pt x="74" y="462"/>
                </a:lnTo>
                <a:lnTo>
                  <a:pt x="74" y="462"/>
                </a:lnTo>
                <a:lnTo>
                  <a:pt x="74" y="462"/>
                </a:lnTo>
                <a:lnTo>
                  <a:pt x="74" y="462"/>
                </a:lnTo>
                <a:lnTo>
                  <a:pt x="74" y="462"/>
                </a:lnTo>
                <a:lnTo>
                  <a:pt x="74" y="463"/>
                </a:lnTo>
                <a:lnTo>
                  <a:pt x="74" y="463"/>
                </a:lnTo>
                <a:lnTo>
                  <a:pt x="73" y="463"/>
                </a:lnTo>
                <a:lnTo>
                  <a:pt x="73" y="463"/>
                </a:lnTo>
                <a:lnTo>
                  <a:pt x="73" y="463"/>
                </a:lnTo>
                <a:lnTo>
                  <a:pt x="73" y="463"/>
                </a:lnTo>
                <a:lnTo>
                  <a:pt x="73" y="464"/>
                </a:lnTo>
                <a:lnTo>
                  <a:pt x="73" y="464"/>
                </a:lnTo>
                <a:lnTo>
                  <a:pt x="73" y="464"/>
                </a:lnTo>
                <a:lnTo>
                  <a:pt x="73" y="464"/>
                </a:lnTo>
                <a:lnTo>
                  <a:pt x="73" y="464"/>
                </a:lnTo>
                <a:lnTo>
                  <a:pt x="73" y="465"/>
                </a:lnTo>
                <a:lnTo>
                  <a:pt x="73" y="465"/>
                </a:lnTo>
                <a:lnTo>
                  <a:pt x="73" y="465"/>
                </a:lnTo>
                <a:lnTo>
                  <a:pt x="71" y="465"/>
                </a:lnTo>
                <a:lnTo>
                  <a:pt x="71" y="465"/>
                </a:lnTo>
                <a:lnTo>
                  <a:pt x="71" y="465"/>
                </a:lnTo>
                <a:lnTo>
                  <a:pt x="71" y="466"/>
                </a:lnTo>
                <a:lnTo>
                  <a:pt x="71" y="466"/>
                </a:lnTo>
                <a:lnTo>
                  <a:pt x="71" y="466"/>
                </a:lnTo>
                <a:lnTo>
                  <a:pt x="71" y="466"/>
                </a:lnTo>
                <a:lnTo>
                  <a:pt x="71" y="466"/>
                </a:lnTo>
                <a:lnTo>
                  <a:pt x="71" y="467"/>
                </a:lnTo>
                <a:lnTo>
                  <a:pt x="71" y="467"/>
                </a:lnTo>
                <a:lnTo>
                  <a:pt x="70" y="467"/>
                </a:lnTo>
                <a:lnTo>
                  <a:pt x="70" y="467"/>
                </a:lnTo>
                <a:lnTo>
                  <a:pt x="70" y="467"/>
                </a:lnTo>
                <a:lnTo>
                  <a:pt x="70" y="467"/>
                </a:lnTo>
                <a:lnTo>
                  <a:pt x="70" y="468"/>
                </a:lnTo>
                <a:lnTo>
                  <a:pt x="70" y="468"/>
                </a:lnTo>
                <a:lnTo>
                  <a:pt x="70" y="468"/>
                </a:lnTo>
                <a:lnTo>
                  <a:pt x="70" y="468"/>
                </a:lnTo>
                <a:lnTo>
                  <a:pt x="70" y="468"/>
                </a:lnTo>
                <a:lnTo>
                  <a:pt x="69" y="468"/>
                </a:lnTo>
                <a:lnTo>
                  <a:pt x="69" y="470"/>
                </a:lnTo>
                <a:lnTo>
                  <a:pt x="69" y="470"/>
                </a:lnTo>
                <a:lnTo>
                  <a:pt x="69" y="470"/>
                </a:lnTo>
                <a:lnTo>
                  <a:pt x="69" y="470"/>
                </a:lnTo>
                <a:lnTo>
                  <a:pt x="69" y="470"/>
                </a:lnTo>
                <a:lnTo>
                  <a:pt x="69" y="470"/>
                </a:lnTo>
                <a:lnTo>
                  <a:pt x="69" y="471"/>
                </a:lnTo>
                <a:lnTo>
                  <a:pt x="69" y="471"/>
                </a:lnTo>
                <a:lnTo>
                  <a:pt x="68" y="471"/>
                </a:lnTo>
                <a:lnTo>
                  <a:pt x="68" y="471"/>
                </a:lnTo>
                <a:lnTo>
                  <a:pt x="68" y="471"/>
                </a:lnTo>
                <a:lnTo>
                  <a:pt x="68" y="471"/>
                </a:lnTo>
                <a:lnTo>
                  <a:pt x="68" y="472"/>
                </a:lnTo>
                <a:lnTo>
                  <a:pt x="68" y="472"/>
                </a:lnTo>
                <a:lnTo>
                  <a:pt x="68" y="472"/>
                </a:lnTo>
                <a:lnTo>
                  <a:pt x="68" y="472"/>
                </a:lnTo>
                <a:lnTo>
                  <a:pt x="67" y="472"/>
                </a:lnTo>
                <a:lnTo>
                  <a:pt x="67" y="472"/>
                </a:lnTo>
                <a:lnTo>
                  <a:pt x="67" y="472"/>
                </a:lnTo>
                <a:lnTo>
                  <a:pt x="67" y="473"/>
                </a:lnTo>
                <a:lnTo>
                  <a:pt x="67" y="473"/>
                </a:lnTo>
                <a:lnTo>
                  <a:pt x="67" y="473"/>
                </a:lnTo>
                <a:lnTo>
                  <a:pt x="67" y="473"/>
                </a:lnTo>
                <a:lnTo>
                  <a:pt x="67" y="473"/>
                </a:lnTo>
                <a:lnTo>
                  <a:pt x="66" y="473"/>
                </a:lnTo>
                <a:lnTo>
                  <a:pt x="66" y="473"/>
                </a:lnTo>
                <a:lnTo>
                  <a:pt x="66" y="474"/>
                </a:lnTo>
                <a:lnTo>
                  <a:pt x="66" y="474"/>
                </a:lnTo>
                <a:lnTo>
                  <a:pt x="66" y="474"/>
                </a:lnTo>
                <a:lnTo>
                  <a:pt x="66" y="474"/>
                </a:lnTo>
                <a:lnTo>
                  <a:pt x="66" y="474"/>
                </a:lnTo>
                <a:lnTo>
                  <a:pt x="65" y="474"/>
                </a:lnTo>
                <a:lnTo>
                  <a:pt x="65" y="475"/>
                </a:lnTo>
                <a:lnTo>
                  <a:pt x="65" y="475"/>
                </a:lnTo>
                <a:lnTo>
                  <a:pt x="65" y="475"/>
                </a:lnTo>
                <a:lnTo>
                  <a:pt x="65" y="475"/>
                </a:lnTo>
                <a:lnTo>
                  <a:pt x="65" y="475"/>
                </a:lnTo>
                <a:lnTo>
                  <a:pt x="65" y="475"/>
                </a:lnTo>
                <a:lnTo>
                  <a:pt x="64" y="475"/>
                </a:lnTo>
                <a:lnTo>
                  <a:pt x="64" y="475"/>
                </a:lnTo>
                <a:lnTo>
                  <a:pt x="64" y="476"/>
                </a:lnTo>
                <a:lnTo>
                  <a:pt x="64" y="476"/>
                </a:lnTo>
                <a:lnTo>
                  <a:pt x="64" y="476"/>
                </a:lnTo>
                <a:lnTo>
                  <a:pt x="64" y="476"/>
                </a:lnTo>
                <a:lnTo>
                  <a:pt x="64" y="476"/>
                </a:lnTo>
                <a:lnTo>
                  <a:pt x="62" y="476"/>
                </a:lnTo>
                <a:lnTo>
                  <a:pt x="62" y="476"/>
                </a:lnTo>
                <a:lnTo>
                  <a:pt x="62" y="477"/>
                </a:lnTo>
                <a:lnTo>
                  <a:pt x="62" y="477"/>
                </a:lnTo>
                <a:lnTo>
                  <a:pt x="62" y="477"/>
                </a:lnTo>
                <a:lnTo>
                  <a:pt x="62" y="477"/>
                </a:lnTo>
                <a:lnTo>
                  <a:pt x="61" y="477"/>
                </a:lnTo>
                <a:lnTo>
                  <a:pt x="61" y="477"/>
                </a:lnTo>
                <a:lnTo>
                  <a:pt x="61" y="477"/>
                </a:lnTo>
                <a:lnTo>
                  <a:pt x="61" y="477"/>
                </a:lnTo>
                <a:lnTo>
                  <a:pt x="61" y="479"/>
                </a:lnTo>
                <a:lnTo>
                  <a:pt x="61" y="479"/>
                </a:lnTo>
                <a:lnTo>
                  <a:pt x="61" y="479"/>
                </a:lnTo>
                <a:lnTo>
                  <a:pt x="60" y="479"/>
                </a:lnTo>
                <a:lnTo>
                  <a:pt x="60" y="479"/>
                </a:lnTo>
                <a:lnTo>
                  <a:pt x="60" y="479"/>
                </a:lnTo>
                <a:lnTo>
                  <a:pt x="60" y="479"/>
                </a:lnTo>
                <a:lnTo>
                  <a:pt x="60" y="479"/>
                </a:lnTo>
                <a:lnTo>
                  <a:pt x="60" y="479"/>
                </a:lnTo>
                <a:lnTo>
                  <a:pt x="59" y="480"/>
                </a:lnTo>
                <a:lnTo>
                  <a:pt x="59" y="480"/>
                </a:lnTo>
                <a:lnTo>
                  <a:pt x="59" y="480"/>
                </a:lnTo>
                <a:lnTo>
                  <a:pt x="59" y="480"/>
                </a:lnTo>
                <a:lnTo>
                  <a:pt x="59" y="480"/>
                </a:lnTo>
                <a:lnTo>
                  <a:pt x="59" y="480"/>
                </a:lnTo>
                <a:lnTo>
                  <a:pt x="58" y="480"/>
                </a:lnTo>
                <a:lnTo>
                  <a:pt x="58" y="480"/>
                </a:lnTo>
                <a:lnTo>
                  <a:pt x="58" y="480"/>
                </a:lnTo>
                <a:lnTo>
                  <a:pt x="58" y="481"/>
                </a:lnTo>
                <a:lnTo>
                  <a:pt x="58" y="481"/>
                </a:lnTo>
                <a:lnTo>
                  <a:pt x="57" y="481"/>
                </a:lnTo>
                <a:lnTo>
                  <a:pt x="57" y="481"/>
                </a:lnTo>
                <a:lnTo>
                  <a:pt x="57" y="481"/>
                </a:lnTo>
                <a:lnTo>
                  <a:pt x="57" y="481"/>
                </a:lnTo>
                <a:lnTo>
                  <a:pt x="57" y="481"/>
                </a:lnTo>
                <a:lnTo>
                  <a:pt x="57" y="481"/>
                </a:lnTo>
                <a:lnTo>
                  <a:pt x="56" y="481"/>
                </a:lnTo>
                <a:lnTo>
                  <a:pt x="56" y="481"/>
                </a:lnTo>
                <a:lnTo>
                  <a:pt x="56" y="482"/>
                </a:lnTo>
                <a:lnTo>
                  <a:pt x="56" y="482"/>
                </a:lnTo>
                <a:lnTo>
                  <a:pt x="56" y="482"/>
                </a:lnTo>
                <a:lnTo>
                  <a:pt x="56" y="482"/>
                </a:lnTo>
                <a:lnTo>
                  <a:pt x="55" y="482"/>
                </a:lnTo>
                <a:lnTo>
                  <a:pt x="55" y="482"/>
                </a:lnTo>
                <a:lnTo>
                  <a:pt x="55" y="482"/>
                </a:lnTo>
                <a:lnTo>
                  <a:pt x="55" y="482"/>
                </a:lnTo>
                <a:lnTo>
                  <a:pt x="55" y="482"/>
                </a:lnTo>
                <a:lnTo>
                  <a:pt x="53" y="482"/>
                </a:lnTo>
                <a:lnTo>
                  <a:pt x="53" y="482"/>
                </a:lnTo>
                <a:lnTo>
                  <a:pt x="53" y="483"/>
                </a:lnTo>
                <a:lnTo>
                  <a:pt x="53" y="483"/>
                </a:lnTo>
                <a:lnTo>
                  <a:pt x="53" y="483"/>
                </a:lnTo>
                <a:lnTo>
                  <a:pt x="52" y="483"/>
                </a:lnTo>
                <a:lnTo>
                  <a:pt x="52" y="483"/>
                </a:lnTo>
                <a:lnTo>
                  <a:pt x="52" y="483"/>
                </a:lnTo>
                <a:lnTo>
                  <a:pt x="52" y="483"/>
                </a:lnTo>
                <a:lnTo>
                  <a:pt x="52" y="483"/>
                </a:lnTo>
                <a:lnTo>
                  <a:pt x="52" y="483"/>
                </a:lnTo>
                <a:lnTo>
                  <a:pt x="51" y="483"/>
                </a:lnTo>
                <a:lnTo>
                  <a:pt x="51" y="483"/>
                </a:lnTo>
                <a:lnTo>
                  <a:pt x="51" y="483"/>
                </a:lnTo>
                <a:lnTo>
                  <a:pt x="51" y="483"/>
                </a:lnTo>
                <a:lnTo>
                  <a:pt x="51" y="483"/>
                </a:lnTo>
                <a:lnTo>
                  <a:pt x="50" y="484"/>
                </a:lnTo>
                <a:lnTo>
                  <a:pt x="50" y="484"/>
                </a:lnTo>
                <a:lnTo>
                  <a:pt x="50" y="484"/>
                </a:lnTo>
                <a:lnTo>
                  <a:pt x="50" y="484"/>
                </a:lnTo>
                <a:lnTo>
                  <a:pt x="50" y="484"/>
                </a:lnTo>
                <a:lnTo>
                  <a:pt x="49" y="484"/>
                </a:lnTo>
                <a:lnTo>
                  <a:pt x="49" y="484"/>
                </a:lnTo>
                <a:lnTo>
                  <a:pt x="49" y="484"/>
                </a:lnTo>
                <a:lnTo>
                  <a:pt x="49" y="484"/>
                </a:lnTo>
                <a:lnTo>
                  <a:pt x="49" y="484"/>
                </a:lnTo>
                <a:lnTo>
                  <a:pt x="48" y="484"/>
                </a:lnTo>
                <a:lnTo>
                  <a:pt x="48" y="484"/>
                </a:lnTo>
                <a:lnTo>
                  <a:pt x="48" y="484"/>
                </a:lnTo>
                <a:lnTo>
                  <a:pt x="48" y="484"/>
                </a:lnTo>
                <a:lnTo>
                  <a:pt x="48" y="484"/>
                </a:lnTo>
                <a:lnTo>
                  <a:pt x="47" y="484"/>
                </a:lnTo>
                <a:lnTo>
                  <a:pt x="47" y="484"/>
                </a:lnTo>
                <a:lnTo>
                  <a:pt x="47" y="485"/>
                </a:lnTo>
                <a:lnTo>
                  <a:pt x="47" y="485"/>
                </a:lnTo>
                <a:lnTo>
                  <a:pt x="47" y="485"/>
                </a:lnTo>
                <a:lnTo>
                  <a:pt x="46" y="485"/>
                </a:lnTo>
                <a:lnTo>
                  <a:pt x="46" y="485"/>
                </a:lnTo>
                <a:lnTo>
                  <a:pt x="46" y="485"/>
                </a:lnTo>
                <a:lnTo>
                  <a:pt x="46" y="485"/>
                </a:lnTo>
                <a:lnTo>
                  <a:pt x="46" y="485"/>
                </a:lnTo>
                <a:lnTo>
                  <a:pt x="44" y="485"/>
                </a:lnTo>
                <a:lnTo>
                  <a:pt x="44" y="485"/>
                </a:lnTo>
                <a:lnTo>
                  <a:pt x="44" y="485"/>
                </a:lnTo>
                <a:lnTo>
                  <a:pt x="44" y="485"/>
                </a:lnTo>
                <a:lnTo>
                  <a:pt x="44" y="485"/>
                </a:lnTo>
                <a:lnTo>
                  <a:pt x="43" y="485"/>
                </a:lnTo>
                <a:lnTo>
                  <a:pt x="43" y="485"/>
                </a:lnTo>
                <a:lnTo>
                  <a:pt x="43" y="485"/>
                </a:lnTo>
                <a:lnTo>
                  <a:pt x="43" y="485"/>
                </a:lnTo>
                <a:lnTo>
                  <a:pt x="43" y="485"/>
                </a:lnTo>
                <a:lnTo>
                  <a:pt x="42" y="485"/>
                </a:lnTo>
                <a:lnTo>
                  <a:pt x="42" y="485"/>
                </a:lnTo>
                <a:lnTo>
                  <a:pt x="42" y="485"/>
                </a:lnTo>
                <a:lnTo>
                  <a:pt x="42" y="485"/>
                </a:lnTo>
                <a:lnTo>
                  <a:pt x="41" y="485"/>
                </a:lnTo>
                <a:lnTo>
                  <a:pt x="41" y="485"/>
                </a:lnTo>
                <a:lnTo>
                  <a:pt x="41" y="485"/>
                </a:lnTo>
                <a:lnTo>
                  <a:pt x="41" y="485"/>
                </a:lnTo>
                <a:lnTo>
                  <a:pt x="41" y="485"/>
                </a:lnTo>
                <a:lnTo>
                  <a:pt x="40" y="485"/>
                </a:lnTo>
                <a:lnTo>
                  <a:pt x="40" y="485"/>
                </a:lnTo>
                <a:lnTo>
                  <a:pt x="40" y="485"/>
                </a:lnTo>
                <a:lnTo>
                  <a:pt x="40" y="485"/>
                </a:lnTo>
                <a:lnTo>
                  <a:pt x="40" y="485"/>
                </a:lnTo>
                <a:lnTo>
                  <a:pt x="39" y="485"/>
                </a:lnTo>
                <a:lnTo>
                  <a:pt x="39" y="485"/>
                </a:lnTo>
                <a:lnTo>
                  <a:pt x="39" y="485"/>
                </a:lnTo>
                <a:lnTo>
                  <a:pt x="39" y="485"/>
                </a:lnTo>
                <a:lnTo>
                  <a:pt x="38" y="485"/>
                </a:lnTo>
                <a:lnTo>
                  <a:pt x="38" y="485"/>
                </a:lnTo>
                <a:lnTo>
                  <a:pt x="38" y="485"/>
                </a:lnTo>
                <a:lnTo>
                  <a:pt x="38" y="485"/>
                </a:lnTo>
                <a:lnTo>
                  <a:pt x="38" y="485"/>
                </a:lnTo>
                <a:lnTo>
                  <a:pt x="36" y="485"/>
                </a:lnTo>
                <a:lnTo>
                  <a:pt x="36" y="485"/>
                </a:lnTo>
                <a:lnTo>
                  <a:pt x="36" y="485"/>
                </a:lnTo>
                <a:lnTo>
                  <a:pt x="36" y="485"/>
                </a:lnTo>
                <a:lnTo>
                  <a:pt x="36" y="485"/>
                </a:lnTo>
                <a:lnTo>
                  <a:pt x="35" y="485"/>
                </a:lnTo>
                <a:lnTo>
                  <a:pt x="35" y="485"/>
                </a:lnTo>
                <a:lnTo>
                  <a:pt x="35" y="485"/>
                </a:lnTo>
                <a:lnTo>
                  <a:pt x="35" y="485"/>
                </a:lnTo>
                <a:lnTo>
                  <a:pt x="34" y="485"/>
                </a:lnTo>
                <a:lnTo>
                  <a:pt x="34" y="485"/>
                </a:lnTo>
                <a:lnTo>
                  <a:pt x="34" y="485"/>
                </a:lnTo>
                <a:lnTo>
                  <a:pt x="34" y="485"/>
                </a:lnTo>
                <a:lnTo>
                  <a:pt x="34" y="485"/>
                </a:lnTo>
                <a:lnTo>
                  <a:pt x="33" y="485"/>
                </a:lnTo>
                <a:lnTo>
                  <a:pt x="33" y="485"/>
                </a:lnTo>
                <a:lnTo>
                  <a:pt x="33" y="485"/>
                </a:lnTo>
                <a:lnTo>
                  <a:pt x="33" y="485"/>
                </a:lnTo>
                <a:lnTo>
                  <a:pt x="33" y="485"/>
                </a:lnTo>
                <a:lnTo>
                  <a:pt x="32" y="485"/>
                </a:lnTo>
                <a:lnTo>
                  <a:pt x="32" y="485"/>
                </a:lnTo>
                <a:lnTo>
                  <a:pt x="32" y="485"/>
                </a:lnTo>
                <a:lnTo>
                  <a:pt x="32" y="485"/>
                </a:lnTo>
                <a:lnTo>
                  <a:pt x="32" y="485"/>
                </a:lnTo>
                <a:lnTo>
                  <a:pt x="31" y="485"/>
                </a:lnTo>
                <a:lnTo>
                  <a:pt x="31" y="485"/>
                </a:lnTo>
                <a:lnTo>
                  <a:pt x="31" y="485"/>
                </a:lnTo>
                <a:lnTo>
                  <a:pt x="31" y="485"/>
                </a:lnTo>
                <a:lnTo>
                  <a:pt x="31" y="485"/>
                </a:lnTo>
                <a:lnTo>
                  <a:pt x="30" y="485"/>
                </a:lnTo>
                <a:lnTo>
                  <a:pt x="30" y="484"/>
                </a:lnTo>
                <a:lnTo>
                  <a:pt x="30" y="484"/>
                </a:lnTo>
                <a:lnTo>
                  <a:pt x="30" y="484"/>
                </a:lnTo>
                <a:lnTo>
                  <a:pt x="30" y="484"/>
                </a:lnTo>
                <a:lnTo>
                  <a:pt x="29" y="484"/>
                </a:lnTo>
                <a:lnTo>
                  <a:pt x="29" y="484"/>
                </a:lnTo>
                <a:lnTo>
                  <a:pt x="29" y="484"/>
                </a:lnTo>
                <a:lnTo>
                  <a:pt x="29" y="484"/>
                </a:lnTo>
                <a:lnTo>
                  <a:pt x="29" y="484"/>
                </a:lnTo>
                <a:lnTo>
                  <a:pt x="27" y="484"/>
                </a:lnTo>
                <a:lnTo>
                  <a:pt x="27" y="484"/>
                </a:lnTo>
                <a:lnTo>
                  <a:pt x="27" y="484"/>
                </a:lnTo>
                <a:lnTo>
                  <a:pt x="27" y="484"/>
                </a:lnTo>
                <a:lnTo>
                  <a:pt x="27" y="484"/>
                </a:lnTo>
                <a:lnTo>
                  <a:pt x="26" y="484"/>
                </a:lnTo>
                <a:lnTo>
                  <a:pt x="26" y="484"/>
                </a:lnTo>
                <a:lnTo>
                  <a:pt x="26" y="484"/>
                </a:lnTo>
                <a:lnTo>
                  <a:pt x="26" y="483"/>
                </a:lnTo>
                <a:lnTo>
                  <a:pt x="26" y="483"/>
                </a:lnTo>
                <a:lnTo>
                  <a:pt x="25" y="483"/>
                </a:lnTo>
                <a:lnTo>
                  <a:pt x="25" y="483"/>
                </a:lnTo>
                <a:lnTo>
                  <a:pt x="25" y="483"/>
                </a:lnTo>
                <a:lnTo>
                  <a:pt x="25" y="483"/>
                </a:lnTo>
                <a:lnTo>
                  <a:pt x="25" y="483"/>
                </a:lnTo>
                <a:lnTo>
                  <a:pt x="24" y="483"/>
                </a:lnTo>
                <a:lnTo>
                  <a:pt x="24" y="483"/>
                </a:lnTo>
                <a:lnTo>
                  <a:pt x="24" y="483"/>
                </a:lnTo>
                <a:lnTo>
                  <a:pt x="24" y="483"/>
                </a:lnTo>
                <a:lnTo>
                  <a:pt x="24" y="483"/>
                </a:lnTo>
                <a:lnTo>
                  <a:pt x="24" y="483"/>
                </a:lnTo>
                <a:lnTo>
                  <a:pt x="23" y="483"/>
                </a:lnTo>
                <a:lnTo>
                  <a:pt x="23" y="482"/>
                </a:lnTo>
                <a:lnTo>
                  <a:pt x="23" y="482"/>
                </a:lnTo>
                <a:lnTo>
                  <a:pt x="23" y="482"/>
                </a:lnTo>
                <a:lnTo>
                  <a:pt x="23" y="482"/>
                </a:lnTo>
                <a:lnTo>
                  <a:pt x="22" y="482"/>
                </a:lnTo>
                <a:lnTo>
                  <a:pt x="22" y="482"/>
                </a:lnTo>
                <a:lnTo>
                  <a:pt x="22" y="482"/>
                </a:lnTo>
                <a:lnTo>
                  <a:pt x="22" y="482"/>
                </a:lnTo>
                <a:lnTo>
                  <a:pt x="22" y="482"/>
                </a:lnTo>
                <a:lnTo>
                  <a:pt x="21" y="482"/>
                </a:lnTo>
                <a:lnTo>
                  <a:pt x="21" y="482"/>
                </a:lnTo>
                <a:lnTo>
                  <a:pt x="21" y="481"/>
                </a:lnTo>
                <a:lnTo>
                  <a:pt x="21" y="481"/>
                </a:lnTo>
                <a:lnTo>
                  <a:pt x="21" y="481"/>
                </a:lnTo>
                <a:lnTo>
                  <a:pt x="21" y="481"/>
                </a:lnTo>
                <a:lnTo>
                  <a:pt x="20" y="481"/>
                </a:lnTo>
                <a:lnTo>
                  <a:pt x="20" y="481"/>
                </a:lnTo>
                <a:lnTo>
                  <a:pt x="20" y="481"/>
                </a:lnTo>
                <a:lnTo>
                  <a:pt x="20" y="481"/>
                </a:lnTo>
                <a:lnTo>
                  <a:pt x="20" y="481"/>
                </a:lnTo>
                <a:lnTo>
                  <a:pt x="20" y="481"/>
                </a:lnTo>
                <a:lnTo>
                  <a:pt x="18" y="480"/>
                </a:lnTo>
                <a:lnTo>
                  <a:pt x="18" y="480"/>
                </a:lnTo>
                <a:lnTo>
                  <a:pt x="18" y="480"/>
                </a:lnTo>
                <a:lnTo>
                  <a:pt x="18" y="480"/>
                </a:lnTo>
                <a:lnTo>
                  <a:pt x="18" y="480"/>
                </a:lnTo>
                <a:lnTo>
                  <a:pt x="18" y="480"/>
                </a:lnTo>
                <a:lnTo>
                  <a:pt x="17" y="480"/>
                </a:lnTo>
                <a:lnTo>
                  <a:pt x="17" y="480"/>
                </a:lnTo>
                <a:lnTo>
                  <a:pt x="17" y="480"/>
                </a:lnTo>
                <a:lnTo>
                  <a:pt x="17" y="479"/>
                </a:lnTo>
                <a:lnTo>
                  <a:pt x="17" y="479"/>
                </a:lnTo>
                <a:lnTo>
                  <a:pt x="17" y="479"/>
                </a:lnTo>
                <a:lnTo>
                  <a:pt x="16" y="479"/>
                </a:lnTo>
                <a:lnTo>
                  <a:pt x="16" y="479"/>
                </a:lnTo>
                <a:lnTo>
                  <a:pt x="16" y="479"/>
                </a:lnTo>
                <a:lnTo>
                  <a:pt x="16" y="479"/>
                </a:lnTo>
                <a:lnTo>
                  <a:pt x="16" y="479"/>
                </a:lnTo>
                <a:lnTo>
                  <a:pt x="16" y="479"/>
                </a:lnTo>
                <a:lnTo>
                  <a:pt x="15" y="477"/>
                </a:lnTo>
                <a:lnTo>
                  <a:pt x="15" y="477"/>
                </a:lnTo>
                <a:lnTo>
                  <a:pt x="15" y="477"/>
                </a:lnTo>
                <a:lnTo>
                  <a:pt x="15" y="477"/>
                </a:lnTo>
                <a:lnTo>
                  <a:pt x="15" y="477"/>
                </a:lnTo>
                <a:lnTo>
                  <a:pt x="15" y="477"/>
                </a:lnTo>
                <a:lnTo>
                  <a:pt x="14" y="477"/>
                </a:lnTo>
                <a:lnTo>
                  <a:pt x="14" y="477"/>
                </a:lnTo>
                <a:lnTo>
                  <a:pt x="14" y="476"/>
                </a:lnTo>
                <a:lnTo>
                  <a:pt x="14" y="476"/>
                </a:lnTo>
                <a:lnTo>
                  <a:pt x="14" y="476"/>
                </a:lnTo>
                <a:lnTo>
                  <a:pt x="14" y="476"/>
                </a:lnTo>
                <a:lnTo>
                  <a:pt x="14" y="476"/>
                </a:lnTo>
                <a:lnTo>
                  <a:pt x="13" y="476"/>
                </a:lnTo>
                <a:lnTo>
                  <a:pt x="13" y="476"/>
                </a:lnTo>
                <a:lnTo>
                  <a:pt x="13" y="475"/>
                </a:lnTo>
                <a:lnTo>
                  <a:pt x="13" y="475"/>
                </a:lnTo>
                <a:lnTo>
                  <a:pt x="13" y="475"/>
                </a:lnTo>
                <a:lnTo>
                  <a:pt x="13" y="475"/>
                </a:lnTo>
                <a:lnTo>
                  <a:pt x="13" y="475"/>
                </a:lnTo>
                <a:lnTo>
                  <a:pt x="12" y="475"/>
                </a:lnTo>
                <a:lnTo>
                  <a:pt x="12" y="475"/>
                </a:lnTo>
                <a:lnTo>
                  <a:pt x="12" y="475"/>
                </a:lnTo>
                <a:lnTo>
                  <a:pt x="12" y="474"/>
                </a:lnTo>
                <a:lnTo>
                  <a:pt x="12" y="474"/>
                </a:lnTo>
                <a:lnTo>
                  <a:pt x="12" y="474"/>
                </a:lnTo>
                <a:lnTo>
                  <a:pt x="12" y="474"/>
                </a:lnTo>
                <a:lnTo>
                  <a:pt x="11" y="474"/>
                </a:lnTo>
                <a:lnTo>
                  <a:pt x="11" y="474"/>
                </a:lnTo>
                <a:lnTo>
                  <a:pt x="11" y="473"/>
                </a:lnTo>
                <a:lnTo>
                  <a:pt x="11" y="473"/>
                </a:lnTo>
                <a:lnTo>
                  <a:pt x="11" y="473"/>
                </a:lnTo>
                <a:lnTo>
                  <a:pt x="11" y="473"/>
                </a:lnTo>
                <a:lnTo>
                  <a:pt x="11" y="473"/>
                </a:lnTo>
                <a:lnTo>
                  <a:pt x="9" y="473"/>
                </a:lnTo>
                <a:lnTo>
                  <a:pt x="9" y="473"/>
                </a:lnTo>
                <a:lnTo>
                  <a:pt x="9" y="472"/>
                </a:lnTo>
                <a:lnTo>
                  <a:pt x="9" y="472"/>
                </a:lnTo>
                <a:lnTo>
                  <a:pt x="9" y="472"/>
                </a:lnTo>
                <a:lnTo>
                  <a:pt x="9" y="472"/>
                </a:lnTo>
                <a:lnTo>
                  <a:pt x="9" y="472"/>
                </a:lnTo>
                <a:lnTo>
                  <a:pt x="9" y="472"/>
                </a:lnTo>
                <a:lnTo>
                  <a:pt x="8" y="472"/>
                </a:lnTo>
                <a:lnTo>
                  <a:pt x="8" y="471"/>
                </a:lnTo>
                <a:lnTo>
                  <a:pt x="8" y="471"/>
                </a:lnTo>
                <a:lnTo>
                  <a:pt x="8" y="471"/>
                </a:lnTo>
                <a:lnTo>
                  <a:pt x="8" y="471"/>
                </a:lnTo>
                <a:lnTo>
                  <a:pt x="8" y="471"/>
                </a:lnTo>
                <a:lnTo>
                  <a:pt x="8" y="471"/>
                </a:lnTo>
                <a:lnTo>
                  <a:pt x="8" y="470"/>
                </a:lnTo>
                <a:lnTo>
                  <a:pt x="7" y="470"/>
                </a:lnTo>
                <a:lnTo>
                  <a:pt x="7" y="470"/>
                </a:lnTo>
                <a:lnTo>
                  <a:pt x="7" y="470"/>
                </a:lnTo>
                <a:lnTo>
                  <a:pt x="7" y="470"/>
                </a:lnTo>
                <a:lnTo>
                  <a:pt x="7" y="470"/>
                </a:lnTo>
                <a:lnTo>
                  <a:pt x="7" y="468"/>
                </a:lnTo>
                <a:lnTo>
                  <a:pt x="7" y="468"/>
                </a:lnTo>
                <a:lnTo>
                  <a:pt x="7" y="468"/>
                </a:lnTo>
                <a:lnTo>
                  <a:pt x="7" y="468"/>
                </a:lnTo>
                <a:lnTo>
                  <a:pt x="6" y="468"/>
                </a:lnTo>
                <a:lnTo>
                  <a:pt x="6" y="468"/>
                </a:lnTo>
                <a:lnTo>
                  <a:pt x="6" y="467"/>
                </a:lnTo>
                <a:lnTo>
                  <a:pt x="6" y="467"/>
                </a:lnTo>
                <a:lnTo>
                  <a:pt x="6" y="467"/>
                </a:lnTo>
                <a:lnTo>
                  <a:pt x="6" y="467"/>
                </a:lnTo>
                <a:lnTo>
                  <a:pt x="6" y="467"/>
                </a:lnTo>
                <a:lnTo>
                  <a:pt x="6" y="467"/>
                </a:lnTo>
                <a:lnTo>
                  <a:pt x="6" y="466"/>
                </a:lnTo>
                <a:lnTo>
                  <a:pt x="6" y="466"/>
                </a:lnTo>
                <a:lnTo>
                  <a:pt x="5" y="466"/>
                </a:lnTo>
                <a:lnTo>
                  <a:pt x="5" y="466"/>
                </a:lnTo>
                <a:lnTo>
                  <a:pt x="5" y="466"/>
                </a:lnTo>
                <a:lnTo>
                  <a:pt x="5" y="465"/>
                </a:lnTo>
                <a:lnTo>
                  <a:pt x="5" y="465"/>
                </a:lnTo>
                <a:lnTo>
                  <a:pt x="5" y="465"/>
                </a:lnTo>
                <a:lnTo>
                  <a:pt x="5" y="465"/>
                </a:lnTo>
                <a:lnTo>
                  <a:pt x="5" y="465"/>
                </a:lnTo>
                <a:lnTo>
                  <a:pt x="5" y="465"/>
                </a:lnTo>
                <a:lnTo>
                  <a:pt x="5" y="464"/>
                </a:lnTo>
                <a:lnTo>
                  <a:pt x="5" y="464"/>
                </a:lnTo>
                <a:lnTo>
                  <a:pt x="4" y="464"/>
                </a:lnTo>
                <a:lnTo>
                  <a:pt x="4" y="464"/>
                </a:lnTo>
                <a:lnTo>
                  <a:pt x="4" y="464"/>
                </a:lnTo>
                <a:lnTo>
                  <a:pt x="4" y="463"/>
                </a:lnTo>
                <a:lnTo>
                  <a:pt x="4" y="463"/>
                </a:lnTo>
                <a:lnTo>
                  <a:pt x="4" y="463"/>
                </a:lnTo>
                <a:lnTo>
                  <a:pt x="4" y="463"/>
                </a:lnTo>
                <a:lnTo>
                  <a:pt x="4" y="463"/>
                </a:lnTo>
                <a:lnTo>
                  <a:pt x="4" y="463"/>
                </a:lnTo>
                <a:lnTo>
                  <a:pt x="4" y="462"/>
                </a:lnTo>
                <a:lnTo>
                  <a:pt x="4" y="462"/>
                </a:lnTo>
                <a:lnTo>
                  <a:pt x="4" y="462"/>
                </a:lnTo>
                <a:lnTo>
                  <a:pt x="3" y="462"/>
                </a:lnTo>
                <a:lnTo>
                  <a:pt x="3" y="462"/>
                </a:lnTo>
                <a:lnTo>
                  <a:pt x="3" y="461"/>
                </a:lnTo>
                <a:lnTo>
                  <a:pt x="3" y="461"/>
                </a:lnTo>
                <a:lnTo>
                  <a:pt x="3" y="461"/>
                </a:lnTo>
                <a:lnTo>
                  <a:pt x="3" y="461"/>
                </a:lnTo>
                <a:lnTo>
                  <a:pt x="3" y="461"/>
                </a:lnTo>
                <a:lnTo>
                  <a:pt x="3" y="459"/>
                </a:lnTo>
                <a:lnTo>
                  <a:pt x="3" y="459"/>
                </a:lnTo>
                <a:lnTo>
                  <a:pt x="3" y="459"/>
                </a:lnTo>
                <a:lnTo>
                  <a:pt x="3" y="459"/>
                </a:lnTo>
                <a:lnTo>
                  <a:pt x="3" y="459"/>
                </a:lnTo>
                <a:lnTo>
                  <a:pt x="3" y="458"/>
                </a:lnTo>
                <a:lnTo>
                  <a:pt x="3" y="458"/>
                </a:lnTo>
                <a:lnTo>
                  <a:pt x="3" y="458"/>
                </a:lnTo>
                <a:lnTo>
                  <a:pt x="2" y="458"/>
                </a:lnTo>
                <a:lnTo>
                  <a:pt x="2" y="458"/>
                </a:lnTo>
                <a:lnTo>
                  <a:pt x="2" y="457"/>
                </a:lnTo>
                <a:lnTo>
                  <a:pt x="2" y="457"/>
                </a:lnTo>
                <a:lnTo>
                  <a:pt x="2" y="457"/>
                </a:lnTo>
                <a:lnTo>
                  <a:pt x="2" y="457"/>
                </a:lnTo>
                <a:lnTo>
                  <a:pt x="2" y="457"/>
                </a:lnTo>
                <a:lnTo>
                  <a:pt x="2" y="456"/>
                </a:lnTo>
                <a:lnTo>
                  <a:pt x="2" y="456"/>
                </a:lnTo>
                <a:lnTo>
                  <a:pt x="2" y="456"/>
                </a:lnTo>
                <a:lnTo>
                  <a:pt x="2" y="456"/>
                </a:lnTo>
                <a:lnTo>
                  <a:pt x="2" y="456"/>
                </a:lnTo>
                <a:lnTo>
                  <a:pt x="2" y="455"/>
                </a:lnTo>
                <a:lnTo>
                  <a:pt x="2" y="455"/>
                </a:lnTo>
                <a:lnTo>
                  <a:pt x="2" y="455"/>
                </a:lnTo>
                <a:lnTo>
                  <a:pt x="2" y="455"/>
                </a:lnTo>
                <a:lnTo>
                  <a:pt x="2" y="455"/>
                </a:lnTo>
                <a:lnTo>
                  <a:pt x="2" y="454"/>
                </a:lnTo>
                <a:lnTo>
                  <a:pt x="2" y="454"/>
                </a:lnTo>
                <a:lnTo>
                  <a:pt x="2" y="454"/>
                </a:lnTo>
                <a:lnTo>
                  <a:pt x="2" y="454"/>
                </a:lnTo>
                <a:lnTo>
                  <a:pt x="2" y="454"/>
                </a:lnTo>
                <a:lnTo>
                  <a:pt x="2" y="453"/>
                </a:lnTo>
                <a:lnTo>
                  <a:pt x="2" y="453"/>
                </a:lnTo>
                <a:lnTo>
                  <a:pt x="2" y="453"/>
                </a:lnTo>
                <a:lnTo>
                  <a:pt x="2" y="453"/>
                </a:lnTo>
                <a:lnTo>
                  <a:pt x="0" y="453"/>
                </a:lnTo>
                <a:lnTo>
                  <a:pt x="0" y="452"/>
                </a:lnTo>
                <a:lnTo>
                  <a:pt x="0" y="452"/>
                </a:lnTo>
                <a:lnTo>
                  <a:pt x="0" y="452"/>
                </a:lnTo>
                <a:lnTo>
                  <a:pt x="0" y="452"/>
                </a:lnTo>
                <a:lnTo>
                  <a:pt x="0" y="450"/>
                </a:lnTo>
                <a:lnTo>
                  <a:pt x="0" y="450"/>
                </a:lnTo>
                <a:lnTo>
                  <a:pt x="0" y="450"/>
                </a:lnTo>
                <a:lnTo>
                  <a:pt x="0" y="450"/>
                </a:lnTo>
                <a:lnTo>
                  <a:pt x="0" y="450"/>
                </a:lnTo>
                <a:lnTo>
                  <a:pt x="0" y="449"/>
                </a:lnTo>
                <a:lnTo>
                  <a:pt x="0" y="449"/>
                </a:lnTo>
                <a:lnTo>
                  <a:pt x="0" y="449"/>
                </a:lnTo>
                <a:lnTo>
                  <a:pt x="0" y="449"/>
                </a:lnTo>
                <a:lnTo>
                  <a:pt x="0" y="449"/>
                </a:lnTo>
                <a:lnTo>
                  <a:pt x="0" y="448"/>
                </a:lnTo>
                <a:lnTo>
                  <a:pt x="0" y="448"/>
                </a:lnTo>
                <a:lnTo>
                  <a:pt x="0" y="448"/>
                </a:lnTo>
                <a:lnTo>
                  <a:pt x="0" y="448"/>
                </a:lnTo>
                <a:lnTo>
                  <a:pt x="0" y="447"/>
                </a:lnTo>
                <a:lnTo>
                  <a:pt x="0" y="447"/>
                </a:lnTo>
                <a:lnTo>
                  <a:pt x="0" y="447"/>
                </a:lnTo>
                <a:lnTo>
                  <a:pt x="0" y="447"/>
                </a:lnTo>
                <a:lnTo>
                  <a:pt x="0" y="447"/>
                </a:lnTo>
                <a:lnTo>
                  <a:pt x="0" y="446"/>
                </a:lnTo>
                <a:lnTo>
                  <a:pt x="0" y="446"/>
                </a:lnTo>
                <a:lnTo>
                  <a:pt x="0" y="446"/>
                </a:lnTo>
                <a:lnTo>
                  <a:pt x="0" y="446"/>
                </a:lnTo>
                <a:lnTo>
                  <a:pt x="0" y="446"/>
                </a:lnTo>
                <a:lnTo>
                  <a:pt x="0" y="445"/>
                </a:lnTo>
                <a:lnTo>
                  <a:pt x="0" y="445"/>
                </a:lnTo>
                <a:lnTo>
                  <a:pt x="0" y="445"/>
                </a:lnTo>
                <a:lnTo>
                  <a:pt x="0" y="445"/>
                </a:lnTo>
                <a:lnTo>
                  <a:pt x="0" y="445"/>
                </a:lnTo>
                <a:lnTo>
                  <a:pt x="0" y="444"/>
                </a:lnTo>
                <a:lnTo>
                  <a:pt x="2" y="444"/>
                </a:lnTo>
                <a:lnTo>
                  <a:pt x="2" y="444"/>
                </a:lnTo>
                <a:lnTo>
                  <a:pt x="2" y="444"/>
                </a:lnTo>
                <a:lnTo>
                  <a:pt x="2" y="442"/>
                </a:lnTo>
                <a:lnTo>
                  <a:pt x="2" y="442"/>
                </a:lnTo>
                <a:lnTo>
                  <a:pt x="2" y="442"/>
                </a:lnTo>
                <a:lnTo>
                  <a:pt x="2" y="442"/>
                </a:lnTo>
                <a:lnTo>
                  <a:pt x="2" y="442"/>
                </a:lnTo>
                <a:lnTo>
                  <a:pt x="2" y="441"/>
                </a:lnTo>
                <a:lnTo>
                  <a:pt x="2" y="441"/>
                </a:lnTo>
                <a:lnTo>
                  <a:pt x="2" y="441"/>
                </a:lnTo>
                <a:lnTo>
                  <a:pt x="2" y="441"/>
                </a:lnTo>
                <a:lnTo>
                  <a:pt x="2" y="441"/>
                </a:lnTo>
                <a:lnTo>
                  <a:pt x="2" y="440"/>
                </a:lnTo>
                <a:lnTo>
                  <a:pt x="2" y="440"/>
                </a:lnTo>
                <a:lnTo>
                  <a:pt x="2" y="440"/>
                </a:lnTo>
                <a:lnTo>
                  <a:pt x="2" y="440"/>
                </a:lnTo>
                <a:lnTo>
                  <a:pt x="2" y="440"/>
                </a:lnTo>
                <a:lnTo>
                  <a:pt x="2" y="439"/>
                </a:lnTo>
                <a:lnTo>
                  <a:pt x="2" y="439"/>
                </a:lnTo>
                <a:lnTo>
                  <a:pt x="2" y="439"/>
                </a:lnTo>
                <a:lnTo>
                  <a:pt x="2" y="439"/>
                </a:lnTo>
                <a:lnTo>
                  <a:pt x="2" y="439"/>
                </a:lnTo>
                <a:lnTo>
                  <a:pt x="2" y="438"/>
                </a:lnTo>
                <a:lnTo>
                  <a:pt x="2" y="438"/>
                </a:lnTo>
                <a:lnTo>
                  <a:pt x="2" y="438"/>
                </a:lnTo>
                <a:lnTo>
                  <a:pt x="3" y="438"/>
                </a:lnTo>
                <a:lnTo>
                  <a:pt x="3" y="438"/>
                </a:lnTo>
                <a:lnTo>
                  <a:pt x="3" y="437"/>
                </a:lnTo>
                <a:lnTo>
                  <a:pt x="3" y="437"/>
                </a:lnTo>
                <a:lnTo>
                  <a:pt x="3" y="437"/>
                </a:lnTo>
                <a:lnTo>
                  <a:pt x="3" y="437"/>
                </a:lnTo>
                <a:lnTo>
                  <a:pt x="3" y="437"/>
                </a:lnTo>
                <a:lnTo>
                  <a:pt x="3" y="436"/>
                </a:lnTo>
                <a:lnTo>
                  <a:pt x="3" y="436"/>
                </a:lnTo>
                <a:lnTo>
                  <a:pt x="3" y="436"/>
                </a:lnTo>
                <a:lnTo>
                  <a:pt x="3" y="436"/>
                </a:lnTo>
                <a:lnTo>
                  <a:pt x="3" y="436"/>
                </a:lnTo>
                <a:lnTo>
                  <a:pt x="3" y="435"/>
                </a:lnTo>
                <a:lnTo>
                  <a:pt x="3" y="435"/>
                </a:lnTo>
                <a:lnTo>
                  <a:pt x="3" y="435"/>
                </a:lnTo>
                <a:lnTo>
                  <a:pt x="4" y="435"/>
                </a:lnTo>
                <a:lnTo>
                  <a:pt x="4" y="435"/>
                </a:lnTo>
                <a:lnTo>
                  <a:pt x="4" y="433"/>
                </a:lnTo>
                <a:lnTo>
                  <a:pt x="4" y="433"/>
                </a:lnTo>
                <a:lnTo>
                  <a:pt x="4" y="433"/>
                </a:lnTo>
                <a:lnTo>
                  <a:pt x="4" y="433"/>
                </a:lnTo>
                <a:lnTo>
                  <a:pt x="4" y="433"/>
                </a:lnTo>
                <a:lnTo>
                  <a:pt x="4" y="433"/>
                </a:lnTo>
                <a:lnTo>
                  <a:pt x="4" y="432"/>
                </a:lnTo>
                <a:lnTo>
                  <a:pt x="4" y="432"/>
                </a:lnTo>
                <a:lnTo>
                  <a:pt x="4" y="432"/>
                </a:lnTo>
                <a:lnTo>
                  <a:pt x="4" y="432"/>
                </a:lnTo>
                <a:lnTo>
                  <a:pt x="5" y="432"/>
                </a:lnTo>
                <a:lnTo>
                  <a:pt x="5" y="431"/>
                </a:lnTo>
                <a:lnTo>
                  <a:pt x="5" y="431"/>
                </a:lnTo>
                <a:lnTo>
                  <a:pt x="5" y="431"/>
                </a:lnTo>
                <a:lnTo>
                  <a:pt x="5" y="431"/>
                </a:lnTo>
                <a:lnTo>
                  <a:pt x="5" y="431"/>
                </a:lnTo>
                <a:lnTo>
                  <a:pt x="5" y="431"/>
                </a:lnTo>
                <a:lnTo>
                  <a:pt x="5" y="430"/>
                </a:lnTo>
                <a:lnTo>
                  <a:pt x="5" y="430"/>
                </a:lnTo>
                <a:lnTo>
                  <a:pt x="5" y="430"/>
                </a:lnTo>
                <a:lnTo>
                  <a:pt x="5" y="430"/>
                </a:lnTo>
                <a:lnTo>
                  <a:pt x="6" y="430"/>
                </a:lnTo>
                <a:lnTo>
                  <a:pt x="6" y="429"/>
                </a:lnTo>
                <a:lnTo>
                  <a:pt x="6" y="429"/>
                </a:lnTo>
                <a:lnTo>
                  <a:pt x="6" y="429"/>
                </a:lnTo>
                <a:lnTo>
                  <a:pt x="6" y="429"/>
                </a:lnTo>
                <a:lnTo>
                  <a:pt x="6" y="429"/>
                </a:lnTo>
                <a:lnTo>
                  <a:pt x="6" y="429"/>
                </a:lnTo>
                <a:lnTo>
                  <a:pt x="6" y="428"/>
                </a:lnTo>
                <a:lnTo>
                  <a:pt x="6" y="428"/>
                </a:lnTo>
                <a:lnTo>
                  <a:pt x="6" y="428"/>
                </a:lnTo>
                <a:lnTo>
                  <a:pt x="7" y="428"/>
                </a:lnTo>
                <a:lnTo>
                  <a:pt x="7" y="428"/>
                </a:lnTo>
                <a:lnTo>
                  <a:pt x="7" y="428"/>
                </a:lnTo>
                <a:lnTo>
                  <a:pt x="7" y="427"/>
                </a:lnTo>
                <a:lnTo>
                  <a:pt x="7" y="427"/>
                </a:lnTo>
                <a:lnTo>
                  <a:pt x="7" y="427"/>
                </a:lnTo>
                <a:lnTo>
                  <a:pt x="7" y="427"/>
                </a:lnTo>
                <a:lnTo>
                  <a:pt x="7" y="427"/>
                </a:lnTo>
                <a:lnTo>
                  <a:pt x="7" y="427"/>
                </a:lnTo>
                <a:lnTo>
                  <a:pt x="8" y="426"/>
                </a:lnTo>
                <a:lnTo>
                  <a:pt x="8" y="426"/>
                </a:lnTo>
                <a:lnTo>
                  <a:pt x="8" y="426"/>
                </a:lnTo>
                <a:lnTo>
                  <a:pt x="8" y="426"/>
                </a:lnTo>
                <a:lnTo>
                  <a:pt x="8" y="426"/>
                </a:lnTo>
                <a:lnTo>
                  <a:pt x="8" y="426"/>
                </a:lnTo>
                <a:lnTo>
                  <a:pt x="8" y="424"/>
                </a:lnTo>
                <a:lnTo>
                  <a:pt x="8" y="424"/>
                </a:lnTo>
                <a:lnTo>
                  <a:pt x="9" y="424"/>
                </a:lnTo>
                <a:lnTo>
                  <a:pt x="9" y="424"/>
                </a:lnTo>
                <a:lnTo>
                  <a:pt x="9" y="424"/>
                </a:lnTo>
                <a:lnTo>
                  <a:pt x="9" y="424"/>
                </a:lnTo>
                <a:lnTo>
                  <a:pt x="9" y="424"/>
                </a:lnTo>
                <a:lnTo>
                  <a:pt x="9" y="423"/>
                </a:lnTo>
                <a:lnTo>
                  <a:pt x="9" y="423"/>
                </a:lnTo>
                <a:lnTo>
                  <a:pt x="9" y="423"/>
                </a:lnTo>
                <a:lnTo>
                  <a:pt x="11" y="423"/>
                </a:lnTo>
                <a:lnTo>
                  <a:pt x="11" y="423"/>
                </a:lnTo>
                <a:lnTo>
                  <a:pt x="11" y="423"/>
                </a:lnTo>
                <a:lnTo>
                  <a:pt x="11" y="422"/>
                </a:lnTo>
                <a:lnTo>
                  <a:pt x="11" y="422"/>
                </a:lnTo>
                <a:lnTo>
                  <a:pt x="11" y="422"/>
                </a:lnTo>
                <a:lnTo>
                  <a:pt x="11" y="422"/>
                </a:lnTo>
                <a:lnTo>
                  <a:pt x="12" y="422"/>
                </a:lnTo>
                <a:lnTo>
                  <a:pt x="12" y="422"/>
                </a:lnTo>
                <a:lnTo>
                  <a:pt x="12" y="422"/>
                </a:lnTo>
                <a:lnTo>
                  <a:pt x="12" y="421"/>
                </a:lnTo>
                <a:lnTo>
                  <a:pt x="12" y="421"/>
                </a:lnTo>
                <a:lnTo>
                  <a:pt x="12" y="421"/>
                </a:lnTo>
                <a:lnTo>
                  <a:pt x="12" y="421"/>
                </a:lnTo>
                <a:lnTo>
                  <a:pt x="13" y="421"/>
                </a:lnTo>
                <a:lnTo>
                  <a:pt x="13" y="421"/>
                </a:lnTo>
                <a:lnTo>
                  <a:pt x="13" y="421"/>
                </a:lnTo>
                <a:lnTo>
                  <a:pt x="13" y="420"/>
                </a:lnTo>
                <a:lnTo>
                  <a:pt x="13" y="420"/>
                </a:lnTo>
                <a:lnTo>
                  <a:pt x="13" y="420"/>
                </a:lnTo>
                <a:lnTo>
                  <a:pt x="13" y="420"/>
                </a:lnTo>
                <a:lnTo>
                  <a:pt x="14" y="420"/>
                </a:lnTo>
                <a:lnTo>
                  <a:pt x="14" y="420"/>
                </a:lnTo>
                <a:lnTo>
                  <a:pt x="14" y="420"/>
                </a:lnTo>
                <a:lnTo>
                  <a:pt x="14" y="420"/>
                </a:lnTo>
                <a:lnTo>
                  <a:pt x="14" y="419"/>
                </a:lnTo>
                <a:lnTo>
                  <a:pt x="14" y="419"/>
                </a:lnTo>
                <a:lnTo>
                  <a:pt x="14" y="419"/>
                </a:lnTo>
                <a:lnTo>
                  <a:pt x="15" y="419"/>
                </a:lnTo>
                <a:lnTo>
                  <a:pt x="15" y="419"/>
                </a:lnTo>
                <a:lnTo>
                  <a:pt x="15" y="419"/>
                </a:lnTo>
                <a:lnTo>
                  <a:pt x="15" y="419"/>
                </a:lnTo>
                <a:lnTo>
                  <a:pt x="15" y="419"/>
                </a:lnTo>
                <a:lnTo>
                  <a:pt x="15" y="418"/>
                </a:lnTo>
                <a:lnTo>
                  <a:pt x="16" y="418"/>
                </a:lnTo>
                <a:lnTo>
                  <a:pt x="16" y="418"/>
                </a:lnTo>
                <a:lnTo>
                  <a:pt x="16" y="418"/>
                </a:lnTo>
                <a:lnTo>
                  <a:pt x="16" y="418"/>
                </a:lnTo>
                <a:lnTo>
                  <a:pt x="16" y="418"/>
                </a:lnTo>
                <a:lnTo>
                  <a:pt x="16" y="418"/>
                </a:lnTo>
                <a:lnTo>
                  <a:pt x="17" y="418"/>
                </a:lnTo>
                <a:lnTo>
                  <a:pt x="17" y="417"/>
                </a:lnTo>
                <a:lnTo>
                  <a:pt x="17" y="417"/>
                </a:lnTo>
                <a:lnTo>
                  <a:pt x="17" y="417"/>
                </a:lnTo>
                <a:lnTo>
                  <a:pt x="17" y="417"/>
                </a:lnTo>
                <a:lnTo>
                  <a:pt x="17" y="417"/>
                </a:lnTo>
                <a:lnTo>
                  <a:pt x="18" y="417"/>
                </a:lnTo>
                <a:lnTo>
                  <a:pt x="18" y="417"/>
                </a:lnTo>
                <a:lnTo>
                  <a:pt x="18" y="417"/>
                </a:lnTo>
                <a:lnTo>
                  <a:pt x="18" y="417"/>
                </a:lnTo>
                <a:lnTo>
                  <a:pt x="18" y="415"/>
                </a:lnTo>
                <a:lnTo>
                  <a:pt x="18" y="415"/>
                </a:lnTo>
                <a:lnTo>
                  <a:pt x="20" y="415"/>
                </a:lnTo>
                <a:lnTo>
                  <a:pt x="20" y="415"/>
                </a:lnTo>
                <a:lnTo>
                  <a:pt x="20" y="415"/>
                </a:lnTo>
                <a:lnTo>
                  <a:pt x="20" y="415"/>
                </a:lnTo>
                <a:lnTo>
                  <a:pt x="20" y="415"/>
                </a:lnTo>
                <a:lnTo>
                  <a:pt x="20" y="415"/>
                </a:lnTo>
                <a:lnTo>
                  <a:pt x="21" y="415"/>
                </a:lnTo>
                <a:lnTo>
                  <a:pt x="21" y="415"/>
                </a:lnTo>
                <a:lnTo>
                  <a:pt x="21" y="414"/>
                </a:lnTo>
                <a:lnTo>
                  <a:pt x="21" y="414"/>
                </a:lnTo>
                <a:lnTo>
                  <a:pt x="21" y="414"/>
                </a:lnTo>
                <a:lnTo>
                  <a:pt x="21" y="414"/>
                </a:lnTo>
                <a:lnTo>
                  <a:pt x="22" y="414"/>
                </a:lnTo>
                <a:lnTo>
                  <a:pt x="22" y="414"/>
                </a:lnTo>
                <a:lnTo>
                  <a:pt x="22" y="414"/>
                </a:lnTo>
                <a:lnTo>
                  <a:pt x="22" y="414"/>
                </a:lnTo>
                <a:lnTo>
                  <a:pt x="22" y="414"/>
                </a:lnTo>
                <a:lnTo>
                  <a:pt x="23" y="414"/>
                </a:lnTo>
                <a:lnTo>
                  <a:pt x="23" y="414"/>
                </a:lnTo>
                <a:lnTo>
                  <a:pt x="23" y="413"/>
                </a:lnTo>
                <a:lnTo>
                  <a:pt x="23" y="413"/>
                </a:lnTo>
                <a:lnTo>
                  <a:pt x="23" y="413"/>
                </a:lnTo>
                <a:lnTo>
                  <a:pt x="24" y="413"/>
                </a:lnTo>
                <a:lnTo>
                  <a:pt x="24" y="413"/>
                </a:lnTo>
                <a:lnTo>
                  <a:pt x="24" y="413"/>
                </a:lnTo>
                <a:lnTo>
                  <a:pt x="24" y="413"/>
                </a:lnTo>
                <a:lnTo>
                  <a:pt x="24" y="413"/>
                </a:lnTo>
                <a:lnTo>
                  <a:pt x="24" y="413"/>
                </a:lnTo>
                <a:lnTo>
                  <a:pt x="25" y="413"/>
                </a:lnTo>
                <a:lnTo>
                  <a:pt x="25" y="413"/>
                </a:lnTo>
                <a:lnTo>
                  <a:pt x="25" y="413"/>
                </a:lnTo>
                <a:lnTo>
                  <a:pt x="25" y="413"/>
                </a:lnTo>
                <a:lnTo>
                  <a:pt x="25" y="412"/>
                </a:lnTo>
                <a:lnTo>
                  <a:pt x="26" y="412"/>
                </a:lnTo>
                <a:lnTo>
                  <a:pt x="26" y="412"/>
                </a:lnTo>
                <a:lnTo>
                  <a:pt x="26" y="412"/>
                </a:lnTo>
                <a:lnTo>
                  <a:pt x="26" y="412"/>
                </a:lnTo>
                <a:lnTo>
                  <a:pt x="26" y="412"/>
                </a:lnTo>
                <a:lnTo>
                  <a:pt x="27" y="412"/>
                </a:lnTo>
                <a:lnTo>
                  <a:pt x="27" y="412"/>
                </a:lnTo>
                <a:lnTo>
                  <a:pt x="27" y="412"/>
                </a:lnTo>
                <a:lnTo>
                  <a:pt x="27" y="412"/>
                </a:lnTo>
                <a:lnTo>
                  <a:pt x="27" y="412"/>
                </a:lnTo>
                <a:lnTo>
                  <a:pt x="29" y="412"/>
                </a:lnTo>
                <a:lnTo>
                  <a:pt x="29" y="412"/>
                </a:lnTo>
                <a:lnTo>
                  <a:pt x="29" y="412"/>
                </a:lnTo>
                <a:lnTo>
                  <a:pt x="29" y="412"/>
                </a:lnTo>
                <a:lnTo>
                  <a:pt x="29" y="412"/>
                </a:lnTo>
                <a:lnTo>
                  <a:pt x="30" y="412"/>
                </a:lnTo>
                <a:lnTo>
                  <a:pt x="30" y="411"/>
                </a:lnTo>
                <a:lnTo>
                  <a:pt x="30" y="411"/>
                </a:lnTo>
                <a:lnTo>
                  <a:pt x="30" y="411"/>
                </a:lnTo>
                <a:lnTo>
                  <a:pt x="30" y="411"/>
                </a:lnTo>
                <a:lnTo>
                  <a:pt x="31" y="411"/>
                </a:lnTo>
                <a:lnTo>
                  <a:pt x="31" y="411"/>
                </a:lnTo>
                <a:lnTo>
                  <a:pt x="31" y="411"/>
                </a:lnTo>
                <a:lnTo>
                  <a:pt x="31" y="411"/>
                </a:lnTo>
                <a:lnTo>
                  <a:pt x="31" y="411"/>
                </a:lnTo>
                <a:lnTo>
                  <a:pt x="32" y="411"/>
                </a:lnTo>
                <a:lnTo>
                  <a:pt x="32" y="411"/>
                </a:lnTo>
                <a:lnTo>
                  <a:pt x="32" y="411"/>
                </a:lnTo>
                <a:lnTo>
                  <a:pt x="32" y="411"/>
                </a:lnTo>
                <a:lnTo>
                  <a:pt x="32" y="411"/>
                </a:lnTo>
                <a:lnTo>
                  <a:pt x="33" y="411"/>
                </a:lnTo>
                <a:lnTo>
                  <a:pt x="33" y="411"/>
                </a:lnTo>
                <a:lnTo>
                  <a:pt x="33" y="411"/>
                </a:lnTo>
                <a:lnTo>
                  <a:pt x="33" y="411"/>
                </a:lnTo>
                <a:lnTo>
                  <a:pt x="33" y="411"/>
                </a:lnTo>
                <a:lnTo>
                  <a:pt x="34" y="411"/>
                </a:lnTo>
                <a:lnTo>
                  <a:pt x="34" y="411"/>
                </a:lnTo>
                <a:lnTo>
                  <a:pt x="34" y="411"/>
                </a:lnTo>
                <a:lnTo>
                  <a:pt x="34" y="411"/>
                </a:lnTo>
                <a:lnTo>
                  <a:pt x="34" y="411"/>
                </a:lnTo>
                <a:lnTo>
                  <a:pt x="35" y="411"/>
                </a:lnTo>
                <a:lnTo>
                  <a:pt x="35" y="411"/>
                </a:lnTo>
                <a:lnTo>
                  <a:pt x="35" y="411"/>
                </a:lnTo>
                <a:lnTo>
                  <a:pt x="35" y="411"/>
                </a:lnTo>
                <a:lnTo>
                  <a:pt x="36" y="411"/>
                </a:lnTo>
                <a:lnTo>
                  <a:pt x="36" y="411"/>
                </a:lnTo>
                <a:lnTo>
                  <a:pt x="36" y="411"/>
                </a:lnTo>
                <a:lnTo>
                  <a:pt x="36" y="411"/>
                </a:lnTo>
                <a:lnTo>
                  <a:pt x="36" y="411"/>
                </a:lnTo>
                <a:lnTo>
                  <a:pt x="38" y="411"/>
                </a:lnTo>
                <a:lnTo>
                  <a:pt x="38" y="411"/>
                </a:lnTo>
                <a:lnTo>
                  <a:pt x="38" y="411"/>
                </a:lnTo>
                <a:lnTo>
                  <a:pt x="38" y="411"/>
                </a:lnTo>
                <a:lnTo>
                  <a:pt x="38" y="411"/>
                </a:lnTo>
                <a:lnTo>
                  <a:pt x="39" y="411"/>
                </a:lnTo>
                <a:lnTo>
                  <a:pt x="39" y="411"/>
                </a:lnTo>
                <a:close/>
                <a:moveTo>
                  <a:pt x="42" y="404"/>
                </a:moveTo>
                <a:lnTo>
                  <a:pt x="34" y="404"/>
                </a:lnTo>
                <a:lnTo>
                  <a:pt x="34" y="388"/>
                </a:lnTo>
                <a:lnTo>
                  <a:pt x="42" y="388"/>
                </a:lnTo>
                <a:lnTo>
                  <a:pt x="42" y="404"/>
                </a:lnTo>
                <a:lnTo>
                  <a:pt x="42" y="404"/>
                </a:lnTo>
                <a:close/>
                <a:moveTo>
                  <a:pt x="42" y="357"/>
                </a:moveTo>
                <a:lnTo>
                  <a:pt x="34" y="357"/>
                </a:lnTo>
                <a:lnTo>
                  <a:pt x="34" y="341"/>
                </a:lnTo>
                <a:lnTo>
                  <a:pt x="42" y="341"/>
                </a:lnTo>
                <a:lnTo>
                  <a:pt x="42" y="357"/>
                </a:lnTo>
                <a:lnTo>
                  <a:pt x="42" y="357"/>
                </a:lnTo>
                <a:close/>
                <a:moveTo>
                  <a:pt x="42" y="310"/>
                </a:moveTo>
                <a:lnTo>
                  <a:pt x="34" y="310"/>
                </a:lnTo>
                <a:lnTo>
                  <a:pt x="34" y="294"/>
                </a:lnTo>
                <a:lnTo>
                  <a:pt x="42" y="294"/>
                </a:lnTo>
                <a:lnTo>
                  <a:pt x="42" y="310"/>
                </a:lnTo>
                <a:lnTo>
                  <a:pt x="42" y="310"/>
                </a:lnTo>
                <a:close/>
                <a:moveTo>
                  <a:pt x="39" y="267"/>
                </a:moveTo>
                <a:lnTo>
                  <a:pt x="39" y="259"/>
                </a:lnTo>
                <a:lnTo>
                  <a:pt x="55" y="259"/>
                </a:lnTo>
                <a:lnTo>
                  <a:pt x="55" y="267"/>
                </a:lnTo>
                <a:lnTo>
                  <a:pt x="39" y="267"/>
                </a:lnTo>
                <a:lnTo>
                  <a:pt x="39" y="267"/>
                </a:lnTo>
                <a:close/>
                <a:moveTo>
                  <a:pt x="86" y="267"/>
                </a:moveTo>
                <a:lnTo>
                  <a:pt x="86" y="259"/>
                </a:lnTo>
                <a:lnTo>
                  <a:pt x="102" y="259"/>
                </a:lnTo>
                <a:lnTo>
                  <a:pt x="102" y="267"/>
                </a:lnTo>
                <a:lnTo>
                  <a:pt x="86" y="267"/>
                </a:lnTo>
                <a:lnTo>
                  <a:pt x="86" y="267"/>
                </a:lnTo>
                <a:close/>
                <a:moveTo>
                  <a:pt x="133" y="267"/>
                </a:moveTo>
                <a:lnTo>
                  <a:pt x="133" y="259"/>
                </a:lnTo>
                <a:lnTo>
                  <a:pt x="148" y="259"/>
                </a:lnTo>
                <a:lnTo>
                  <a:pt x="148" y="267"/>
                </a:lnTo>
                <a:lnTo>
                  <a:pt x="133" y="267"/>
                </a:lnTo>
                <a:lnTo>
                  <a:pt x="133" y="267"/>
                </a:lnTo>
                <a:close/>
                <a:moveTo>
                  <a:pt x="179" y="267"/>
                </a:moveTo>
                <a:lnTo>
                  <a:pt x="179" y="259"/>
                </a:lnTo>
                <a:lnTo>
                  <a:pt x="195" y="259"/>
                </a:lnTo>
                <a:lnTo>
                  <a:pt x="195" y="267"/>
                </a:lnTo>
                <a:lnTo>
                  <a:pt x="179" y="267"/>
                </a:lnTo>
                <a:lnTo>
                  <a:pt x="179" y="267"/>
                </a:lnTo>
                <a:close/>
                <a:moveTo>
                  <a:pt x="227" y="267"/>
                </a:moveTo>
                <a:lnTo>
                  <a:pt x="227" y="259"/>
                </a:lnTo>
                <a:lnTo>
                  <a:pt x="243" y="259"/>
                </a:lnTo>
                <a:lnTo>
                  <a:pt x="243" y="267"/>
                </a:lnTo>
                <a:lnTo>
                  <a:pt x="227" y="267"/>
                </a:lnTo>
                <a:lnTo>
                  <a:pt x="227" y="267"/>
                </a:lnTo>
                <a:close/>
                <a:moveTo>
                  <a:pt x="274" y="267"/>
                </a:moveTo>
                <a:lnTo>
                  <a:pt x="274" y="259"/>
                </a:lnTo>
                <a:lnTo>
                  <a:pt x="290" y="259"/>
                </a:lnTo>
                <a:lnTo>
                  <a:pt x="290" y="267"/>
                </a:lnTo>
                <a:lnTo>
                  <a:pt x="274" y="267"/>
                </a:lnTo>
                <a:lnTo>
                  <a:pt x="274" y="267"/>
                </a:lnTo>
                <a:close/>
                <a:moveTo>
                  <a:pt x="321" y="267"/>
                </a:moveTo>
                <a:lnTo>
                  <a:pt x="321" y="259"/>
                </a:lnTo>
                <a:lnTo>
                  <a:pt x="337" y="259"/>
                </a:lnTo>
                <a:lnTo>
                  <a:pt x="337" y="267"/>
                </a:lnTo>
                <a:lnTo>
                  <a:pt x="321" y="267"/>
                </a:lnTo>
                <a:lnTo>
                  <a:pt x="321" y="267"/>
                </a:lnTo>
                <a:close/>
                <a:moveTo>
                  <a:pt x="369" y="267"/>
                </a:moveTo>
                <a:lnTo>
                  <a:pt x="369" y="259"/>
                </a:lnTo>
                <a:lnTo>
                  <a:pt x="384" y="259"/>
                </a:lnTo>
                <a:lnTo>
                  <a:pt x="384" y="267"/>
                </a:lnTo>
                <a:lnTo>
                  <a:pt x="369" y="267"/>
                </a:lnTo>
                <a:lnTo>
                  <a:pt x="369" y="267"/>
                </a:lnTo>
                <a:close/>
                <a:moveTo>
                  <a:pt x="416" y="267"/>
                </a:moveTo>
                <a:lnTo>
                  <a:pt x="416" y="259"/>
                </a:lnTo>
                <a:lnTo>
                  <a:pt x="432" y="259"/>
                </a:lnTo>
                <a:lnTo>
                  <a:pt x="432" y="267"/>
                </a:lnTo>
                <a:lnTo>
                  <a:pt x="416" y="267"/>
                </a:lnTo>
                <a:lnTo>
                  <a:pt x="416" y="267"/>
                </a:lnTo>
                <a:close/>
                <a:moveTo>
                  <a:pt x="454" y="251"/>
                </a:moveTo>
                <a:lnTo>
                  <a:pt x="447" y="251"/>
                </a:lnTo>
                <a:lnTo>
                  <a:pt x="447" y="235"/>
                </a:lnTo>
                <a:lnTo>
                  <a:pt x="454" y="235"/>
                </a:lnTo>
                <a:lnTo>
                  <a:pt x="454" y="251"/>
                </a:lnTo>
                <a:lnTo>
                  <a:pt x="454" y="251"/>
                </a:lnTo>
                <a:close/>
                <a:moveTo>
                  <a:pt x="454" y="204"/>
                </a:moveTo>
                <a:lnTo>
                  <a:pt x="447" y="204"/>
                </a:lnTo>
                <a:lnTo>
                  <a:pt x="447" y="188"/>
                </a:lnTo>
                <a:lnTo>
                  <a:pt x="454" y="188"/>
                </a:lnTo>
                <a:lnTo>
                  <a:pt x="454" y="204"/>
                </a:lnTo>
                <a:lnTo>
                  <a:pt x="454" y="204"/>
                </a:lnTo>
                <a:close/>
                <a:moveTo>
                  <a:pt x="454" y="156"/>
                </a:moveTo>
                <a:lnTo>
                  <a:pt x="447" y="156"/>
                </a:lnTo>
                <a:lnTo>
                  <a:pt x="447" y="141"/>
                </a:lnTo>
                <a:lnTo>
                  <a:pt x="454" y="141"/>
                </a:lnTo>
                <a:lnTo>
                  <a:pt x="454" y="156"/>
                </a:lnTo>
                <a:lnTo>
                  <a:pt x="454" y="156"/>
                </a:lnTo>
                <a:close/>
                <a:moveTo>
                  <a:pt x="454" y="109"/>
                </a:moveTo>
                <a:lnTo>
                  <a:pt x="447" y="109"/>
                </a:lnTo>
                <a:lnTo>
                  <a:pt x="447" y="93"/>
                </a:lnTo>
                <a:lnTo>
                  <a:pt x="454" y="93"/>
                </a:lnTo>
                <a:lnTo>
                  <a:pt x="454" y="109"/>
                </a:lnTo>
                <a:lnTo>
                  <a:pt x="454" y="109"/>
                </a:lnTo>
                <a:close/>
                <a:moveTo>
                  <a:pt x="454" y="62"/>
                </a:moveTo>
                <a:lnTo>
                  <a:pt x="447" y="62"/>
                </a:lnTo>
                <a:lnTo>
                  <a:pt x="447" y="47"/>
                </a:lnTo>
                <a:lnTo>
                  <a:pt x="454" y="47"/>
                </a:lnTo>
                <a:lnTo>
                  <a:pt x="454" y="62"/>
                </a:lnTo>
                <a:close/>
              </a:path>
            </a:pathLst>
          </a:custGeom>
          <a:solidFill>
            <a:srgbClr val="8497B0"/>
          </a:solidFill>
          <a:ln>
            <a:solidFill>
              <a:schemeClr val="accent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85" name="Freeform 79">
            <a:extLst>
              <a:ext uri="{FF2B5EF4-FFF2-40B4-BE49-F238E27FC236}">
                <a16:creationId xmlns:a16="http://schemas.microsoft.com/office/drawing/2014/main" id="{A45D6E0B-8C61-4995-A426-AF4C3B57DA70}"/>
              </a:ext>
            </a:extLst>
          </p:cNvPr>
          <p:cNvSpPr>
            <a:spLocks noEditPoints="1"/>
          </p:cNvSpPr>
          <p:nvPr/>
        </p:nvSpPr>
        <p:spPr bwMode="auto">
          <a:xfrm>
            <a:off x="3400871" y="3141663"/>
            <a:ext cx="895350" cy="352425"/>
          </a:xfrm>
          <a:custGeom>
            <a:avLst/>
            <a:gdLst>
              <a:gd name="T0" fmla="*/ 521 w 564"/>
              <a:gd name="T1" fmla="*/ 156 h 222"/>
              <a:gd name="T2" fmla="*/ 515 w 564"/>
              <a:gd name="T3" fmla="*/ 157 h 222"/>
              <a:gd name="T4" fmla="*/ 511 w 564"/>
              <a:gd name="T5" fmla="*/ 160 h 222"/>
              <a:gd name="T6" fmla="*/ 506 w 564"/>
              <a:gd name="T7" fmla="*/ 163 h 222"/>
              <a:gd name="T8" fmla="*/ 502 w 564"/>
              <a:gd name="T9" fmla="*/ 168 h 222"/>
              <a:gd name="T10" fmla="*/ 499 w 564"/>
              <a:gd name="T11" fmla="*/ 174 h 222"/>
              <a:gd name="T12" fmla="*/ 497 w 564"/>
              <a:gd name="T13" fmla="*/ 179 h 222"/>
              <a:gd name="T14" fmla="*/ 496 w 564"/>
              <a:gd name="T15" fmla="*/ 185 h 222"/>
              <a:gd name="T16" fmla="*/ 497 w 564"/>
              <a:gd name="T17" fmla="*/ 192 h 222"/>
              <a:gd name="T18" fmla="*/ 499 w 564"/>
              <a:gd name="T19" fmla="*/ 197 h 222"/>
              <a:gd name="T20" fmla="*/ 502 w 564"/>
              <a:gd name="T21" fmla="*/ 202 h 222"/>
              <a:gd name="T22" fmla="*/ 506 w 564"/>
              <a:gd name="T23" fmla="*/ 206 h 222"/>
              <a:gd name="T24" fmla="*/ 511 w 564"/>
              <a:gd name="T25" fmla="*/ 210 h 222"/>
              <a:gd name="T26" fmla="*/ 516 w 564"/>
              <a:gd name="T27" fmla="*/ 213 h 222"/>
              <a:gd name="T28" fmla="*/ 522 w 564"/>
              <a:gd name="T29" fmla="*/ 214 h 222"/>
              <a:gd name="T30" fmla="*/ 528 w 564"/>
              <a:gd name="T31" fmla="*/ 214 h 222"/>
              <a:gd name="T32" fmla="*/ 534 w 564"/>
              <a:gd name="T33" fmla="*/ 213 h 222"/>
              <a:gd name="T34" fmla="*/ 540 w 564"/>
              <a:gd name="T35" fmla="*/ 212 h 222"/>
              <a:gd name="T36" fmla="*/ 544 w 564"/>
              <a:gd name="T37" fmla="*/ 209 h 222"/>
              <a:gd name="T38" fmla="*/ 549 w 564"/>
              <a:gd name="T39" fmla="*/ 204 h 222"/>
              <a:gd name="T40" fmla="*/ 552 w 564"/>
              <a:gd name="T41" fmla="*/ 200 h 222"/>
              <a:gd name="T42" fmla="*/ 555 w 564"/>
              <a:gd name="T43" fmla="*/ 194 h 222"/>
              <a:gd name="T44" fmla="*/ 556 w 564"/>
              <a:gd name="T45" fmla="*/ 188 h 222"/>
              <a:gd name="T46" fmla="*/ 556 w 564"/>
              <a:gd name="T47" fmla="*/ 182 h 222"/>
              <a:gd name="T48" fmla="*/ 555 w 564"/>
              <a:gd name="T49" fmla="*/ 176 h 222"/>
              <a:gd name="T50" fmla="*/ 552 w 564"/>
              <a:gd name="T51" fmla="*/ 170 h 222"/>
              <a:gd name="T52" fmla="*/ 549 w 564"/>
              <a:gd name="T53" fmla="*/ 166 h 222"/>
              <a:gd name="T54" fmla="*/ 544 w 564"/>
              <a:gd name="T55" fmla="*/ 161 h 222"/>
              <a:gd name="T56" fmla="*/ 539 w 564"/>
              <a:gd name="T57" fmla="*/ 158 h 222"/>
              <a:gd name="T58" fmla="*/ 534 w 564"/>
              <a:gd name="T59" fmla="*/ 157 h 222"/>
              <a:gd name="T60" fmla="*/ 528 w 564"/>
              <a:gd name="T61" fmla="*/ 156 h 222"/>
              <a:gd name="T62" fmla="*/ 489 w 564"/>
              <a:gd name="T63" fmla="*/ 176 h 222"/>
              <a:gd name="T64" fmla="*/ 493 w 564"/>
              <a:gd name="T65" fmla="*/ 169 h 222"/>
              <a:gd name="T66" fmla="*/ 496 w 564"/>
              <a:gd name="T67" fmla="*/ 162 h 222"/>
              <a:gd name="T68" fmla="*/ 502 w 564"/>
              <a:gd name="T69" fmla="*/ 157 h 222"/>
              <a:gd name="T70" fmla="*/ 507 w 564"/>
              <a:gd name="T71" fmla="*/ 152 h 222"/>
              <a:gd name="T72" fmla="*/ 514 w 564"/>
              <a:gd name="T73" fmla="*/ 149 h 222"/>
              <a:gd name="T74" fmla="*/ 522 w 564"/>
              <a:gd name="T75" fmla="*/ 148 h 222"/>
              <a:gd name="T76" fmla="*/ 530 w 564"/>
              <a:gd name="T77" fmla="*/ 148 h 222"/>
              <a:gd name="T78" fmla="*/ 538 w 564"/>
              <a:gd name="T79" fmla="*/ 149 h 222"/>
              <a:gd name="T80" fmla="*/ 544 w 564"/>
              <a:gd name="T81" fmla="*/ 152 h 222"/>
              <a:gd name="T82" fmla="*/ 550 w 564"/>
              <a:gd name="T83" fmla="*/ 156 h 222"/>
              <a:gd name="T84" fmla="*/ 556 w 564"/>
              <a:gd name="T85" fmla="*/ 161 h 222"/>
              <a:gd name="T86" fmla="*/ 559 w 564"/>
              <a:gd name="T87" fmla="*/ 168 h 222"/>
              <a:gd name="T88" fmla="*/ 562 w 564"/>
              <a:gd name="T89" fmla="*/ 175 h 222"/>
              <a:gd name="T90" fmla="*/ 564 w 564"/>
              <a:gd name="T91" fmla="*/ 183 h 222"/>
              <a:gd name="T92" fmla="*/ 564 w 564"/>
              <a:gd name="T93" fmla="*/ 191 h 222"/>
              <a:gd name="T94" fmla="*/ 561 w 564"/>
              <a:gd name="T95" fmla="*/ 197 h 222"/>
              <a:gd name="T96" fmla="*/ 558 w 564"/>
              <a:gd name="T97" fmla="*/ 204 h 222"/>
              <a:gd name="T98" fmla="*/ 553 w 564"/>
              <a:gd name="T99" fmla="*/ 211 h 222"/>
              <a:gd name="T100" fmla="*/ 548 w 564"/>
              <a:gd name="T101" fmla="*/ 215 h 222"/>
              <a:gd name="T102" fmla="*/ 542 w 564"/>
              <a:gd name="T103" fmla="*/ 219 h 222"/>
              <a:gd name="T104" fmla="*/ 534 w 564"/>
              <a:gd name="T105" fmla="*/ 222 h 222"/>
              <a:gd name="T106" fmla="*/ 526 w 564"/>
              <a:gd name="T107" fmla="*/ 222 h 222"/>
              <a:gd name="T108" fmla="*/ 519 w 564"/>
              <a:gd name="T109" fmla="*/ 222 h 222"/>
              <a:gd name="T110" fmla="*/ 512 w 564"/>
              <a:gd name="T111" fmla="*/ 220 h 222"/>
              <a:gd name="T112" fmla="*/ 505 w 564"/>
              <a:gd name="T113" fmla="*/ 216 h 222"/>
              <a:gd name="T114" fmla="*/ 499 w 564"/>
              <a:gd name="T115" fmla="*/ 211 h 222"/>
              <a:gd name="T116" fmla="*/ 495 w 564"/>
              <a:gd name="T117" fmla="*/ 205 h 222"/>
              <a:gd name="T118" fmla="*/ 491 w 564"/>
              <a:gd name="T119" fmla="*/ 198 h 222"/>
              <a:gd name="T120" fmla="*/ 489 w 564"/>
              <a:gd name="T121" fmla="*/ 192 h 222"/>
              <a:gd name="T122" fmla="*/ 353 w 564"/>
              <a:gd name="T123" fmla="*/ 182 h 222"/>
              <a:gd name="T124" fmla="*/ 70 w 564"/>
              <a:gd name="T125" fmla="*/ 188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4" h="222">
                <a:moveTo>
                  <a:pt x="7" y="16"/>
                </a:moveTo>
                <a:lnTo>
                  <a:pt x="0" y="16"/>
                </a:lnTo>
                <a:lnTo>
                  <a:pt x="0" y="0"/>
                </a:lnTo>
                <a:lnTo>
                  <a:pt x="7" y="0"/>
                </a:lnTo>
                <a:lnTo>
                  <a:pt x="7" y="16"/>
                </a:lnTo>
                <a:lnTo>
                  <a:pt x="7" y="16"/>
                </a:lnTo>
                <a:close/>
                <a:moveTo>
                  <a:pt x="526" y="156"/>
                </a:moveTo>
                <a:lnTo>
                  <a:pt x="526" y="156"/>
                </a:lnTo>
                <a:lnTo>
                  <a:pt x="525" y="156"/>
                </a:lnTo>
                <a:lnTo>
                  <a:pt x="525" y="156"/>
                </a:lnTo>
                <a:lnTo>
                  <a:pt x="525" y="156"/>
                </a:lnTo>
                <a:lnTo>
                  <a:pt x="525" y="156"/>
                </a:lnTo>
                <a:lnTo>
                  <a:pt x="525" y="156"/>
                </a:lnTo>
                <a:lnTo>
                  <a:pt x="525" y="156"/>
                </a:lnTo>
                <a:lnTo>
                  <a:pt x="524" y="156"/>
                </a:lnTo>
                <a:lnTo>
                  <a:pt x="524" y="156"/>
                </a:lnTo>
                <a:lnTo>
                  <a:pt x="524" y="156"/>
                </a:lnTo>
                <a:lnTo>
                  <a:pt x="524" y="156"/>
                </a:lnTo>
                <a:lnTo>
                  <a:pt x="524" y="156"/>
                </a:lnTo>
                <a:lnTo>
                  <a:pt x="524" y="156"/>
                </a:lnTo>
                <a:lnTo>
                  <a:pt x="523" y="156"/>
                </a:lnTo>
                <a:lnTo>
                  <a:pt x="523" y="156"/>
                </a:lnTo>
                <a:lnTo>
                  <a:pt x="523" y="156"/>
                </a:lnTo>
                <a:lnTo>
                  <a:pt x="523" y="156"/>
                </a:lnTo>
                <a:lnTo>
                  <a:pt x="523" y="156"/>
                </a:lnTo>
                <a:lnTo>
                  <a:pt x="523" y="156"/>
                </a:lnTo>
                <a:lnTo>
                  <a:pt x="522" y="156"/>
                </a:lnTo>
                <a:lnTo>
                  <a:pt x="522" y="156"/>
                </a:lnTo>
                <a:lnTo>
                  <a:pt x="522" y="156"/>
                </a:lnTo>
                <a:lnTo>
                  <a:pt x="522" y="156"/>
                </a:lnTo>
                <a:lnTo>
                  <a:pt x="522" y="156"/>
                </a:lnTo>
                <a:lnTo>
                  <a:pt x="522" y="156"/>
                </a:lnTo>
                <a:lnTo>
                  <a:pt x="521" y="156"/>
                </a:lnTo>
                <a:lnTo>
                  <a:pt x="521" y="156"/>
                </a:lnTo>
                <a:lnTo>
                  <a:pt x="521" y="156"/>
                </a:lnTo>
                <a:lnTo>
                  <a:pt x="521" y="156"/>
                </a:lnTo>
                <a:lnTo>
                  <a:pt x="521" y="156"/>
                </a:lnTo>
                <a:lnTo>
                  <a:pt x="521" y="156"/>
                </a:lnTo>
                <a:lnTo>
                  <a:pt x="520" y="156"/>
                </a:lnTo>
                <a:lnTo>
                  <a:pt x="520" y="156"/>
                </a:lnTo>
                <a:lnTo>
                  <a:pt x="520" y="156"/>
                </a:lnTo>
                <a:lnTo>
                  <a:pt x="520" y="156"/>
                </a:lnTo>
                <a:lnTo>
                  <a:pt x="520" y="156"/>
                </a:lnTo>
                <a:lnTo>
                  <a:pt x="520" y="156"/>
                </a:lnTo>
                <a:lnTo>
                  <a:pt x="520" y="156"/>
                </a:lnTo>
                <a:lnTo>
                  <a:pt x="519" y="156"/>
                </a:lnTo>
                <a:lnTo>
                  <a:pt x="519" y="156"/>
                </a:lnTo>
                <a:lnTo>
                  <a:pt x="519" y="157"/>
                </a:lnTo>
                <a:lnTo>
                  <a:pt x="519" y="157"/>
                </a:lnTo>
                <a:lnTo>
                  <a:pt x="519" y="157"/>
                </a:lnTo>
                <a:lnTo>
                  <a:pt x="519" y="157"/>
                </a:lnTo>
                <a:lnTo>
                  <a:pt x="517" y="157"/>
                </a:lnTo>
                <a:lnTo>
                  <a:pt x="517" y="157"/>
                </a:lnTo>
                <a:lnTo>
                  <a:pt x="517" y="157"/>
                </a:lnTo>
                <a:lnTo>
                  <a:pt x="517" y="157"/>
                </a:lnTo>
                <a:lnTo>
                  <a:pt x="517" y="157"/>
                </a:lnTo>
                <a:lnTo>
                  <a:pt x="517" y="157"/>
                </a:lnTo>
                <a:lnTo>
                  <a:pt x="517" y="157"/>
                </a:lnTo>
                <a:lnTo>
                  <a:pt x="516" y="157"/>
                </a:lnTo>
                <a:lnTo>
                  <a:pt x="516" y="157"/>
                </a:lnTo>
                <a:lnTo>
                  <a:pt x="516" y="157"/>
                </a:lnTo>
                <a:lnTo>
                  <a:pt x="516" y="157"/>
                </a:lnTo>
                <a:lnTo>
                  <a:pt x="516" y="157"/>
                </a:lnTo>
                <a:lnTo>
                  <a:pt x="516" y="157"/>
                </a:lnTo>
                <a:lnTo>
                  <a:pt x="515" y="157"/>
                </a:lnTo>
                <a:lnTo>
                  <a:pt x="515" y="157"/>
                </a:lnTo>
                <a:lnTo>
                  <a:pt x="515" y="157"/>
                </a:lnTo>
                <a:lnTo>
                  <a:pt x="515" y="158"/>
                </a:lnTo>
                <a:lnTo>
                  <a:pt x="515" y="158"/>
                </a:lnTo>
                <a:lnTo>
                  <a:pt x="515" y="158"/>
                </a:lnTo>
                <a:lnTo>
                  <a:pt x="515" y="158"/>
                </a:lnTo>
                <a:lnTo>
                  <a:pt x="514" y="158"/>
                </a:lnTo>
                <a:lnTo>
                  <a:pt x="514" y="158"/>
                </a:lnTo>
                <a:lnTo>
                  <a:pt x="514" y="158"/>
                </a:lnTo>
                <a:lnTo>
                  <a:pt x="514" y="158"/>
                </a:lnTo>
                <a:lnTo>
                  <a:pt x="514" y="158"/>
                </a:lnTo>
                <a:lnTo>
                  <a:pt x="514" y="158"/>
                </a:lnTo>
                <a:lnTo>
                  <a:pt x="514" y="158"/>
                </a:lnTo>
                <a:lnTo>
                  <a:pt x="513" y="158"/>
                </a:lnTo>
                <a:lnTo>
                  <a:pt x="513" y="158"/>
                </a:lnTo>
                <a:lnTo>
                  <a:pt x="513" y="158"/>
                </a:lnTo>
                <a:lnTo>
                  <a:pt x="513" y="158"/>
                </a:lnTo>
                <a:lnTo>
                  <a:pt x="513" y="159"/>
                </a:lnTo>
                <a:lnTo>
                  <a:pt x="513" y="159"/>
                </a:lnTo>
                <a:lnTo>
                  <a:pt x="513" y="159"/>
                </a:lnTo>
                <a:lnTo>
                  <a:pt x="512" y="159"/>
                </a:lnTo>
                <a:lnTo>
                  <a:pt x="512" y="159"/>
                </a:lnTo>
                <a:lnTo>
                  <a:pt x="512" y="159"/>
                </a:lnTo>
                <a:lnTo>
                  <a:pt x="512" y="159"/>
                </a:lnTo>
                <a:lnTo>
                  <a:pt x="512" y="159"/>
                </a:lnTo>
                <a:lnTo>
                  <a:pt x="512" y="159"/>
                </a:lnTo>
                <a:lnTo>
                  <a:pt x="512" y="159"/>
                </a:lnTo>
                <a:lnTo>
                  <a:pt x="511" y="159"/>
                </a:lnTo>
                <a:lnTo>
                  <a:pt x="511" y="159"/>
                </a:lnTo>
                <a:lnTo>
                  <a:pt x="511" y="159"/>
                </a:lnTo>
                <a:lnTo>
                  <a:pt x="511" y="160"/>
                </a:lnTo>
                <a:lnTo>
                  <a:pt x="511" y="160"/>
                </a:lnTo>
                <a:lnTo>
                  <a:pt x="511" y="160"/>
                </a:lnTo>
                <a:lnTo>
                  <a:pt x="511" y="160"/>
                </a:lnTo>
                <a:lnTo>
                  <a:pt x="509" y="160"/>
                </a:lnTo>
                <a:lnTo>
                  <a:pt x="509" y="160"/>
                </a:lnTo>
                <a:lnTo>
                  <a:pt x="509" y="160"/>
                </a:lnTo>
                <a:lnTo>
                  <a:pt x="509" y="160"/>
                </a:lnTo>
                <a:lnTo>
                  <a:pt x="509" y="160"/>
                </a:lnTo>
                <a:lnTo>
                  <a:pt x="509" y="160"/>
                </a:lnTo>
                <a:lnTo>
                  <a:pt x="509" y="160"/>
                </a:lnTo>
                <a:lnTo>
                  <a:pt x="509" y="161"/>
                </a:lnTo>
                <a:lnTo>
                  <a:pt x="508" y="161"/>
                </a:lnTo>
                <a:lnTo>
                  <a:pt x="508" y="161"/>
                </a:lnTo>
                <a:lnTo>
                  <a:pt x="508" y="161"/>
                </a:lnTo>
                <a:lnTo>
                  <a:pt x="508" y="161"/>
                </a:lnTo>
                <a:lnTo>
                  <a:pt x="508" y="161"/>
                </a:lnTo>
                <a:lnTo>
                  <a:pt x="508" y="161"/>
                </a:lnTo>
                <a:lnTo>
                  <a:pt x="508" y="161"/>
                </a:lnTo>
                <a:lnTo>
                  <a:pt x="508" y="161"/>
                </a:lnTo>
                <a:lnTo>
                  <a:pt x="507" y="161"/>
                </a:lnTo>
                <a:lnTo>
                  <a:pt x="507" y="161"/>
                </a:lnTo>
                <a:lnTo>
                  <a:pt x="507" y="162"/>
                </a:lnTo>
                <a:lnTo>
                  <a:pt x="507" y="162"/>
                </a:lnTo>
                <a:lnTo>
                  <a:pt x="507" y="162"/>
                </a:lnTo>
                <a:lnTo>
                  <a:pt x="507" y="162"/>
                </a:lnTo>
                <a:lnTo>
                  <a:pt x="507" y="162"/>
                </a:lnTo>
                <a:lnTo>
                  <a:pt x="507" y="162"/>
                </a:lnTo>
                <a:lnTo>
                  <a:pt x="506" y="162"/>
                </a:lnTo>
                <a:lnTo>
                  <a:pt x="506" y="162"/>
                </a:lnTo>
                <a:lnTo>
                  <a:pt x="506" y="162"/>
                </a:lnTo>
                <a:lnTo>
                  <a:pt x="506" y="162"/>
                </a:lnTo>
                <a:lnTo>
                  <a:pt x="506" y="163"/>
                </a:lnTo>
                <a:lnTo>
                  <a:pt x="506" y="163"/>
                </a:lnTo>
                <a:lnTo>
                  <a:pt x="506" y="163"/>
                </a:lnTo>
                <a:lnTo>
                  <a:pt x="506" y="163"/>
                </a:lnTo>
                <a:lnTo>
                  <a:pt x="506" y="163"/>
                </a:lnTo>
                <a:lnTo>
                  <a:pt x="505" y="163"/>
                </a:lnTo>
                <a:lnTo>
                  <a:pt x="505" y="163"/>
                </a:lnTo>
                <a:lnTo>
                  <a:pt x="505" y="163"/>
                </a:lnTo>
                <a:lnTo>
                  <a:pt x="505" y="163"/>
                </a:lnTo>
                <a:lnTo>
                  <a:pt x="505" y="165"/>
                </a:lnTo>
                <a:lnTo>
                  <a:pt x="505" y="165"/>
                </a:lnTo>
                <a:lnTo>
                  <a:pt x="505" y="165"/>
                </a:lnTo>
                <a:lnTo>
                  <a:pt x="505" y="165"/>
                </a:lnTo>
                <a:lnTo>
                  <a:pt x="505" y="165"/>
                </a:lnTo>
                <a:lnTo>
                  <a:pt x="504" y="165"/>
                </a:lnTo>
                <a:lnTo>
                  <a:pt x="504" y="165"/>
                </a:lnTo>
                <a:lnTo>
                  <a:pt x="504" y="165"/>
                </a:lnTo>
                <a:lnTo>
                  <a:pt x="504" y="166"/>
                </a:lnTo>
                <a:lnTo>
                  <a:pt x="504" y="166"/>
                </a:lnTo>
                <a:lnTo>
                  <a:pt x="504" y="166"/>
                </a:lnTo>
                <a:lnTo>
                  <a:pt x="504" y="166"/>
                </a:lnTo>
                <a:lnTo>
                  <a:pt x="504" y="166"/>
                </a:lnTo>
                <a:lnTo>
                  <a:pt x="504" y="166"/>
                </a:lnTo>
                <a:lnTo>
                  <a:pt x="503" y="166"/>
                </a:lnTo>
                <a:lnTo>
                  <a:pt x="503" y="166"/>
                </a:lnTo>
                <a:lnTo>
                  <a:pt x="503" y="166"/>
                </a:lnTo>
                <a:lnTo>
                  <a:pt x="503" y="167"/>
                </a:lnTo>
                <a:lnTo>
                  <a:pt x="503" y="167"/>
                </a:lnTo>
                <a:lnTo>
                  <a:pt x="503" y="167"/>
                </a:lnTo>
                <a:lnTo>
                  <a:pt x="503" y="167"/>
                </a:lnTo>
                <a:lnTo>
                  <a:pt x="503" y="167"/>
                </a:lnTo>
                <a:lnTo>
                  <a:pt x="503" y="167"/>
                </a:lnTo>
                <a:lnTo>
                  <a:pt x="503" y="167"/>
                </a:lnTo>
                <a:lnTo>
                  <a:pt x="502" y="167"/>
                </a:lnTo>
                <a:lnTo>
                  <a:pt x="502" y="168"/>
                </a:lnTo>
                <a:lnTo>
                  <a:pt x="502" y="168"/>
                </a:lnTo>
                <a:lnTo>
                  <a:pt x="502" y="168"/>
                </a:lnTo>
                <a:lnTo>
                  <a:pt x="502" y="168"/>
                </a:lnTo>
                <a:lnTo>
                  <a:pt x="502" y="168"/>
                </a:lnTo>
                <a:lnTo>
                  <a:pt x="502" y="168"/>
                </a:lnTo>
                <a:lnTo>
                  <a:pt x="502" y="168"/>
                </a:lnTo>
                <a:lnTo>
                  <a:pt x="502" y="169"/>
                </a:lnTo>
                <a:lnTo>
                  <a:pt x="502" y="169"/>
                </a:lnTo>
                <a:lnTo>
                  <a:pt x="502" y="169"/>
                </a:lnTo>
                <a:lnTo>
                  <a:pt x="502" y="169"/>
                </a:lnTo>
                <a:lnTo>
                  <a:pt x="500" y="169"/>
                </a:lnTo>
                <a:lnTo>
                  <a:pt x="500" y="169"/>
                </a:lnTo>
                <a:lnTo>
                  <a:pt x="500" y="169"/>
                </a:lnTo>
                <a:lnTo>
                  <a:pt x="500" y="169"/>
                </a:lnTo>
                <a:lnTo>
                  <a:pt x="500" y="170"/>
                </a:lnTo>
                <a:lnTo>
                  <a:pt x="500" y="170"/>
                </a:lnTo>
                <a:lnTo>
                  <a:pt x="500" y="170"/>
                </a:lnTo>
                <a:lnTo>
                  <a:pt x="500" y="170"/>
                </a:lnTo>
                <a:lnTo>
                  <a:pt x="500" y="170"/>
                </a:lnTo>
                <a:lnTo>
                  <a:pt x="500" y="170"/>
                </a:lnTo>
                <a:lnTo>
                  <a:pt x="500" y="170"/>
                </a:lnTo>
                <a:lnTo>
                  <a:pt x="500" y="171"/>
                </a:lnTo>
                <a:lnTo>
                  <a:pt x="499" y="171"/>
                </a:lnTo>
                <a:lnTo>
                  <a:pt x="499" y="171"/>
                </a:lnTo>
                <a:lnTo>
                  <a:pt x="499" y="171"/>
                </a:lnTo>
                <a:lnTo>
                  <a:pt x="499" y="171"/>
                </a:lnTo>
                <a:lnTo>
                  <a:pt x="499" y="171"/>
                </a:lnTo>
                <a:lnTo>
                  <a:pt x="499" y="171"/>
                </a:lnTo>
                <a:lnTo>
                  <a:pt x="499" y="173"/>
                </a:lnTo>
                <a:lnTo>
                  <a:pt x="499" y="173"/>
                </a:lnTo>
                <a:lnTo>
                  <a:pt x="499" y="173"/>
                </a:lnTo>
                <a:lnTo>
                  <a:pt x="499" y="173"/>
                </a:lnTo>
                <a:lnTo>
                  <a:pt x="499" y="173"/>
                </a:lnTo>
                <a:lnTo>
                  <a:pt x="499" y="173"/>
                </a:lnTo>
                <a:lnTo>
                  <a:pt x="499" y="173"/>
                </a:lnTo>
                <a:lnTo>
                  <a:pt x="499" y="174"/>
                </a:lnTo>
                <a:lnTo>
                  <a:pt x="499" y="174"/>
                </a:lnTo>
                <a:lnTo>
                  <a:pt x="498" y="174"/>
                </a:lnTo>
                <a:lnTo>
                  <a:pt x="498" y="174"/>
                </a:lnTo>
                <a:lnTo>
                  <a:pt x="498" y="174"/>
                </a:lnTo>
                <a:lnTo>
                  <a:pt x="498" y="174"/>
                </a:lnTo>
                <a:lnTo>
                  <a:pt x="498" y="174"/>
                </a:lnTo>
                <a:lnTo>
                  <a:pt x="498" y="175"/>
                </a:lnTo>
                <a:lnTo>
                  <a:pt x="498" y="175"/>
                </a:lnTo>
                <a:lnTo>
                  <a:pt x="498" y="175"/>
                </a:lnTo>
                <a:lnTo>
                  <a:pt x="498" y="175"/>
                </a:lnTo>
                <a:lnTo>
                  <a:pt x="498" y="175"/>
                </a:lnTo>
                <a:lnTo>
                  <a:pt x="498" y="175"/>
                </a:lnTo>
                <a:lnTo>
                  <a:pt x="498" y="176"/>
                </a:lnTo>
                <a:lnTo>
                  <a:pt x="498" y="176"/>
                </a:lnTo>
                <a:lnTo>
                  <a:pt x="498" y="176"/>
                </a:lnTo>
                <a:lnTo>
                  <a:pt x="498" y="176"/>
                </a:lnTo>
                <a:lnTo>
                  <a:pt x="498" y="176"/>
                </a:lnTo>
                <a:lnTo>
                  <a:pt x="498" y="176"/>
                </a:lnTo>
                <a:lnTo>
                  <a:pt x="498" y="176"/>
                </a:lnTo>
                <a:lnTo>
                  <a:pt x="497" y="177"/>
                </a:lnTo>
                <a:lnTo>
                  <a:pt x="497" y="177"/>
                </a:lnTo>
                <a:lnTo>
                  <a:pt x="497" y="177"/>
                </a:lnTo>
                <a:lnTo>
                  <a:pt x="497" y="177"/>
                </a:lnTo>
                <a:lnTo>
                  <a:pt x="497" y="177"/>
                </a:lnTo>
                <a:lnTo>
                  <a:pt x="497" y="177"/>
                </a:lnTo>
                <a:lnTo>
                  <a:pt x="497" y="178"/>
                </a:lnTo>
                <a:lnTo>
                  <a:pt x="497" y="178"/>
                </a:lnTo>
                <a:lnTo>
                  <a:pt x="497" y="178"/>
                </a:lnTo>
                <a:lnTo>
                  <a:pt x="497" y="178"/>
                </a:lnTo>
                <a:lnTo>
                  <a:pt x="497" y="178"/>
                </a:lnTo>
                <a:lnTo>
                  <a:pt x="497" y="178"/>
                </a:lnTo>
                <a:lnTo>
                  <a:pt x="497" y="179"/>
                </a:lnTo>
                <a:lnTo>
                  <a:pt x="497" y="179"/>
                </a:lnTo>
                <a:lnTo>
                  <a:pt x="497" y="179"/>
                </a:lnTo>
                <a:lnTo>
                  <a:pt x="497" y="179"/>
                </a:lnTo>
                <a:lnTo>
                  <a:pt x="497" y="179"/>
                </a:lnTo>
                <a:lnTo>
                  <a:pt x="497" y="179"/>
                </a:lnTo>
                <a:lnTo>
                  <a:pt x="497" y="180"/>
                </a:lnTo>
                <a:lnTo>
                  <a:pt x="497" y="180"/>
                </a:lnTo>
                <a:lnTo>
                  <a:pt x="497" y="180"/>
                </a:lnTo>
                <a:lnTo>
                  <a:pt x="497" y="180"/>
                </a:lnTo>
                <a:lnTo>
                  <a:pt x="497" y="180"/>
                </a:lnTo>
                <a:lnTo>
                  <a:pt x="497" y="180"/>
                </a:lnTo>
                <a:lnTo>
                  <a:pt x="497" y="180"/>
                </a:lnTo>
                <a:lnTo>
                  <a:pt x="497" y="182"/>
                </a:lnTo>
                <a:lnTo>
                  <a:pt x="497" y="182"/>
                </a:lnTo>
                <a:lnTo>
                  <a:pt x="497" y="182"/>
                </a:lnTo>
                <a:lnTo>
                  <a:pt x="497" y="182"/>
                </a:lnTo>
                <a:lnTo>
                  <a:pt x="497" y="182"/>
                </a:lnTo>
                <a:lnTo>
                  <a:pt x="497" y="182"/>
                </a:lnTo>
                <a:lnTo>
                  <a:pt x="497" y="183"/>
                </a:lnTo>
                <a:lnTo>
                  <a:pt x="497" y="183"/>
                </a:lnTo>
                <a:lnTo>
                  <a:pt x="497" y="183"/>
                </a:lnTo>
                <a:lnTo>
                  <a:pt x="496" y="183"/>
                </a:lnTo>
                <a:lnTo>
                  <a:pt x="496" y="183"/>
                </a:lnTo>
                <a:lnTo>
                  <a:pt x="496" y="183"/>
                </a:lnTo>
                <a:lnTo>
                  <a:pt x="496" y="184"/>
                </a:lnTo>
                <a:lnTo>
                  <a:pt x="496" y="184"/>
                </a:lnTo>
                <a:lnTo>
                  <a:pt x="496" y="184"/>
                </a:lnTo>
                <a:lnTo>
                  <a:pt x="496" y="184"/>
                </a:lnTo>
                <a:lnTo>
                  <a:pt x="496" y="184"/>
                </a:lnTo>
                <a:lnTo>
                  <a:pt x="496" y="184"/>
                </a:lnTo>
                <a:lnTo>
                  <a:pt x="496" y="185"/>
                </a:lnTo>
                <a:lnTo>
                  <a:pt x="496" y="185"/>
                </a:lnTo>
                <a:lnTo>
                  <a:pt x="496" y="185"/>
                </a:lnTo>
                <a:lnTo>
                  <a:pt x="496" y="185"/>
                </a:lnTo>
                <a:lnTo>
                  <a:pt x="496" y="185"/>
                </a:lnTo>
                <a:lnTo>
                  <a:pt x="496" y="186"/>
                </a:lnTo>
                <a:lnTo>
                  <a:pt x="496" y="186"/>
                </a:lnTo>
                <a:lnTo>
                  <a:pt x="496" y="186"/>
                </a:lnTo>
                <a:lnTo>
                  <a:pt x="496" y="186"/>
                </a:lnTo>
                <a:lnTo>
                  <a:pt x="496" y="186"/>
                </a:lnTo>
                <a:lnTo>
                  <a:pt x="496" y="186"/>
                </a:lnTo>
                <a:lnTo>
                  <a:pt x="496" y="187"/>
                </a:lnTo>
                <a:lnTo>
                  <a:pt x="496" y="187"/>
                </a:lnTo>
                <a:lnTo>
                  <a:pt x="496" y="187"/>
                </a:lnTo>
                <a:lnTo>
                  <a:pt x="497" y="187"/>
                </a:lnTo>
                <a:lnTo>
                  <a:pt x="497" y="187"/>
                </a:lnTo>
                <a:lnTo>
                  <a:pt x="497" y="187"/>
                </a:lnTo>
                <a:lnTo>
                  <a:pt x="497" y="188"/>
                </a:lnTo>
                <a:lnTo>
                  <a:pt x="497" y="188"/>
                </a:lnTo>
                <a:lnTo>
                  <a:pt x="497" y="188"/>
                </a:lnTo>
                <a:lnTo>
                  <a:pt x="497" y="188"/>
                </a:lnTo>
                <a:lnTo>
                  <a:pt x="497" y="188"/>
                </a:lnTo>
                <a:lnTo>
                  <a:pt x="497" y="188"/>
                </a:lnTo>
                <a:lnTo>
                  <a:pt x="497" y="189"/>
                </a:lnTo>
                <a:lnTo>
                  <a:pt x="497" y="189"/>
                </a:lnTo>
                <a:lnTo>
                  <a:pt x="497" y="189"/>
                </a:lnTo>
                <a:lnTo>
                  <a:pt x="497" y="189"/>
                </a:lnTo>
                <a:lnTo>
                  <a:pt x="497" y="189"/>
                </a:lnTo>
                <a:lnTo>
                  <a:pt x="497" y="189"/>
                </a:lnTo>
                <a:lnTo>
                  <a:pt x="497" y="191"/>
                </a:lnTo>
                <a:lnTo>
                  <a:pt x="497" y="191"/>
                </a:lnTo>
                <a:lnTo>
                  <a:pt x="497" y="191"/>
                </a:lnTo>
                <a:lnTo>
                  <a:pt x="497" y="191"/>
                </a:lnTo>
                <a:lnTo>
                  <a:pt x="497" y="191"/>
                </a:lnTo>
                <a:lnTo>
                  <a:pt x="497" y="191"/>
                </a:lnTo>
                <a:lnTo>
                  <a:pt x="497" y="191"/>
                </a:lnTo>
                <a:lnTo>
                  <a:pt x="497" y="192"/>
                </a:lnTo>
                <a:lnTo>
                  <a:pt x="497" y="192"/>
                </a:lnTo>
                <a:lnTo>
                  <a:pt x="497" y="192"/>
                </a:lnTo>
                <a:lnTo>
                  <a:pt x="497" y="192"/>
                </a:lnTo>
                <a:lnTo>
                  <a:pt x="497" y="192"/>
                </a:lnTo>
                <a:lnTo>
                  <a:pt x="497" y="192"/>
                </a:lnTo>
                <a:lnTo>
                  <a:pt x="497" y="193"/>
                </a:lnTo>
                <a:lnTo>
                  <a:pt x="497" y="193"/>
                </a:lnTo>
                <a:lnTo>
                  <a:pt x="497" y="193"/>
                </a:lnTo>
                <a:lnTo>
                  <a:pt x="497" y="193"/>
                </a:lnTo>
                <a:lnTo>
                  <a:pt x="497" y="193"/>
                </a:lnTo>
                <a:lnTo>
                  <a:pt x="497" y="193"/>
                </a:lnTo>
                <a:lnTo>
                  <a:pt x="498" y="194"/>
                </a:lnTo>
                <a:lnTo>
                  <a:pt x="498" y="194"/>
                </a:lnTo>
                <a:lnTo>
                  <a:pt x="498" y="194"/>
                </a:lnTo>
                <a:lnTo>
                  <a:pt x="498" y="194"/>
                </a:lnTo>
                <a:lnTo>
                  <a:pt x="498" y="194"/>
                </a:lnTo>
                <a:lnTo>
                  <a:pt x="498" y="194"/>
                </a:lnTo>
                <a:lnTo>
                  <a:pt x="498" y="194"/>
                </a:lnTo>
                <a:lnTo>
                  <a:pt x="498" y="195"/>
                </a:lnTo>
                <a:lnTo>
                  <a:pt x="498" y="195"/>
                </a:lnTo>
                <a:lnTo>
                  <a:pt x="498" y="195"/>
                </a:lnTo>
                <a:lnTo>
                  <a:pt x="498" y="195"/>
                </a:lnTo>
                <a:lnTo>
                  <a:pt x="498" y="195"/>
                </a:lnTo>
                <a:lnTo>
                  <a:pt x="498" y="195"/>
                </a:lnTo>
                <a:lnTo>
                  <a:pt x="498" y="196"/>
                </a:lnTo>
                <a:lnTo>
                  <a:pt x="498" y="196"/>
                </a:lnTo>
                <a:lnTo>
                  <a:pt x="498" y="196"/>
                </a:lnTo>
                <a:lnTo>
                  <a:pt x="498" y="196"/>
                </a:lnTo>
                <a:lnTo>
                  <a:pt x="498" y="196"/>
                </a:lnTo>
                <a:lnTo>
                  <a:pt x="499" y="196"/>
                </a:lnTo>
                <a:lnTo>
                  <a:pt x="499" y="196"/>
                </a:lnTo>
                <a:lnTo>
                  <a:pt x="499" y="197"/>
                </a:lnTo>
                <a:lnTo>
                  <a:pt x="499" y="197"/>
                </a:lnTo>
                <a:lnTo>
                  <a:pt x="499" y="197"/>
                </a:lnTo>
                <a:lnTo>
                  <a:pt x="499" y="197"/>
                </a:lnTo>
                <a:lnTo>
                  <a:pt x="499" y="197"/>
                </a:lnTo>
                <a:lnTo>
                  <a:pt x="499" y="197"/>
                </a:lnTo>
                <a:lnTo>
                  <a:pt x="499" y="197"/>
                </a:lnTo>
                <a:lnTo>
                  <a:pt x="499" y="198"/>
                </a:lnTo>
                <a:lnTo>
                  <a:pt x="499" y="198"/>
                </a:lnTo>
                <a:lnTo>
                  <a:pt x="499" y="198"/>
                </a:lnTo>
                <a:lnTo>
                  <a:pt x="499" y="198"/>
                </a:lnTo>
                <a:lnTo>
                  <a:pt x="499" y="198"/>
                </a:lnTo>
                <a:lnTo>
                  <a:pt x="499" y="198"/>
                </a:lnTo>
                <a:lnTo>
                  <a:pt x="500" y="198"/>
                </a:lnTo>
                <a:lnTo>
                  <a:pt x="500" y="200"/>
                </a:lnTo>
                <a:lnTo>
                  <a:pt x="500" y="200"/>
                </a:lnTo>
                <a:lnTo>
                  <a:pt x="500" y="200"/>
                </a:lnTo>
                <a:lnTo>
                  <a:pt x="500" y="200"/>
                </a:lnTo>
                <a:lnTo>
                  <a:pt x="500" y="200"/>
                </a:lnTo>
                <a:lnTo>
                  <a:pt x="500" y="200"/>
                </a:lnTo>
                <a:lnTo>
                  <a:pt x="500" y="200"/>
                </a:lnTo>
                <a:lnTo>
                  <a:pt x="500" y="201"/>
                </a:lnTo>
                <a:lnTo>
                  <a:pt x="500" y="201"/>
                </a:lnTo>
                <a:lnTo>
                  <a:pt x="500" y="201"/>
                </a:lnTo>
                <a:lnTo>
                  <a:pt x="500" y="201"/>
                </a:lnTo>
                <a:lnTo>
                  <a:pt x="502" y="201"/>
                </a:lnTo>
                <a:lnTo>
                  <a:pt x="502" y="201"/>
                </a:lnTo>
                <a:lnTo>
                  <a:pt x="502" y="201"/>
                </a:lnTo>
                <a:lnTo>
                  <a:pt x="502" y="201"/>
                </a:lnTo>
                <a:lnTo>
                  <a:pt x="502" y="202"/>
                </a:lnTo>
                <a:lnTo>
                  <a:pt x="502" y="202"/>
                </a:lnTo>
                <a:lnTo>
                  <a:pt x="502" y="202"/>
                </a:lnTo>
                <a:lnTo>
                  <a:pt x="502" y="202"/>
                </a:lnTo>
                <a:lnTo>
                  <a:pt x="502" y="202"/>
                </a:lnTo>
                <a:lnTo>
                  <a:pt x="502" y="202"/>
                </a:lnTo>
                <a:lnTo>
                  <a:pt x="502" y="202"/>
                </a:lnTo>
                <a:lnTo>
                  <a:pt x="502" y="203"/>
                </a:lnTo>
                <a:lnTo>
                  <a:pt x="503" y="203"/>
                </a:lnTo>
                <a:lnTo>
                  <a:pt x="503" y="203"/>
                </a:lnTo>
                <a:lnTo>
                  <a:pt x="503" y="203"/>
                </a:lnTo>
                <a:lnTo>
                  <a:pt x="503" y="203"/>
                </a:lnTo>
                <a:lnTo>
                  <a:pt x="503" y="203"/>
                </a:lnTo>
                <a:lnTo>
                  <a:pt x="503" y="203"/>
                </a:lnTo>
                <a:lnTo>
                  <a:pt x="503" y="203"/>
                </a:lnTo>
                <a:lnTo>
                  <a:pt x="503" y="204"/>
                </a:lnTo>
                <a:lnTo>
                  <a:pt x="503" y="204"/>
                </a:lnTo>
                <a:lnTo>
                  <a:pt x="503" y="204"/>
                </a:lnTo>
                <a:lnTo>
                  <a:pt x="504" y="204"/>
                </a:lnTo>
                <a:lnTo>
                  <a:pt x="504" y="204"/>
                </a:lnTo>
                <a:lnTo>
                  <a:pt x="504" y="204"/>
                </a:lnTo>
                <a:lnTo>
                  <a:pt x="504" y="204"/>
                </a:lnTo>
                <a:lnTo>
                  <a:pt x="504" y="204"/>
                </a:lnTo>
                <a:lnTo>
                  <a:pt x="504" y="204"/>
                </a:lnTo>
                <a:lnTo>
                  <a:pt x="504" y="205"/>
                </a:lnTo>
                <a:lnTo>
                  <a:pt x="504" y="205"/>
                </a:lnTo>
                <a:lnTo>
                  <a:pt x="504" y="205"/>
                </a:lnTo>
                <a:lnTo>
                  <a:pt x="505" y="205"/>
                </a:lnTo>
                <a:lnTo>
                  <a:pt x="505" y="205"/>
                </a:lnTo>
                <a:lnTo>
                  <a:pt x="505" y="205"/>
                </a:lnTo>
                <a:lnTo>
                  <a:pt x="505" y="205"/>
                </a:lnTo>
                <a:lnTo>
                  <a:pt x="505" y="205"/>
                </a:lnTo>
                <a:lnTo>
                  <a:pt x="505" y="206"/>
                </a:lnTo>
                <a:lnTo>
                  <a:pt x="505" y="206"/>
                </a:lnTo>
                <a:lnTo>
                  <a:pt x="505" y="206"/>
                </a:lnTo>
                <a:lnTo>
                  <a:pt x="505" y="206"/>
                </a:lnTo>
                <a:lnTo>
                  <a:pt x="506" y="206"/>
                </a:lnTo>
                <a:lnTo>
                  <a:pt x="506" y="206"/>
                </a:lnTo>
                <a:lnTo>
                  <a:pt x="506" y="206"/>
                </a:lnTo>
                <a:lnTo>
                  <a:pt x="506" y="206"/>
                </a:lnTo>
                <a:lnTo>
                  <a:pt x="506" y="206"/>
                </a:lnTo>
                <a:lnTo>
                  <a:pt x="506" y="207"/>
                </a:lnTo>
                <a:lnTo>
                  <a:pt x="506" y="207"/>
                </a:lnTo>
                <a:lnTo>
                  <a:pt x="506" y="207"/>
                </a:lnTo>
                <a:lnTo>
                  <a:pt x="506" y="207"/>
                </a:lnTo>
                <a:lnTo>
                  <a:pt x="507" y="207"/>
                </a:lnTo>
                <a:lnTo>
                  <a:pt x="507" y="207"/>
                </a:lnTo>
                <a:lnTo>
                  <a:pt x="507" y="207"/>
                </a:lnTo>
                <a:lnTo>
                  <a:pt x="507" y="207"/>
                </a:lnTo>
                <a:lnTo>
                  <a:pt x="507" y="207"/>
                </a:lnTo>
                <a:lnTo>
                  <a:pt x="507" y="207"/>
                </a:lnTo>
                <a:lnTo>
                  <a:pt x="507" y="209"/>
                </a:lnTo>
                <a:lnTo>
                  <a:pt x="507" y="209"/>
                </a:lnTo>
                <a:lnTo>
                  <a:pt x="508" y="209"/>
                </a:lnTo>
                <a:lnTo>
                  <a:pt x="508" y="209"/>
                </a:lnTo>
                <a:lnTo>
                  <a:pt x="508" y="209"/>
                </a:lnTo>
                <a:lnTo>
                  <a:pt x="508" y="209"/>
                </a:lnTo>
                <a:lnTo>
                  <a:pt x="508" y="209"/>
                </a:lnTo>
                <a:lnTo>
                  <a:pt x="508" y="209"/>
                </a:lnTo>
                <a:lnTo>
                  <a:pt x="508" y="209"/>
                </a:lnTo>
                <a:lnTo>
                  <a:pt x="508" y="209"/>
                </a:lnTo>
                <a:lnTo>
                  <a:pt x="509" y="209"/>
                </a:lnTo>
                <a:lnTo>
                  <a:pt x="509" y="210"/>
                </a:lnTo>
                <a:lnTo>
                  <a:pt x="509" y="210"/>
                </a:lnTo>
                <a:lnTo>
                  <a:pt x="509" y="210"/>
                </a:lnTo>
                <a:lnTo>
                  <a:pt x="509" y="210"/>
                </a:lnTo>
                <a:lnTo>
                  <a:pt x="509" y="210"/>
                </a:lnTo>
                <a:lnTo>
                  <a:pt x="509" y="210"/>
                </a:lnTo>
                <a:lnTo>
                  <a:pt x="509" y="210"/>
                </a:lnTo>
                <a:lnTo>
                  <a:pt x="511" y="210"/>
                </a:lnTo>
                <a:lnTo>
                  <a:pt x="511" y="210"/>
                </a:lnTo>
                <a:lnTo>
                  <a:pt x="511" y="210"/>
                </a:lnTo>
                <a:lnTo>
                  <a:pt x="511" y="210"/>
                </a:lnTo>
                <a:lnTo>
                  <a:pt x="511" y="211"/>
                </a:lnTo>
                <a:lnTo>
                  <a:pt x="511" y="211"/>
                </a:lnTo>
                <a:lnTo>
                  <a:pt x="511" y="211"/>
                </a:lnTo>
                <a:lnTo>
                  <a:pt x="512" y="211"/>
                </a:lnTo>
                <a:lnTo>
                  <a:pt x="512" y="211"/>
                </a:lnTo>
                <a:lnTo>
                  <a:pt x="512" y="211"/>
                </a:lnTo>
                <a:lnTo>
                  <a:pt x="512" y="211"/>
                </a:lnTo>
                <a:lnTo>
                  <a:pt x="512" y="211"/>
                </a:lnTo>
                <a:lnTo>
                  <a:pt x="512" y="211"/>
                </a:lnTo>
                <a:lnTo>
                  <a:pt x="512" y="211"/>
                </a:lnTo>
                <a:lnTo>
                  <a:pt x="513" y="211"/>
                </a:lnTo>
                <a:lnTo>
                  <a:pt x="513" y="211"/>
                </a:lnTo>
                <a:lnTo>
                  <a:pt x="513" y="211"/>
                </a:lnTo>
                <a:lnTo>
                  <a:pt x="513" y="212"/>
                </a:lnTo>
                <a:lnTo>
                  <a:pt x="513" y="212"/>
                </a:lnTo>
                <a:lnTo>
                  <a:pt x="513" y="212"/>
                </a:lnTo>
                <a:lnTo>
                  <a:pt x="513" y="212"/>
                </a:lnTo>
                <a:lnTo>
                  <a:pt x="514" y="212"/>
                </a:lnTo>
                <a:lnTo>
                  <a:pt x="514" y="212"/>
                </a:lnTo>
                <a:lnTo>
                  <a:pt x="514" y="212"/>
                </a:lnTo>
                <a:lnTo>
                  <a:pt x="514" y="212"/>
                </a:lnTo>
                <a:lnTo>
                  <a:pt x="514" y="212"/>
                </a:lnTo>
                <a:lnTo>
                  <a:pt x="514" y="212"/>
                </a:lnTo>
                <a:lnTo>
                  <a:pt x="514" y="212"/>
                </a:lnTo>
                <a:lnTo>
                  <a:pt x="515" y="212"/>
                </a:lnTo>
                <a:lnTo>
                  <a:pt x="515" y="212"/>
                </a:lnTo>
                <a:lnTo>
                  <a:pt x="515" y="212"/>
                </a:lnTo>
                <a:lnTo>
                  <a:pt x="515" y="212"/>
                </a:lnTo>
                <a:lnTo>
                  <a:pt x="515" y="213"/>
                </a:lnTo>
                <a:lnTo>
                  <a:pt x="515" y="213"/>
                </a:lnTo>
                <a:lnTo>
                  <a:pt x="515" y="213"/>
                </a:lnTo>
                <a:lnTo>
                  <a:pt x="516" y="213"/>
                </a:lnTo>
                <a:lnTo>
                  <a:pt x="516" y="213"/>
                </a:lnTo>
                <a:lnTo>
                  <a:pt x="516" y="213"/>
                </a:lnTo>
                <a:lnTo>
                  <a:pt x="516" y="213"/>
                </a:lnTo>
                <a:lnTo>
                  <a:pt x="516" y="213"/>
                </a:lnTo>
                <a:lnTo>
                  <a:pt x="516" y="213"/>
                </a:lnTo>
                <a:lnTo>
                  <a:pt x="517" y="213"/>
                </a:lnTo>
                <a:lnTo>
                  <a:pt x="517" y="213"/>
                </a:lnTo>
                <a:lnTo>
                  <a:pt x="517" y="213"/>
                </a:lnTo>
                <a:lnTo>
                  <a:pt x="517" y="213"/>
                </a:lnTo>
                <a:lnTo>
                  <a:pt x="517" y="213"/>
                </a:lnTo>
                <a:lnTo>
                  <a:pt x="517" y="213"/>
                </a:lnTo>
                <a:lnTo>
                  <a:pt x="517" y="213"/>
                </a:lnTo>
                <a:lnTo>
                  <a:pt x="519" y="213"/>
                </a:lnTo>
                <a:lnTo>
                  <a:pt x="519" y="213"/>
                </a:lnTo>
                <a:lnTo>
                  <a:pt x="519" y="213"/>
                </a:lnTo>
                <a:lnTo>
                  <a:pt x="519" y="213"/>
                </a:lnTo>
                <a:lnTo>
                  <a:pt x="519" y="214"/>
                </a:lnTo>
                <a:lnTo>
                  <a:pt x="519" y="214"/>
                </a:lnTo>
                <a:lnTo>
                  <a:pt x="520" y="214"/>
                </a:lnTo>
                <a:lnTo>
                  <a:pt x="520" y="214"/>
                </a:lnTo>
                <a:lnTo>
                  <a:pt x="520" y="214"/>
                </a:lnTo>
                <a:lnTo>
                  <a:pt x="520" y="214"/>
                </a:lnTo>
                <a:lnTo>
                  <a:pt x="520" y="214"/>
                </a:lnTo>
                <a:lnTo>
                  <a:pt x="520" y="214"/>
                </a:lnTo>
                <a:lnTo>
                  <a:pt x="520" y="214"/>
                </a:lnTo>
                <a:lnTo>
                  <a:pt x="521" y="214"/>
                </a:lnTo>
                <a:lnTo>
                  <a:pt x="521" y="214"/>
                </a:lnTo>
                <a:lnTo>
                  <a:pt x="521" y="214"/>
                </a:lnTo>
                <a:lnTo>
                  <a:pt x="521" y="214"/>
                </a:lnTo>
                <a:lnTo>
                  <a:pt x="521" y="214"/>
                </a:lnTo>
                <a:lnTo>
                  <a:pt x="521" y="214"/>
                </a:lnTo>
                <a:lnTo>
                  <a:pt x="522" y="214"/>
                </a:lnTo>
                <a:lnTo>
                  <a:pt x="522" y="214"/>
                </a:lnTo>
                <a:lnTo>
                  <a:pt x="522" y="214"/>
                </a:lnTo>
                <a:lnTo>
                  <a:pt x="522" y="214"/>
                </a:lnTo>
                <a:lnTo>
                  <a:pt x="522" y="214"/>
                </a:lnTo>
                <a:lnTo>
                  <a:pt x="522" y="214"/>
                </a:lnTo>
                <a:lnTo>
                  <a:pt x="523" y="214"/>
                </a:lnTo>
                <a:lnTo>
                  <a:pt x="523" y="214"/>
                </a:lnTo>
                <a:lnTo>
                  <a:pt x="523" y="214"/>
                </a:lnTo>
                <a:lnTo>
                  <a:pt x="523" y="214"/>
                </a:lnTo>
                <a:lnTo>
                  <a:pt x="523" y="214"/>
                </a:lnTo>
                <a:lnTo>
                  <a:pt x="523" y="214"/>
                </a:lnTo>
                <a:lnTo>
                  <a:pt x="524" y="214"/>
                </a:lnTo>
                <a:lnTo>
                  <a:pt x="524" y="214"/>
                </a:lnTo>
                <a:lnTo>
                  <a:pt x="524" y="214"/>
                </a:lnTo>
                <a:lnTo>
                  <a:pt x="524" y="214"/>
                </a:lnTo>
                <a:lnTo>
                  <a:pt x="524" y="214"/>
                </a:lnTo>
                <a:lnTo>
                  <a:pt x="524" y="214"/>
                </a:lnTo>
                <a:lnTo>
                  <a:pt x="525" y="214"/>
                </a:lnTo>
                <a:lnTo>
                  <a:pt x="525" y="214"/>
                </a:lnTo>
                <a:lnTo>
                  <a:pt x="525" y="214"/>
                </a:lnTo>
                <a:lnTo>
                  <a:pt x="525" y="214"/>
                </a:lnTo>
                <a:lnTo>
                  <a:pt x="525" y="214"/>
                </a:lnTo>
                <a:lnTo>
                  <a:pt x="525" y="214"/>
                </a:lnTo>
                <a:lnTo>
                  <a:pt x="526" y="214"/>
                </a:lnTo>
                <a:lnTo>
                  <a:pt x="526" y="214"/>
                </a:lnTo>
                <a:lnTo>
                  <a:pt x="526" y="214"/>
                </a:lnTo>
                <a:lnTo>
                  <a:pt x="526" y="214"/>
                </a:lnTo>
                <a:lnTo>
                  <a:pt x="526" y="214"/>
                </a:lnTo>
                <a:lnTo>
                  <a:pt x="526" y="214"/>
                </a:lnTo>
                <a:lnTo>
                  <a:pt x="528" y="214"/>
                </a:lnTo>
                <a:lnTo>
                  <a:pt x="528" y="214"/>
                </a:lnTo>
                <a:lnTo>
                  <a:pt x="528" y="214"/>
                </a:lnTo>
                <a:lnTo>
                  <a:pt x="528" y="214"/>
                </a:lnTo>
                <a:lnTo>
                  <a:pt x="528" y="214"/>
                </a:lnTo>
                <a:lnTo>
                  <a:pt x="528" y="214"/>
                </a:lnTo>
                <a:lnTo>
                  <a:pt x="529" y="214"/>
                </a:lnTo>
                <a:lnTo>
                  <a:pt x="529" y="214"/>
                </a:lnTo>
                <a:lnTo>
                  <a:pt x="529" y="214"/>
                </a:lnTo>
                <a:lnTo>
                  <a:pt x="529" y="214"/>
                </a:lnTo>
                <a:lnTo>
                  <a:pt x="529" y="214"/>
                </a:lnTo>
                <a:lnTo>
                  <a:pt x="529" y="214"/>
                </a:lnTo>
                <a:lnTo>
                  <a:pt x="530" y="214"/>
                </a:lnTo>
                <a:lnTo>
                  <a:pt x="530" y="214"/>
                </a:lnTo>
                <a:lnTo>
                  <a:pt x="530" y="214"/>
                </a:lnTo>
                <a:lnTo>
                  <a:pt x="530" y="214"/>
                </a:lnTo>
                <a:lnTo>
                  <a:pt x="530" y="214"/>
                </a:lnTo>
                <a:lnTo>
                  <a:pt x="530" y="214"/>
                </a:lnTo>
                <a:lnTo>
                  <a:pt x="531" y="214"/>
                </a:lnTo>
                <a:lnTo>
                  <a:pt x="531" y="214"/>
                </a:lnTo>
                <a:lnTo>
                  <a:pt x="531" y="214"/>
                </a:lnTo>
                <a:lnTo>
                  <a:pt x="531" y="214"/>
                </a:lnTo>
                <a:lnTo>
                  <a:pt x="531" y="214"/>
                </a:lnTo>
                <a:lnTo>
                  <a:pt x="531" y="214"/>
                </a:lnTo>
                <a:lnTo>
                  <a:pt x="532" y="214"/>
                </a:lnTo>
                <a:lnTo>
                  <a:pt x="532" y="214"/>
                </a:lnTo>
                <a:lnTo>
                  <a:pt x="532" y="214"/>
                </a:lnTo>
                <a:lnTo>
                  <a:pt x="532" y="214"/>
                </a:lnTo>
                <a:lnTo>
                  <a:pt x="532" y="214"/>
                </a:lnTo>
                <a:lnTo>
                  <a:pt x="532" y="214"/>
                </a:lnTo>
                <a:lnTo>
                  <a:pt x="533" y="214"/>
                </a:lnTo>
                <a:lnTo>
                  <a:pt x="533" y="214"/>
                </a:lnTo>
                <a:lnTo>
                  <a:pt x="533" y="214"/>
                </a:lnTo>
                <a:lnTo>
                  <a:pt x="533" y="214"/>
                </a:lnTo>
                <a:lnTo>
                  <a:pt x="533" y="214"/>
                </a:lnTo>
                <a:lnTo>
                  <a:pt x="533" y="214"/>
                </a:lnTo>
                <a:lnTo>
                  <a:pt x="534" y="213"/>
                </a:lnTo>
                <a:lnTo>
                  <a:pt x="534" y="213"/>
                </a:lnTo>
                <a:lnTo>
                  <a:pt x="534" y="213"/>
                </a:lnTo>
                <a:lnTo>
                  <a:pt x="534" y="213"/>
                </a:lnTo>
                <a:lnTo>
                  <a:pt x="534" y="213"/>
                </a:lnTo>
                <a:lnTo>
                  <a:pt x="534" y="213"/>
                </a:lnTo>
                <a:lnTo>
                  <a:pt x="534" y="213"/>
                </a:lnTo>
                <a:lnTo>
                  <a:pt x="535" y="213"/>
                </a:lnTo>
                <a:lnTo>
                  <a:pt x="535" y="213"/>
                </a:lnTo>
                <a:lnTo>
                  <a:pt x="535" y="213"/>
                </a:lnTo>
                <a:lnTo>
                  <a:pt x="535" y="213"/>
                </a:lnTo>
                <a:lnTo>
                  <a:pt x="535" y="213"/>
                </a:lnTo>
                <a:lnTo>
                  <a:pt x="535" y="213"/>
                </a:lnTo>
                <a:lnTo>
                  <a:pt x="537" y="213"/>
                </a:lnTo>
                <a:lnTo>
                  <a:pt x="537" y="213"/>
                </a:lnTo>
                <a:lnTo>
                  <a:pt x="537" y="213"/>
                </a:lnTo>
                <a:lnTo>
                  <a:pt x="537" y="213"/>
                </a:lnTo>
                <a:lnTo>
                  <a:pt x="537" y="213"/>
                </a:lnTo>
                <a:lnTo>
                  <a:pt x="537" y="213"/>
                </a:lnTo>
                <a:lnTo>
                  <a:pt x="537" y="213"/>
                </a:lnTo>
                <a:lnTo>
                  <a:pt x="538" y="212"/>
                </a:lnTo>
                <a:lnTo>
                  <a:pt x="538" y="212"/>
                </a:lnTo>
                <a:lnTo>
                  <a:pt x="538" y="212"/>
                </a:lnTo>
                <a:lnTo>
                  <a:pt x="538" y="212"/>
                </a:lnTo>
                <a:lnTo>
                  <a:pt x="538" y="212"/>
                </a:lnTo>
                <a:lnTo>
                  <a:pt x="538" y="212"/>
                </a:lnTo>
                <a:lnTo>
                  <a:pt x="538" y="212"/>
                </a:lnTo>
                <a:lnTo>
                  <a:pt x="539" y="212"/>
                </a:lnTo>
                <a:lnTo>
                  <a:pt x="539" y="212"/>
                </a:lnTo>
                <a:lnTo>
                  <a:pt x="539" y="212"/>
                </a:lnTo>
                <a:lnTo>
                  <a:pt x="539" y="212"/>
                </a:lnTo>
                <a:lnTo>
                  <a:pt x="539" y="212"/>
                </a:lnTo>
                <a:lnTo>
                  <a:pt x="539" y="212"/>
                </a:lnTo>
                <a:lnTo>
                  <a:pt x="539" y="212"/>
                </a:lnTo>
                <a:lnTo>
                  <a:pt x="540" y="212"/>
                </a:lnTo>
                <a:lnTo>
                  <a:pt x="540" y="211"/>
                </a:lnTo>
                <a:lnTo>
                  <a:pt x="540" y="211"/>
                </a:lnTo>
                <a:lnTo>
                  <a:pt x="540" y="211"/>
                </a:lnTo>
                <a:lnTo>
                  <a:pt x="540" y="211"/>
                </a:lnTo>
                <a:lnTo>
                  <a:pt x="540" y="211"/>
                </a:lnTo>
                <a:lnTo>
                  <a:pt x="540" y="211"/>
                </a:lnTo>
                <a:lnTo>
                  <a:pt x="541" y="211"/>
                </a:lnTo>
                <a:lnTo>
                  <a:pt x="541" y="211"/>
                </a:lnTo>
                <a:lnTo>
                  <a:pt x="541" y="211"/>
                </a:lnTo>
                <a:lnTo>
                  <a:pt x="541" y="211"/>
                </a:lnTo>
                <a:lnTo>
                  <a:pt x="541" y="211"/>
                </a:lnTo>
                <a:lnTo>
                  <a:pt x="541" y="211"/>
                </a:lnTo>
                <a:lnTo>
                  <a:pt x="541" y="211"/>
                </a:lnTo>
                <a:lnTo>
                  <a:pt x="542" y="210"/>
                </a:lnTo>
                <a:lnTo>
                  <a:pt x="542" y="210"/>
                </a:lnTo>
                <a:lnTo>
                  <a:pt x="542" y="210"/>
                </a:lnTo>
                <a:lnTo>
                  <a:pt x="542" y="210"/>
                </a:lnTo>
                <a:lnTo>
                  <a:pt x="542" y="210"/>
                </a:lnTo>
                <a:lnTo>
                  <a:pt x="542" y="210"/>
                </a:lnTo>
                <a:lnTo>
                  <a:pt x="542" y="210"/>
                </a:lnTo>
                <a:lnTo>
                  <a:pt x="543" y="210"/>
                </a:lnTo>
                <a:lnTo>
                  <a:pt x="543" y="210"/>
                </a:lnTo>
                <a:lnTo>
                  <a:pt x="543" y="210"/>
                </a:lnTo>
                <a:lnTo>
                  <a:pt x="543" y="210"/>
                </a:lnTo>
                <a:lnTo>
                  <a:pt x="543" y="209"/>
                </a:lnTo>
                <a:lnTo>
                  <a:pt x="543" y="209"/>
                </a:lnTo>
                <a:lnTo>
                  <a:pt x="543" y="209"/>
                </a:lnTo>
                <a:lnTo>
                  <a:pt x="543" y="209"/>
                </a:lnTo>
                <a:lnTo>
                  <a:pt x="544" y="209"/>
                </a:lnTo>
                <a:lnTo>
                  <a:pt x="544" y="209"/>
                </a:lnTo>
                <a:lnTo>
                  <a:pt x="544" y="209"/>
                </a:lnTo>
                <a:lnTo>
                  <a:pt x="544" y="209"/>
                </a:lnTo>
                <a:lnTo>
                  <a:pt x="544" y="209"/>
                </a:lnTo>
                <a:lnTo>
                  <a:pt x="544" y="209"/>
                </a:lnTo>
                <a:lnTo>
                  <a:pt x="544" y="209"/>
                </a:lnTo>
                <a:lnTo>
                  <a:pt x="544" y="207"/>
                </a:lnTo>
                <a:lnTo>
                  <a:pt x="546" y="207"/>
                </a:lnTo>
                <a:lnTo>
                  <a:pt x="546" y="207"/>
                </a:lnTo>
                <a:lnTo>
                  <a:pt x="546" y="207"/>
                </a:lnTo>
                <a:lnTo>
                  <a:pt x="546" y="207"/>
                </a:lnTo>
                <a:lnTo>
                  <a:pt x="546" y="207"/>
                </a:lnTo>
                <a:lnTo>
                  <a:pt x="546" y="207"/>
                </a:lnTo>
                <a:lnTo>
                  <a:pt x="546" y="207"/>
                </a:lnTo>
                <a:lnTo>
                  <a:pt x="546" y="207"/>
                </a:lnTo>
                <a:lnTo>
                  <a:pt x="547" y="207"/>
                </a:lnTo>
                <a:lnTo>
                  <a:pt x="547" y="206"/>
                </a:lnTo>
                <a:lnTo>
                  <a:pt x="547" y="206"/>
                </a:lnTo>
                <a:lnTo>
                  <a:pt x="547" y="206"/>
                </a:lnTo>
                <a:lnTo>
                  <a:pt x="547" y="206"/>
                </a:lnTo>
                <a:lnTo>
                  <a:pt x="547" y="206"/>
                </a:lnTo>
                <a:lnTo>
                  <a:pt x="547" y="206"/>
                </a:lnTo>
                <a:lnTo>
                  <a:pt x="547" y="206"/>
                </a:lnTo>
                <a:lnTo>
                  <a:pt x="547" y="206"/>
                </a:lnTo>
                <a:lnTo>
                  <a:pt x="548" y="206"/>
                </a:lnTo>
                <a:lnTo>
                  <a:pt x="548" y="205"/>
                </a:lnTo>
                <a:lnTo>
                  <a:pt x="548" y="205"/>
                </a:lnTo>
                <a:lnTo>
                  <a:pt x="548" y="205"/>
                </a:lnTo>
                <a:lnTo>
                  <a:pt x="548" y="205"/>
                </a:lnTo>
                <a:lnTo>
                  <a:pt x="548" y="205"/>
                </a:lnTo>
                <a:lnTo>
                  <a:pt x="548" y="205"/>
                </a:lnTo>
                <a:lnTo>
                  <a:pt x="548" y="205"/>
                </a:lnTo>
                <a:lnTo>
                  <a:pt x="548" y="205"/>
                </a:lnTo>
                <a:lnTo>
                  <a:pt x="549" y="204"/>
                </a:lnTo>
                <a:lnTo>
                  <a:pt x="549" y="204"/>
                </a:lnTo>
                <a:lnTo>
                  <a:pt x="549" y="204"/>
                </a:lnTo>
                <a:lnTo>
                  <a:pt x="549" y="204"/>
                </a:lnTo>
                <a:lnTo>
                  <a:pt x="549" y="204"/>
                </a:lnTo>
                <a:lnTo>
                  <a:pt x="549" y="204"/>
                </a:lnTo>
                <a:lnTo>
                  <a:pt x="549" y="204"/>
                </a:lnTo>
                <a:lnTo>
                  <a:pt x="549" y="204"/>
                </a:lnTo>
                <a:lnTo>
                  <a:pt x="549" y="204"/>
                </a:lnTo>
                <a:lnTo>
                  <a:pt x="549" y="203"/>
                </a:lnTo>
                <a:lnTo>
                  <a:pt x="550" y="203"/>
                </a:lnTo>
                <a:lnTo>
                  <a:pt x="550" y="203"/>
                </a:lnTo>
                <a:lnTo>
                  <a:pt x="550" y="203"/>
                </a:lnTo>
                <a:lnTo>
                  <a:pt x="550" y="203"/>
                </a:lnTo>
                <a:lnTo>
                  <a:pt x="550" y="203"/>
                </a:lnTo>
                <a:lnTo>
                  <a:pt x="550" y="203"/>
                </a:lnTo>
                <a:lnTo>
                  <a:pt x="550" y="203"/>
                </a:lnTo>
                <a:lnTo>
                  <a:pt x="550" y="202"/>
                </a:lnTo>
                <a:lnTo>
                  <a:pt x="550" y="202"/>
                </a:lnTo>
                <a:lnTo>
                  <a:pt x="550" y="202"/>
                </a:lnTo>
                <a:lnTo>
                  <a:pt x="550" y="202"/>
                </a:lnTo>
                <a:lnTo>
                  <a:pt x="551" y="202"/>
                </a:lnTo>
                <a:lnTo>
                  <a:pt x="551" y="202"/>
                </a:lnTo>
                <a:lnTo>
                  <a:pt x="551" y="202"/>
                </a:lnTo>
                <a:lnTo>
                  <a:pt x="551" y="201"/>
                </a:lnTo>
                <a:lnTo>
                  <a:pt x="551" y="201"/>
                </a:lnTo>
                <a:lnTo>
                  <a:pt x="551" y="201"/>
                </a:lnTo>
                <a:lnTo>
                  <a:pt x="551" y="201"/>
                </a:lnTo>
                <a:lnTo>
                  <a:pt x="551" y="201"/>
                </a:lnTo>
                <a:lnTo>
                  <a:pt x="551" y="201"/>
                </a:lnTo>
                <a:lnTo>
                  <a:pt x="551" y="201"/>
                </a:lnTo>
                <a:lnTo>
                  <a:pt x="551" y="201"/>
                </a:lnTo>
                <a:lnTo>
                  <a:pt x="552" y="200"/>
                </a:lnTo>
                <a:lnTo>
                  <a:pt x="552" y="200"/>
                </a:lnTo>
                <a:lnTo>
                  <a:pt x="552" y="200"/>
                </a:lnTo>
                <a:lnTo>
                  <a:pt x="552" y="200"/>
                </a:lnTo>
                <a:lnTo>
                  <a:pt x="552" y="200"/>
                </a:lnTo>
                <a:lnTo>
                  <a:pt x="552" y="200"/>
                </a:lnTo>
                <a:lnTo>
                  <a:pt x="552" y="200"/>
                </a:lnTo>
                <a:lnTo>
                  <a:pt x="552" y="198"/>
                </a:lnTo>
                <a:lnTo>
                  <a:pt x="552" y="198"/>
                </a:lnTo>
                <a:lnTo>
                  <a:pt x="552" y="198"/>
                </a:lnTo>
                <a:lnTo>
                  <a:pt x="552" y="198"/>
                </a:lnTo>
                <a:lnTo>
                  <a:pt x="552" y="198"/>
                </a:lnTo>
                <a:lnTo>
                  <a:pt x="552" y="198"/>
                </a:lnTo>
                <a:lnTo>
                  <a:pt x="552" y="198"/>
                </a:lnTo>
                <a:lnTo>
                  <a:pt x="553" y="197"/>
                </a:lnTo>
                <a:lnTo>
                  <a:pt x="553" y="197"/>
                </a:lnTo>
                <a:lnTo>
                  <a:pt x="553" y="197"/>
                </a:lnTo>
                <a:lnTo>
                  <a:pt x="553" y="197"/>
                </a:lnTo>
                <a:lnTo>
                  <a:pt x="553" y="197"/>
                </a:lnTo>
                <a:lnTo>
                  <a:pt x="553" y="197"/>
                </a:lnTo>
                <a:lnTo>
                  <a:pt x="553" y="197"/>
                </a:lnTo>
                <a:lnTo>
                  <a:pt x="553" y="196"/>
                </a:lnTo>
                <a:lnTo>
                  <a:pt x="553" y="196"/>
                </a:lnTo>
                <a:lnTo>
                  <a:pt x="553" y="196"/>
                </a:lnTo>
                <a:lnTo>
                  <a:pt x="553" y="196"/>
                </a:lnTo>
                <a:lnTo>
                  <a:pt x="553" y="196"/>
                </a:lnTo>
                <a:lnTo>
                  <a:pt x="553" y="196"/>
                </a:lnTo>
                <a:lnTo>
                  <a:pt x="553" y="196"/>
                </a:lnTo>
                <a:lnTo>
                  <a:pt x="553" y="195"/>
                </a:lnTo>
                <a:lnTo>
                  <a:pt x="555" y="195"/>
                </a:lnTo>
                <a:lnTo>
                  <a:pt x="555" y="195"/>
                </a:lnTo>
                <a:lnTo>
                  <a:pt x="555" y="195"/>
                </a:lnTo>
                <a:lnTo>
                  <a:pt x="555" y="195"/>
                </a:lnTo>
                <a:lnTo>
                  <a:pt x="555" y="195"/>
                </a:lnTo>
                <a:lnTo>
                  <a:pt x="555" y="194"/>
                </a:lnTo>
                <a:lnTo>
                  <a:pt x="555" y="194"/>
                </a:lnTo>
                <a:lnTo>
                  <a:pt x="555" y="194"/>
                </a:lnTo>
                <a:lnTo>
                  <a:pt x="555" y="194"/>
                </a:lnTo>
                <a:lnTo>
                  <a:pt x="555" y="194"/>
                </a:lnTo>
                <a:lnTo>
                  <a:pt x="555" y="194"/>
                </a:lnTo>
                <a:lnTo>
                  <a:pt x="555" y="194"/>
                </a:lnTo>
                <a:lnTo>
                  <a:pt x="555" y="193"/>
                </a:lnTo>
                <a:lnTo>
                  <a:pt x="555" y="193"/>
                </a:lnTo>
                <a:lnTo>
                  <a:pt x="555" y="193"/>
                </a:lnTo>
                <a:lnTo>
                  <a:pt x="555" y="193"/>
                </a:lnTo>
                <a:lnTo>
                  <a:pt x="555" y="193"/>
                </a:lnTo>
                <a:lnTo>
                  <a:pt x="555" y="193"/>
                </a:lnTo>
                <a:lnTo>
                  <a:pt x="555" y="192"/>
                </a:lnTo>
                <a:lnTo>
                  <a:pt x="555" y="192"/>
                </a:lnTo>
                <a:lnTo>
                  <a:pt x="555" y="192"/>
                </a:lnTo>
                <a:lnTo>
                  <a:pt x="555" y="192"/>
                </a:lnTo>
                <a:lnTo>
                  <a:pt x="556" y="192"/>
                </a:lnTo>
                <a:lnTo>
                  <a:pt x="556" y="192"/>
                </a:lnTo>
                <a:lnTo>
                  <a:pt x="556" y="191"/>
                </a:lnTo>
                <a:lnTo>
                  <a:pt x="556" y="191"/>
                </a:lnTo>
                <a:lnTo>
                  <a:pt x="556" y="191"/>
                </a:lnTo>
                <a:lnTo>
                  <a:pt x="556" y="191"/>
                </a:lnTo>
                <a:lnTo>
                  <a:pt x="556" y="191"/>
                </a:lnTo>
                <a:lnTo>
                  <a:pt x="556" y="191"/>
                </a:lnTo>
                <a:lnTo>
                  <a:pt x="556" y="191"/>
                </a:lnTo>
                <a:lnTo>
                  <a:pt x="556" y="189"/>
                </a:lnTo>
                <a:lnTo>
                  <a:pt x="556" y="189"/>
                </a:lnTo>
                <a:lnTo>
                  <a:pt x="556" y="189"/>
                </a:lnTo>
                <a:lnTo>
                  <a:pt x="556" y="189"/>
                </a:lnTo>
                <a:lnTo>
                  <a:pt x="556" y="189"/>
                </a:lnTo>
                <a:lnTo>
                  <a:pt x="556" y="189"/>
                </a:lnTo>
                <a:lnTo>
                  <a:pt x="556" y="188"/>
                </a:lnTo>
                <a:lnTo>
                  <a:pt x="556" y="188"/>
                </a:lnTo>
                <a:lnTo>
                  <a:pt x="556" y="188"/>
                </a:lnTo>
                <a:lnTo>
                  <a:pt x="556" y="188"/>
                </a:lnTo>
                <a:lnTo>
                  <a:pt x="556" y="188"/>
                </a:lnTo>
                <a:lnTo>
                  <a:pt x="556" y="188"/>
                </a:lnTo>
                <a:lnTo>
                  <a:pt x="556" y="187"/>
                </a:lnTo>
                <a:lnTo>
                  <a:pt x="556" y="187"/>
                </a:lnTo>
                <a:lnTo>
                  <a:pt x="556" y="187"/>
                </a:lnTo>
                <a:lnTo>
                  <a:pt x="556" y="187"/>
                </a:lnTo>
                <a:lnTo>
                  <a:pt x="556" y="187"/>
                </a:lnTo>
                <a:lnTo>
                  <a:pt x="556" y="187"/>
                </a:lnTo>
                <a:lnTo>
                  <a:pt x="556" y="186"/>
                </a:lnTo>
                <a:lnTo>
                  <a:pt x="556" y="186"/>
                </a:lnTo>
                <a:lnTo>
                  <a:pt x="556" y="186"/>
                </a:lnTo>
                <a:lnTo>
                  <a:pt x="556" y="186"/>
                </a:lnTo>
                <a:lnTo>
                  <a:pt x="556" y="186"/>
                </a:lnTo>
                <a:lnTo>
                  <a:pt x="556" y="186"/>
                </a:lnTo>
                <a:lnTo>
                  <a:pt x="556" y="185"/>
                </a:lnTo>
                <a:lnTo>
                  <a:pt x="556" y="185"/>
                </a:lnTo>
                <a:lnTo>
                  <a:pt x="556" y="185"/>
                </a:lnTo>
                <a:lnTo>
                  <a:pt x="556" y="185"/>
                </a:lnTo>
                <a:lnTo>
                  <a:pt x="556" y="185"/>
                </a:lnTo>
                <a:lnTo>
                  <a:pt x="556" y="184"/>
                </a:lnTo>
                <a:lnTo>
                  <a:pt x="556" y="184"/>
                </a:lnTo>
                <a:lnTo>
                  <a:pt x="556" y="184"/>
                </a:lnTo>
                <a:lnTo>
                  <a:pt x="556" y="184"/>
                </a:lnTo>
                <a:lnTo>
                  <a:pt x="556" y="184"/>
                </a:lnTo>
                <a:lnTo>
                  <a:pt x="556" y="184"/>
                </a:lnTo>
                <a:lnTo>
                  <a:pt x="556" y="183"/>
                </a:lnTo>
                <a:lnTo>
                  <a:pt x="556" y="183"/>
                </a:lnTo>
                <a:lnTo>
                  <a:pt x="556" y="183"/>
                </a:lnTo>
                <a:lnTo>
                  <a:pt x="556" y="183"/>
                </a:lnTo>
                <a:lnTo>
                  <a:pt x="556" y="183"/>
                </a:lnTo>
                <a:lnTo>
                  <a:pt x="556" y="183"/>
                </a:lnTo>
                <a:lnTo>
                  <a:pt x="556" y="182"/>
                </a:lnTo>
                <a:lnTo>
                  <a:pt x="556" y="182"/>
                </a:lnTo>
                <a:lnTo>
                  <a:pt x="556" y="182"/>
                </a:lnTo>
                <a:lnTo>
                  <a:pt x="556" y="182"/>
                </a:lnTo>
                <a:lnTo>
                  <a:pt x="556" y="182"/>
                </a:lnTo>
                <a:lnTo>
                  <a:pt x="556" y="182"/>
                </a:lnTo>
                <a:lnTo>
                  <a:pt x="556" y="180"/>
                </a:lnTo>
                <a:lnTo>
                  <a:pt x="556" y="180"/>
                </a:lnTo>
                <a:lnTo>
                  <a:pt x="556" y="180"/>
                </a:lnTo>
                <a:lnTo>
                  <a:pt x="556" y="180"/>
                </a:lnTo>
                <a:lnTo>
                  <a:pt x="556" y="180"/>
                </a:lnTo>
                <a:lnTo>
                  <a:pt x="556" y="180"/>
                </a:lnTo>
                <a:lnTo>
                  <a:pt x="556" y="180"/>
                </a:lnTo>
                <a:lnTo>
                  <a:pt x="556" y="179"/>
                </a:lnTo>
                <a:lnTo>
                  <a:pt x="556" y="179"/>
                </a:lnTo>
                <a:lnTo>
                  <a:pt x="556" y="179"/>
                </a:lnTo>
                <a:lnTo>
                  <a:pt x="556" y="179"/>
                </a:lnTo>
                <a:lnTo>
                  <a:pt x="556" y="179"/>
                </a:lnTo>
                <a:lnTo>
                  <a:pt x="556" y="179"/>
                </a:lnTo>
                <a:lnTo>
                  <a:pt x="556" y="178"/>
                </a:lnTo>
                <a:lnTo>
                  <a:pt x="556" y="178"/>
                </a:lnTo>
                <a:lnTo>
                  <a:pt x="555" y="178"/>
                </a:lnTo>
                <a:lnTo>
                  <a:pt x="555" y="178"/>
                </a:lnTo>
                <a:lnTo>
                  <a:pt x="555" y="178"/>
                </a:lnTo>
                <a:lnTo>
                  <a:pt x="555" y="178"/>
                </a:lnTo>
                <a:lnTo>
                  <a:pt x="555" y="177"/>
                </a:lnTo>
                <a:lnTo>
                  <a:pt x="555" y="177"/>
                </a:lnTo>
                <a:lnTo>
                  <a:pt x="555" y="177"/>
                </a:lnTo>
                <a:lnTo>
                  <a:pt x="555" y="177"/>
                </a:lnTo>
                <a:lnTo>
                  <a:pt x="555" y="177"/>
                </a:lnTo>
                <a:lnTo>
                  <a:pt x="555" y="177"/>
                </a:lnTo>
                <a:lnTo>
                  <a:pt x="555" y="176"/>
                </a:lnTo>
                <a:lnTo>
                  <a:pt x="555" y="176"/>
                </a:lnTo>
                <a:lnTo>
                  <a:pt x="555" y="176"/>
                </a:lnTo>
                <a:lnTo>
                  <a:pt x="555" y="176"/>
                </a:lnTo>
                <a:lnTo>
                  <a:pt x="555" y="176"/>
                </a:lnTo>
                <a:lnTo>
                  <a:pt x="555" y="176"/>
                </a:lnTo>
                <a:lnTo>
                  <a:pt x="555" y="176"/>
                </a:lnTo>
                <a:lnTo>
                  <a:pt x="555" y="175"/>
                </a:lnTo>
                <a:lnTo>
                  <a:pt x="555" y="175"/>
                </a:lnTo>
                <a:lnTo>
                  <a:pt x="555" y="175"/>
                </a:lnTo>
                <a:lnTo>
                  <a:pt x="555" y="175"/>
                </a:lnTo>
                <a:lnTo>
                  <a:pt x="555" y="175"/>
                </a:lnTo>
                <a:lnTo>
                  <a:pt x="553" y="175"/>
                </a:lnTo>
                <a:lnTo>
                  <a:pt x="553" y="174"/>
                </a:lnTo>
                <a:lnTo>
                  <a:pt x="553" y="174"/>
                </a:lnTo>
                <a:lnTo>
                  <a:pt x="553" y="174"/>
                </a:lnTo>
                <a:lnTo>
                  <a:pt x="553" y="174"/>
                </a:lnTo>
                <a:lnTo>
                  <a:pt x="553" y="174"/>
                </a:lnTo>
                <a:lnTo>
                  <a:pt x="553" y="174"/>
                </a:lnTo>
                <a:lnTo>
                  <a:pt x="553" y="174"/>
                </a:lnTo>
                <a:lnTo>
                  <a:pt x="553" y="173"/>
                </a:lnTo>
                <a:lnTo>
                  <a:pt x="553" y="173"/>
                </a:lnTo>
                <a:lnTo>
                  <a:pt x="553" y="173"/>
                </a:lnTo>
                <a:lnTo>
                  <a:pt x="553" y="173"/>
                </a:lnTo>
                <a:lnTo>
                  <a:pt x="553" y="173"/>
                </a:lnTo>
                <a:lnTo>
                  <a:pt x="553" y="173"/>
                </a:lnTo>
                <a:lnTo>
                  <a:pt x="553" y="173"/>
                </a:lnTo>
                <a:lnTo>
                  <a:pt x="552" y="171"/>
                </a:lnTo>
                <a:lnTo>
                  <a:pt x="552" y="171"/>
                </a:lnTo>
                <a:lnTo>
                  <a:pt x="552" y="171"/>
                </a:lnTo>
                <a:lnTo>
                  <a:pt x="552" y="171"/>
                </a:lnTo>
                <a:lnTo>
                  <a:pt x="552" y="171"/>
                </a:lnTo>
                <a:lnTo>
                  <a:pt x="552" y="171"/>
                </a:lnTo>
                <a:lnTo>
                  <a:pt x="552" y="171"/>
                </a:lnTo>
                <a:lnTo>
                  <a:pt x="552" y="170"/>
                </a:lnTo>
                <a:lnTo>
                  <a:pt x="552" y="170"/>
                </a:lnTo>
                <a:lnTo>
                  <a:pt x="552" y="170"/>
                </a:lnTo>
                <a:lnTo>
                  <a:pt x="552" y="170"/>
                </a:lnTo>
                <a:lnTo>
                  <a:pt x="552" y="170"/>
                </a:lnTo>
                <a:lnTo>
                  <a:pt x="552" y="170"/>
                </a:lnTo>
                <a:lnTo>
                  <a:pt x="552" y="170"/>
                </a:lnTo>
                <a:lnTo>
                  <a:pt x="551" y="169"/>
                </a:lnTo>
                <a:lnTo>
                  <a:pt x="551" y="169"/>
                </a:lnTo>
                <a:lnTo>
                  <a:pt x="551" y="169"/>
                </a:lnTo>
                <a:lnTo>
                  <a:pt x="551" y="169"/>
                </a:lnTo>
                <a:lnTo>
                  <a:pt x="551" y="169"/>
                </a:lnTo>
                <a:lnTo>
                  <a:pt x="551" y="169"/>
                </a:lnTo>
                <a:lnTo>
                  <a:pt x="551" y="169"/>
                </a:lnTo>
                <a:lnTo>
                  <a:pt x="551" y="169"/>
                </a:lnTo>
                <a:lnTo>
                  <a:pt x="551" y="168"/>
                </a:lnTo>
                <a:lnTo>
                  <a:pt x="551" y="168"/>
                </a:lnTo>
                <a:lnTo>
                  <a:pt x="551" y="168"/>
                </a:lnTo>
                <a:lnTo>
                  <a:pt x="550" y="168"/>
                </a:lnTo>
                <a:lnTo>
                  <a:pt x="550" y="168"/>
                </a:lnTo>
                <a:lnTo>
                  <a:pt x="550" y="168"/>
                </a:lnTo>
                <a:lnTo>
                  <a:pt x="550" y="168"/>
                </a:lnTo>
                <a:lnTo>
                  <a:pt x="550" y="167"/>
                </a:lnTo>
                <a:lnTo>
                  <a:pt x="550" y="167"/>
                </a:lnTo>
                <a:lnTo>
                  <a:pt x="550" y="167"/>
                </a:lnTo>
                <a:lnTo>
                  <a:pt x="550" y="167"/>
                </a:lnTo>
                <a:lnTo>
                  <a:pt x="550" y="167"/>
                </a:lnTo>
                <a:lnTo>
                  <a:pt x="550" y="167"/>
                </a:lnTo>
                <a:lnTo>
                  <a:pt x="550" y="167"/>
                </a:lnTo>
                <a:lnTo>
                  <a:pt x="549" y="167"/>
                </a:lnTo>
                <a:lnTo>
                  <a:pt x="549" y="166"/>
                </a:lnTo>
                <a:lnTo>
                  <a:pt x="549" y="166"/>
                </a:lnTo>
                <a:lnTo>
                  <a:pt x="549" y="166"/>
                </a:lnTo>
                <a:lnTo>
                  <a:pt x="549" y="166"/>
                </a:lnTo>
                <a:lnTo>
                  <a:pt x="549" y="166"/>
                </a:lnTo>
                <a:lnTo>
                  <a:pt x="549" y="166"/>
                </a:lnTo>
                <a:lnTo>
                  <a:pt x="549" y="166"/>
                </a:lnTo>
                <a:lnTo>
                  <a:pt x="549" y="166"/>
                </a:lnTo>
                <a:lnTo>
                  <a:pt x="549" y="166"/>
                </a:lnTo>
                <a:lnTo>
                  <a:pt x="548" y="165"/>
                </a:lnTo>
                <a:lnTo>
                  <a:pt x="548" y="165"/>
                </a:lnTo>
                <a:lnTo>
                  <a:pt x="548" y="165"/>
                </a:lnTo>
                <a:lnTo>
                  <a:pt x="548" y="165"/>
                </a:lnTo>
                <a:lnTo>
                  <a:pt x="548" y="165"/>
                </a:lnTo>
                <a:lnTo>
                  <a:pt x="548" y="165"/>
                </a:lnTo>
                <a:lnTo>
                  <a:pt x="548" y="165"/>
                </a:lnTo>
                <a:lnTo>
                  <a:pt x="548" y="165"/>
                </a:lnTo>
                <a:lnTo>
                  <a:pt x="548" y="163"/>
                </a:lnTo>
                <a:lnTo>
                  <a:pt x="547" y="163"/>
                </a:lnTo>
                <a:lnTo>
                  <a:pt x="547" y="163"/>
                </a:lnTo>
                <a:lnTo>
                  <a:pt x="547" y="163"/>
                </a:lnTo>
                <a:lnTo>
                  <a:pt x="547" y="163"/>
                </a:lnTo>
                <a:lnTo>
                  <a:pt x="547" y="163"/>
                </a:lnTo>
                <a:lnTo>
                  <a:pt x="547" y="163"/>
                </a:lnTo>
                <a:lnTo>
                  <a:pt x="547" y="163"/>
                </a:lnTo>
                <a:lnTo>
                  <a:pt x="547" y="163"/>
                </a:lnTo>
                <a:lnTo>
                  <a:pt x="547" y="162"/>
                </a:lnTo>
                <a:lnTo>
                  <a:pt x="546" y="162"/>
                </a:lnTo>
                <a:lnTo>
                  <a:pt x="546" y="162"/>
                </a:lnTo>
                <a:lnTo>
                  <a:pt x="546" y="162"/>
                </a:lnTo>
                <a:lnTo>
                  <a:pt x="546" y="162"/>
                </a:lnTo>
                <a:lnTo>
                  <a:pt x="546" y="162"/>
                </a:lnTo>
                <a:lnTo>
                  <a:pt x="546" y="162"/>
                </a:lnTo>
                <a:lnTo>
                  <a:pt x="546" y="162"/>
                </a:lnTo>
                <a:lnTo>
                  <a:pt x="546" y="162"/>
                </a:lnTo>
                <a:lnTo>
                  <a:pt x="544" y="162"/>
                </a:lnTo>
                <a:lnTo>
                  <a:pt x="544" y="161"/>
                </a:lnTo>
                <a:lnTo>
                  <a:pt x="544" y="161"/>
                </a:lnTo>
                <a:lnTo>
                  <a:pt x="544" y="161"/>
                </a:lnTo>
                <a:lnTo>
                  <a:pt x="544" y="161"/>
                </a:lnTo>
                <a:lnTo>
                  <a:pt x="544" y="161"/>
                </a:lnTo>
                <a:lnTo>
                  <a:pt x="544" y="161"/>
                </a:lnTo>
                <a:lnTo>
                  <a:pt x="544" y="161"/>
                </a:lnTo>
                <a:lnTo>
                  <a:pt x="543" y="161"/>
                </a:lnTo>
                <a:lnTo>
                  <a:pt x="543" y="161"/>
                </a:lnTo>
                <a:lnTo>
                  <a:pt x="543" y="161"/>
                </a:lnTo>
                <a:lnTo>
                  <a:pt x="543" y="161"/>
                </a:lnTo>
                <a:lnTo>
                  <a:pt x="543" y="160"/>
                </a:lnTo>
                <a:lnTo>
                  <a:pt x="543" y="160"/>
                </a:lnTo>
                <a:lnTo>
                  <a:pt x="543" y="160"/>
                </a:lnTo>
                <a:lnTo>
                  <a:pt x="543" y="160"/>
                </a:lnTo>
                <a:lnTo>
                  <a:pt x="542" y="160"/>
                </a:lnTo>
                <a:lnTo>
                  <a:pt x="542" y="160"/>
                </a:lnTo>
                <a:lnTo>
                  <a:pt x="542" y="160"/>
                </a:lnTo>
                <a:lnTo>
                  <a:pt x="542" y="160"/>
                </a:lnTo>
                <a:lnTo>
                  <a:pt x="542" y="160"/>
                </a:lnTo>
                <a:lnTo>
                  <a:pt x="542" y="160"/>
                </a:lnTo>
                <a:lnTo>
                  <a:pt x="542" y="160"/>
                </a:lnTo>
                <a:lnTo>
                  <a:pt x="541" y="159"/>
                </a:lnTo>
                <a:lnTo>
                  <a:pt x="541" y="159"/>
                </a:lnTo>
                <a:lnTo>
                  <a:pt x="541" y="159"/>
                </a:lnTo>
                <a:lnTo>
                  <a:pt x="541" y="159"/>
                </a:lnTo>
                <a:lnTo>
                  <a:pt x="541" y="159"/>
                </a:lnTo>
                <a:lnTo>
                  <a:pt x="541" y="159"/>
                </a:lnTo>
                <a:lnTo>
                  <a:pt x="541" y="159"/>
                </a:lnTo>
                <a:lnTo>
                  <a:pt x="540" y="159"/>
                </a:lnTo>
                <a:lnTo>
                  <a:pt x="540" y="159"/>
                </a:lnTo>
                <a:lnTo>
                  <a:pt x="540" y="159"/>
                </a:lnTo>
                <a:lnTo>
                  <a:pt x="540" y="159"/>
                </a:lnTo>
                <a:lnTo>
                  <a:pt x="540" y="159"/>
                </a:lnTo>
                <a:lnTo>
                  <a:pt x="540" y="159"/>
                </a:lnTo>
                <a:lnTo>
                  <a:pt x="540" y="158"/>
                </a:lnTo>
                <a:lnTo>
                  <a:pt x="539" y="158"/>
                </a:lnTo>
                <a:lnTo>
                  <a:pt x="539" y="158"/>
                </a:lnTo>
                <a:lnTo>
                  <a:pt x="539" y="158"/>
                </a:lnTo>
                <a:lnTo>
                  <a:pt x="539" y="158"/>
                </a:lnTo>
                <a:lnTo>
                  <a:pt x="539" y="158"/>
                </a:lnTo>
                <a:lnTo>
                  <a:pt x="539" y="158"/>
                </a:lnTo>
                <a:lnTo>
                  <a:pt x="539" y="158"/>
                </a:lnTo>
                <a:lnTo>
                  <a:pt x="538" y="158"/>
                </a:lnTo>
                <a:lnTo>
                  <a:pt x="538" y="158"/>
                </a:lnTo>
                <a:lnTo>
                  <a:pt x="538" y="158"/>
                </a:lnTo>
                <a:lnTo>
                  <a:pt x="538" y="158"/>
                </a:lnTo>
                <a:lnTo>
                  <a:pt x="538" y="158"/>
                </a:lnTo>
                <a:lnTo>
                  <a:pt x="538" y="158"/>
                </a:lnTo>
                <a:lnTo>
                  <a:pt x="538" y="158"/>
                </a:lnTo>
                <a:lnTo>
                  <a:pt x="537" y="157"/>
                </a:lnTo>
                <a:lnTo>
                  <a:pt x="537" y="157"/>
                </a:lnTo>
                <a:lnTo>
                  <a:pt x="537" y="157"/>
                </a:lnTo>
                <a:lnTo>
                  <a:pt x="537" y="157"/>
                </a:lnTo>
                <a:lnTo>
                  <a:pt x="537" y="157"/>
                </a:lnTo>
                <a:lnTo>
                  <a:pt x="537" y="157"/>
                </a:lnTo>
                <a:lnTo>
                  <a:pt x="537" y="157"/>
                </a:lnTo>
                <a:lnTo>
                  <a:pt x="535" y="157"/>
                </a:lnTo>
                <a:lnTo>
                  <a:pt x="535" y="157"/>
                </a:lnTo>
                <a:lnTo>
                  <a:pt x="535" y="157"/>
                </a:lnTo>
                <a:lnTo>
                  <a:pt x="535" y="157"/>
                </a:lnTo>
                <a:lnTo>
                  <a:pt x="535" y="157"/>
                </a:lnTo>
                <a:lnTo>
                  <a:pt x="535" y="157"/>
                </a:lnTo>
                <a:lnTo>
                  <a:pt x="534" y="157"/>
                </a:lnTo>
                <a:lnTo>
                  <a:pt x="534" y="157"/>
                </a:lnTo>
                <a:lnTo>
                  <a:pt x="534" y="157"/>
                </a:lnTo>
                <a:lnTo>
                  <a:pt x="534" y="157"/>
                </a:lnTo>
                <a:lnTo>
                  <a:pt x="534" y="157"/>
                </a:lnTo>
                <a:lnTo>
                  <a:pt x="534" y="157"/>
                </a:lnTo>
                <a:lnTo>
                  <a:pt x="534" y="157"/>
                </a:lnTo>
                <a:lnTo>
                  <a:pt x="533" y="156"/>
                </a:lnTo>
                <a:lnTo>
                  <a:pt x="533" y="156"/>
                </a:lnTo>
                <a:lnTo>
                  <a:pt x="533" y="156"/>
                </a:lnTo>
                <a:lnTo>
                  <a:pt x="533" y="156"/>
                </a:lnTo>
                <a:lnTo>
                  <a:pt x="533" y="156"/>
                </a:lnTo>
                <a:lnTo>
                  <a:pt x="533" y="156"/>
                </a:lnTo>
                <a:lnTo>
                  <a:pt x="532" y="156"/>
                </a:lnTo>
                <a:lnTo>
                  <a:pt x="532" y="156"/>
                </a:lnTo>
                <a:lnTo>
                  <a:pt x="532" y="156"/>
                </a:lnTo>
                <a:lnTo>
                  <a:pt x="532" y="156"/>
                </a:lnTo>
                <a:lnTo>
                  <a:pt x="532" y="156"/>
                </a:lnTo>
                <a:lnTo>
                  <a:pt x="532" y="156"/>
                </a:lnTo>
                <a:lnTo>
                  <a:pt x="531" y="156"/>
                </a:lnTo>
                <a:lnTo>
                  <a:pt x="531" y="156"/>
                </a:lnTo>
                <a:lnTo>
                  <a:pt x="531" y="156"/>
                </a:lnTo>
                <a:lnTo>
                  <a:pt x="531" y="156"/>
                </a:lnTo>
                <a:lnTo>
                  <a:pt x="531" y="156"/>
                </a:lnTo>
                <a:lnTo>
                  <a:pt x="531" y="156"/>
                </a:lnTo>
                <a:lnTo>
                  <a:pt x="530" y="156"/>
                </a:lnTo>
                <a:lnTo>
                  <a:pt x="530" y="156"/>
                </a:lnTo>
                <a:lnTo>
                  <a:pt x="530" y="156"/>
                </a:lnTo>
                <a:lnTo>
                  <a:pt x="530" y="156"/>
                </a:lnTo>
                <a:lnTo>
                  <a:pt x="530" y="156"/>
                </a:lnTo>
                <a:lnTo>
                  <a:pt x="530" y="156"/>
                </a:lnTo>
                <a:lnTo>
                  <a:pt x="529" y="156"/>
                </a:lnTo>
                <a:lnTo>
                  <a:pt x="529" y="156"/>
                </a:lnTo>
                <a:lnTo>
                  <a:pt x="529" y="156"/>
                </a:lnTo>
                <a:lnTo>
                  <a:pt x="529" y="156"/>
                </a:lnTo>
                <a:lnTo>
                  <a:pt x="529" y="156"/>
                </a:lnTo>
                <a:lnTo>
                  <a:pt x="529" y="156"/>
                </a:lnTo>
                <a:lnTo>
                  <a:pt x="528" y="156"/>
                </a:lnTo>
                <a:lnTo>
                  <a:pt x="528" y="156"/>
                </a:lnTo>
                <a:lnTo>
                  <a:pt x="528" y="156"/>
                </a:lnTo>
                <a:lnTo>
                  <a:pt x="528" y="156"/>
                </a:lnTo>
                <a:lnTo>
                  <a:pt x="528" y="156"/>
                </a:lnTo>
                <a:lnTo>
                  <a:pt x="528" y="156"/>
                </a:lnTo>
                <a:lnTo>
                  <a:pt x="526" y="156"/>
                </a:lnTo>
                <a:lnTo>
                  <a:pt x="526" y="156"/>
                </a:lnTo>
                <a:lnTo>
                  <a:pt x="526" y="156"/>
                </a:lnTo>
                <a:lnTo>
                  <a:pt x="526" y="156"/>
                </a:lnTo>
                <a:lnTo>
                  <a:pt x="526" y="156"/>
                </a:lnTo>
                <a:lnTo>
                  <a:pt x="526" y="156"/>
                </a:lnTo>
                <a:close/>
                <a:moveTo>
                  <a:pt x="489" y="182"/>
                </a:moveTo>
                <a:lnTo>
                  <a:pt x="489" y="180"/>
                </a:lnTo>
                <a:lnTo>
                  <a:pt x="489" y="180"/>
                </a:lnTo>
                <a:lnTo>
                  <a:pt x="489" y="180"/>
                </a:lnTo>
                <a:lnTo>
                  <a:pt x="489" y="180"/>
                </a:lnTo>
                <a:lnTo>
                  <a:pt x="489" y="180"/>
                </a:lnTo>
                <a:lnTo>
                  <a:pt x="489" y="179"/>
                </a:lnTo>
                <a:lnTo>
                  <a:pt x="489" y="179"/>
                </a:lnTo>
                <a:lnTo>
                  <a:pt x="489" y="179"/>
                </a:lnTo>
                <a:lnTo>
                  <a:pt x="489" y="179"/>
                </a:lnTo>
                <a:lnTo>
                  <a:pt x="489" y="179"/>
                </a:lnTo>
                <a:lnTo>
                  <a:pt x="489" y="178"/>
                </a:lnTo>
                <a:lnTo>
                  <a:pt x="489" y="178"/>
                </a:lnTo>
                <a:lnTo>
                  <a:pt x="489" y="178"/>
                </a:lnTo>
                <a:lnTo>
                  <a:pt x="489" y="178"/>
                </a:lnTo>
                <a:lnTo>
                  <a:pt x="489" y="177"/>
                </a:lnTo>
                <a:lnTo>
                  <a:pt x="489" y="177"/>
                </a:lnTo>
                <a:lnTo>
                  <a:pt x="489" y="177"/>
                </a:lnTo>
                <a:lnTo>
                  <a:pt x="489" y="177"/>
                </a:lnTo>
                <a:lnTo>
                  <a:pt x="489" y="177"/>
                </a:lnTo>
                <a:lnTo>
                  <a:pt x="489" y="176"/>
                </a:lnTo>
                <a:lnTo>
                  <a:pt x="489" y="176"/>
                </a:lnTo>
                <a:lnTo>
                  <a:pt x="489" y="176"/>
                </a:lnTo>
                <a:lnTo>
                  <a:pt x="489" y="176"/>
                </a:lnTo>
                <a:lnTo>
                  <a:pt x="489" y="176"/>
                </a:lnTo>
                <a:lnTo>
                  <a:pt x="490" y="175"/>
                </a:lnTo>
                <a:lnTo>
                  <a:pt x="490" y="175"/>
                </a:lnTo>
                <a:lnTo>
                  <a:pt x="490" y="175"/>
                </a:lnTo>
                <a:lnTo>
                  <a:pt x="490" y="175"/>
                </a:lnTo>
                <a:lnTo>
                  <a:pt x="490" y="175"/>
                </a:lnTo>
                <a:lnTo>
                  <a:pt x="490" y="174"/>
                </a:lnTo>
                <a:lnTo>
                  <a:pt x="490" y="174"/>
                </a:lnTo>
                <a:lnTo>
                  <a:pt x="490" y="174"/>
                </a:lnTo>
                <a:lnTo>
                  <a:pt x="490" y="174"/>
                </a:lnTo>
                <a:lnTo>
                  <a:pt x="490" y="174"/>
                </a:lnTo>
                <a:lnTo>
                  <a:pt x="490" y="173"/>
                </a:lnTo>
                <a:lnTo>
                  <a:pt x="490" y="173"/>
                </a:lnTo>
                <a:lnTo>
                  <a:pt x="490" y="173"/>
                </a:lnTo>
                <a:lnTo>
                  <a:pt x="490" y="173"/>
                </a:lnTo>
                <a:lnTo>
                  <a:pt x="490" y="173"/>
                </a:lnTo>
                <a:lnTo>
                  <a:pt x="490" y="173"/>
                </a:lnTo>
                <a:lnTo>
                  <a:pt x="491" y="171"/>
                </a:lnTo>
                <a:lnTo>
                  <a:pt x="491" y="171"/>
                </a:lnTo>
                <a:lnTo>
                  <a:pt x="491" y="171"/>
                </a:lnTo>
                <a:lnTo>
                  <a:pt x="491" y="171"/>
                </a:lnTo>
                <a:lnTo>
                  <a:pt x="491" y="171"/>
                </a:lnTo>
                <a:lnTo>
                  <a:pt x="491" y="170"/>
                </a:lnTo>
                <a:lnTo>
                  <a:pt x="491" y="170"/>
                </a:lnTo>
                <a:lnTo>
                  <a:pt x="491" y="170"/>
                </a:lnTo>
                <a:lnTo>
                  <a:pt x="491" y="170"/>
                </a:lnTo>
                <a:lnTo>
                  <a:pt x="491" y="170"/>
                </a:lnTo>
                <a:lnTo>
                  <a:pt x="491" y="169"/>
                </a:lnTo>
                <a:lnTo>
                  <a:pt x="491" y="169"/>
                </a:lnTo>
                <a:lnTo>
                  <a:pt x="491" y="169"/>
                </a:lnTo>
                <a:lnTo>
                  <a:pt x="493" y="169"/>
                </a:lnTo>
                <a:lnTo>
                  <a:pt x="493" y="169"/>
                </a:lnTo>
                <a:lnTo>
                  <a:pt x="493" y="169"/>
                </a:lnTo>
                <a:lnTo>
                  <a:pt x="493" y="168"/>
                </a:lnTo>
                <a:lnTo>
                  <a:pt x="493" y="168"/>
                </a:lnTo>
                <a:lnTo>
                  <a:pt x="493" y="168"/>
                </a:lnTo>
                <a:lnTo>
                  <a:pt x="493" y="168"/>
                </a:lnTo>
                <a:lnTo>
                  <a:pt x="493" y="168"/>
                </a:lnTo>
                <a:lnTo>
                  <a:pt x="493" y="167"/>
                </a:lnTo>
                <a:lnTo>
                  <a:pt x="493" y="167"/>
                </a:lnTo>
                <a:lnTo>
                  <a:pt x="493" y="167"/>
                </a:lnTo>
                <a:lnTo>
                  <a:pt x="494" y="167"/>
                </a:lnTo>
                <a:lnTo>
                  <a:pt x="494" y="167"/>
                </a:lnTo>
                <a:lnTo>
                  <a:pt x="494" y="167"/>
                </a:lnTo>
                <a:lnTo>
                  <a:pt x="494" y="166"/>
                </a:lnTo>
                <a:lnTo>
                  <a:pt x="494" y="166"/>
                </a:lnTo>
                <a:lnTo>
                  <a:pt x="494" y="166"/>
                </a:lnTo>
                <a:lnTo>
                  <a:pt x="494" y="166"/>
                </a:lnTo>
                <a:lnTo>
                  <a:pt x="494" y="166"/>
                </a:lnTo>
                <a:lnTo>
                  <a:pt x="494" y="166"/>
                </a:lnTo>
                <a:lnTo>
                  <a:pt x="494" y="165"/>
                </a:lnTo>
                <a:lnTo>
                  <a:pt x="495" y="165"/>
                </a:lnTo>
                <a:lnTo>
                  <a:pt x="495" y="165"/>
                </a:lnTo>
                <a:lnTo>
                  <a:pt x="495" y="165"/>
                </a:lnTo>
                <a:lnTo>
                  <a:pt x="495" y="165"/>
                </a:lnTo>
                <a:lnTo>
                  <a:pt x="495" y="163"/>
                </a:lnTo>
                <a:lnTo>
                  <a:pt x="495" y="163"/>
                </a:lnTo>
                <a:lnTo>
                  <a:pt x="495" y="163"/>
                </a:lnTo>
                <a:lnTo>
                  <a:pt x="495" y="163"/>
                </a:lnTo>
                <a:lnTo>
                  <a:pt x="495" y="163"/>
                </a:lnTo>
                <a:lnTo>
                  <a:pt x="496" y="163"/>
                </a:lnTo>
                <a:lnTo>
                  <a:pt x="496" y="163"/>
                </a:lnTo>
                <a:lnTo>
                  <a:pt x="496" y="162"/>
                </a:lnTo>
                <a:lnTo>
                  <a:pt x="496" y="162"/>
                </a:lnTo>
                <a:lnTo>
                  <a:pt x="496" y="162"/>
                </a:lnTo>
                <a:lnTo>
                  <a:pt x="496" y="162"/>
                </a:lnTo>
                <a:lnTo>
                  <a:pt x="496" y="162"/>
                </a:lnTo>
                <a:lnTo>
                  <a:pt x="496" y="162"/>
                </a:lnTo>
                <a:lnTo>
                  <a:pt x="497" y="161"/>
                </a:lnTo>
                <a:lnTo>
                  <a:pt x="497" y="161"/>
                </a:lnTo>
                <a:lnTo>
                  <a:pt x="497" y="161"/>
                </a:lnTo>
                <a:lnTo>
                  <a:pt x="497" y="161"/>
                </a:lnTo>
                <a:lnTo>
                  <a:pt x="497" y="161"/>
                </a:lnTo>
                <a:lnTo>
                  <a:pt x="497" y="161"/>
                </a:lnTo>
                <a:lnTo>
                  <a:pt x="497" y="160"/>
                </a:lnTo>
                <a:lnTo>
                  <a:pt x="497" y="160"/>
                </a:lnTo>
                <a:lnTo>
                  <a:pt x="498" y="160"/>
                </a:lnTo>
                <a:lnTo>
                  <a:pt x="498" y="160"/>
                </a:lnTo>
                <a:lnTo>
                  <a:pt x="498" y="160"/>
                </a:lnTo>
                <a:lnTo>
                  <a:pt x="498" y="160"/>
                </a:lnTo>
                <a:lnTo>
                  <a:pt x="498" y="160"/>
                </a:lnTo>
                <a:lnTo>
                  <a:pt x="498" y="159"/>
                </a:lnTo>
                <a:lnTo>
                  <a:pt x="498" y="159"/>
                </a:lnTo>
                <a:lnTo>
                  <a:pt x="498" y="159"/>
                </a:lnTo>
                <a:lnTo>
                  <a:pt x="499" y="159"/>
                </a:lnTo>
                <a:lnTo>
                  <a:pt x="499" y="159"/>
                </a:lnTo>
                <a:lnTo>
                  <a:pt x="499" y="159"/>
                </a:lnTo>
                <a:lnTo>
                  <a:pt x="499" y="159"/>
                </a:lnTo>
                <a:lnTo>
                  <a:pt x="499" y="158"/>
                </a:lnTo>
                <a:lnTo>
                  <a:pt x="499" y="158"/>
                </a:lnTo>
                <a:lnTo>
                  <a:pt x="499" y="158"/>
                </a:lnTo>
                <a:lnTo>
                  <a:pt x="500" y="158"/>
                </a:lnTo>
                <a:lnTo>
                  <a:pt x="500" y="158"/>
                </a:lnTo>
                <a:lnTo>
                  <a:pt x="500" y="158"/>
                </a:lnTo>
                <a:lnTo>
                  <a:pt x="500" y="158"/>
                </a:lnTo>
                <a:lnTo>
                  <a:pt x="500" y="157"/>
                </a:lnTo>
                <a:lnTo>
                  <a:pt x="500" y="157"/>
                </a:lnTo>
                <a:lnTo>
                  <a:pt x="502" y="157"/>
                </a:lnTo>
                <a:lnTo>
                  <a:pt x="502" y="157"/>
                </a:lnTo>
                <a:lnTo>
                  <a:pt x="502" y="157"/>
                </a:lnTo>
                <a:lnTo>
                  <a:pt x="502" y="157"/>
                </a:lnTo>
                <a:lnTo>
                  <a:pt x="502" y="157"/>
                </a:lnTo>
                <a:lnTo>
                  <a:pt x="502" y="156"/>
                </a:lnTo>
                <a:lnTo>
                  <a:pt x="502" y="156"/>
                </a:lnTo>
                <a:lnTo>
                  <a:pt x="503" y="156"/>
                </a:lnTo>
                <a:lnTo>
                  <a:pt x="503" y="156"/>
                </a:lnTo>
                <a:lnTo>
                  <a:pt x="503" y="156"/>
                </a:lnTo>
                <a:lnTo>
                  <a:pt x="503" y="156"/>
                </a:lnTo>
                <a:lnTo>
                  <a:pt x="503" y="156"/>
                </a:lnTo>
                <a:lnTo>
                  <a:pt x="503" y="156"/>
                </a:lnTo>
                <a:lnTo>
                  <a:pt x="504" y="154"/>
                </a:lnTo>
                <a:lnTo>
                  <a:pt x="504" y="154"/>
                </a:lnTo>
                <a:lnTo>
                  <a:pt x="504" y="154"/>
                </a:lnTo>
                <a:lnTo>
                  <a:pt x="504" y="154"/>
                </a:lnTo>
                <a:lnTo>
                  <a:pt x="504" y="154"/>
                </a:lnTo>
                <a:lnTo>
                  <a:pt x="504" y="154"/>
                </a:lnTo>
                <a:lnTo>
                  <a:pt x="504" y="154"/>
                </a:lnTo>
                <a:lnTo>
                  <a:pt x="505" y="154"/>
                </a:lnTo>
                <a:lnTo>
                  <a:pt x="505" y="154"/>
                </a:lnTo>
                <a:lnTo>
                  <a:pt x="505" y="153"/>
                </a:lnTo>
                <a:lnTo>
                  <a:pt x="505" y="153"/>
                </a:lnTo>
                <a:lnTo>
                  <a:pt x="505" y="153"/>
                </a:lnTo>
                <a:lnTo>
                  <a:pt x="505" y="153"/>
                </a:lnTo>
                <a:lnTo>
                  <a:pt x="506" y="153"/>
                </a:lnTo>
                <a:lnTo>
                  <a:pt x="506" y="153"/>
                </a:lnTo>
                <a:lnTo>
                  <a:pt x="506" y="153"/>
                </a:lnTo>
                <a:lnTo>
                  <a:pt x="506" y="153"/>
                </a:lnTo>
                <a:lnTo>
                  <a:pt x="506" y="153"/>
                </a:lnTo>
                <a:lnTo>
                  <a:pt x="506" y="152"/>
                </a:lnTo>
                <a:lnTo>
                  <a:pt x="507" y="152"/>
                </a:lnTo>
                <a:lnTo>
                  <a:pt x="507" y="152"/>
                </a:lnTo>
                <a:lnTo>
                  <a:pt x="507" y="152"/>
                </a:lnTo>
                <a:lnTo>
                  <a:pt x="507" y="152"/>
                </a:lnTo>
                <a:lnTo>
                  <a:pt x="507" y="152"/>
                </a:lnTo>
                <a:lnTo>
                  <a:pt x="508" y="152"/>
                </a:lnTo>
                <a:lnTo>
                  <a:pt x="508" y="152"/>
                </a:lnTo>
                <a:lnTo>
                  <a:pt x="508" y="152"/>
                </a:lnTo>
                <a:lnTo>
                  <a:pt x="508" y="152"/>
                </a:lnTo>
                <a:lnTo>
                  <a:pt x="508" y="151"/>
                </a:lnTo>
                <a:lnTo>
                  <a:pt x="508" y="151"/>
                </a:lnTo>
                <a:lnTo>
                  <a:pt x="509" y="151"/>
                </a:lnTo>
                <a:lnTo>
                  <a:pt x="509" y="151"/>
                </a:lnTo>
                <a:lnTo>
                  <a:pt x="509" y="151"/>
                </a:lnTo>
                <a:lnTo>
                  <a:pt x="509" y="151"/>
                </a:lnTo>
                <a:lnTo>
                  <a:pt x="509" y="151"/>
                </a:lnTo>
                <a:lnTo>
                  <a:pt x="511" y="151"/>
                </a:lnTo>
                <a:lnTo>
                  <a:pt x="511" y="151"/>
                </a:lnTo>
                <a:lnTo>
                  <a:pt x="511" y="151"/>
                </a:lnTo>
                <a:lnTo>
                  <a:pt x="511" y="151"/>
                </a:lnTo>
                <a:lnTo>
                  <a:pt x="511" y="150"/>
                </a:lnTo>
                <a:lnTo>
                  <a:pt x="511" y="150"/>
                </a:lnTo>
                <a:lnTo>
                  <a:pt x="512" y="150"/>
                </a:lnTo>
                <a:lnTo>
                  <a:pt x="512" y="150"/>
                </a:lnTo>
                <a:lnTo>
                  <a:pt x="512" y="150"/>
                </a:lnTo>
                <a:lnTo>
                  <a:pt x="512" y="150"/>
                </a:lnTo>
                <a:lnTo>
                  <a:pt x="512" y="150"/>
                </a:lnTo>
                <a:lnTo>
                  <a:pt x="513" y="150"/>
                </a:lnTo>
                <a:lnTo>
                  <a:pt x="513" y="150"/>
                </a:lnTo>
                <a:lnTo>
                  <a:pt x="513" y="150"/>
                </a:lnTo>
                <a:lnTo>
                  <a:pt x="513" y="150"/>
                </a:lnTo>
                <a:lnTo>
                  <a:pt x="513" y="150"/>
                </a:lnTo>
                <a:lnTo>
                  <a:pt x="514" y="150"/>
                </a:lnTo>
                <a:lnTo>
                  <a:pt x="514" y="149"/>
                </a:lnTo>
                <a:lnTo>
                  <a:pt x="514" y="149"/>
                </a:lnTo>
                <a:lnTo>
                  <a:pt x="514" y="149"/>
                </a:lnTo>
                <a:lnTo>
                  <a:pt x="514" y="149"/>
                </a:lnTo>
                <a:lnTo>
                  <a:pt x="514" y="149"/>
                </a:lnTo>
                <a:lnTo>
                  <a:pt x="515" y="149"/>
                </a:lnTo>
                <a:lnTo>
                  <a:pt x="515" y="149"/>
                </a:lnTo>
                <a:lnTo>
                  <a:pt x="515" y="149"/>
                </a:lnTo>
                <a:lnTo>
                  <a:pt x="515" y="149"/>
                </a:lnTo>
                <a:lnTo>
                  <a:pt x="515" y="149"/>
                </a:lnTo>
                <a:lnTo>
                  <a:pt x="516" y="149"/>
                </a:lnTo>
                <a:lnTo>
                  <a:pt x="516" y="149"/>
                </a:lnTo>
                <a:lnTo>
                  <a:pt x="516" y="149"/>
                </a:lnTo>
                <a:lnTo>
                  <a:pt x="516" y="149"/>
                </a:lnTo>
                <a:lnTo>
                  <a:pt x="516" y="149"/>
                </a:lnTo>
                <a:lnTo>
                  <a:pt x="517" y="149"/>
                </a:lnTo>
                <a:lnTo>
                  <a:pt x="517" y="149"/>
                </a:lnTo>
                <a:lnTo>
                  <a:pt x="517" y="149"/>
                </a:lnTo>
                <a:lnTo>
                  <a:pt x="517" y="148"/>
                </a:lnTo>
                <a:lnTo>
                  <a:pt x="517" y="148"/>
                </a:lnTo>
                <a:lnTo>
                  <a:pt x="519" y="148"/>
                </a:lnTo>
                <a:lnTo>
                  <a:pt x="519" y="148"/>
                </a:lnTo>
                <a:lnTo>
                  <a:pt x="519" y="148"/>
                </a:lnTo>
                <a:lnTo>
                  <a:pt x="519" y="148"/>
                </a:lnTo>
                <a:lnTo>
                  <a:pt x="519" y="148"/>
                </a:lnTo>
                <a:lnTo>
                  <a:pt x="520" y="148"/>
                </a:lnTo>
                <a:lnTo>
                  <a:pt x="520" y="148"/>
                </a:lnTo>
                <a:lnTo>
                  <a:pt x="520" y="148"/>
                </a:lnTo>
                <a:lnTo>
                  <a:pt x="520" y="148"/>
                </a:lnTo>
                <a:lnTo>
                  <a:pt x="521" y="148"/>
                </a:lnTo>
                <a:lnTo>
                  <a:pt x="521" y="148"/>
                </a:lnTo>
                <a:lnTo>
                  <a:pt x="521" y="148"/>
                </a:lnTo>
                <a:lnTo>
                  <a:pt x="521" y="148"/>
                </a:lnTo>
                <a:lnTo>
                  <a:pt x="521" y="148"/>
                </a:lnTo>
                <a:lnTo>
                  <a:pt x="522" y="148"/>
                </a:lnTo>
                <a:lnTo>
                  <a:pt x="522" y="148"/>
                </a:lnTo>
                <a:lnTo>
                  <a:pt x="522" y="148"/>
                </a:lnTo>
                <a:lnTo>
                  <a:pt x="522" y="148"/>
                </a:lnTo>
                <a:lnTo>
                  <a:pt x="522" y="148"/>
                </a:lnTo>
                <a:lnTo>
                  <a:pt x="523" y="148"/>
                </a:lnTo>
                <a:lnTo>
                  <a:pt x="523" y="148"/>
                </a:lnTo>
                <a:lnTo>
                  <a:pt x="523" y="148"/>
                </a:lnTo>
                <a:lnTo>
                  <a:pt x="523" y="148"/>
                </a:lnTo>
                <a:lnTo>
                  <a:pt x="523" y="148"/>
                </a:lnTo>
                <a:lnTo>
                  <a:pt x="524" y="148"/>
                </a:lnTo>
                <a:lnTo>
                  <a:pt x="524" y="148"/>
                </a:lnTo>
                <a:lnTo>
                  <a:pt x="524" y="148"/>
                </a:lnTo>
                <a:lnTo>
                  <a:pt x="524" y="148"/>
                </a:lnTo>
                <a:lnTo>
                  <a:pt x="525" y="148"/>
                </a:lnTo>
                <a:lnTo>
                  <a:pt x="525" y="148"/>
                </a:lnTo>
                <a:lnTo>
                  <a:pt x="525" y="148"/>
                </a:lnTo>
                <a:lnTo>
                  <a:pt x="525" y="148"/>
                </a:lnTo>
                <a:lnTo>
                  <a:pt x="525" y="148"/>
                </a:lnTo>
                <a:lnTo>
                  <a:pt x="526" y="148"/>
                </a:lnTo>
                <a:lnTo>
                  <a:pt x="526" y="148"/>
                </a:lnTo>
                <a:lnTo>
                  <a:pt x="526" y="148"/>
                </a:lnTo>
                <a:lnTo>
                  <a:pt x="526" y="148"/>
                </a:lnTo>
                <a:lnTo>
                  <a:pt x="526" y="148"/>
                </a:lnTo>
                <a:lnTo>
                  <a:pt x="528" y="148"/>
                </a:lnTo>
                <a:lnTo>
                  <a:pt x="528" y="148"/>
                </a:lnTo>
                <a:lnTo>
                  <a:pt x="528" y="148"/>
                </a:lnTo>
                <a:lnTo>
                  <a:pt x="528" y="148"/>
                </a:lnTo>
                <a:lnTo>
                  <a:pt x="529" y="148"/>
                </a:lnTo>
                <a:lnTo>
                  <a:pt x="529" y="148"/>
                </a:lnTo>
                <a:lnTo>
                  <a:pt x="529" y="148"/>
                </a:lnTo>
                <a:lnTo>
                  <a:pt x="529" y="148"/>
                </a:lnTo>
                <a:lnTo>
                  <a:pt x="529" y="148"/>
                </a:lnTo>
                <a:lnTo>
                  <a:pt x="530" y="148"/>
                </a:lnTo>
                <a:lnTo>
                  <a:pt x="530" y="148"/>
                </a:lnTo>
                <a:lnTo>
                  <a:pt x="530" y="148"/>
                </a:lnTo>
                <a:lnTo>
                  <a:pt x="530" y="148"/>
                </a:lnTo>
                <a:lnTo>
                  <a:pt x="530" y="148"/>
                </a:lnTo>
                <a:lnTo>
                  <a:pt x="531" y="148"/>
                </a:lnTo>
                <a:lnTo>
                  <a:pt x="531" y="148"/>
                </a:lnTo>
                <a:lnTo>
                  <a:pt x="531" y="148"/>
                </a:lnTo>
                <a:lnTo>
                  <a:pt x="531" y="148"/>
                </a:lnTo>
                <a:lnTo>
                  <a:pt x="531" y="148"/>
                </a:lnTo>
                <a:lnTo>
                  <a:pt x="532" y="148"/>
                </a:lnTo>
                <a:lnTo>
                  <a:pt x="532" y="148"/>
                </a:lnTo>
                <a:lnTo>
                  <a:pt x="532" y="148"/>
                </a:lnTo>
                <a:lnTo>
                  <a:pt x="532" y="148"/>
                </a:lnTo>
                <a:lnTo>
                  <a:pt x="532" y="148"/>
                </a:lnTo>
                <a:lnTo>
                  <a:pt x="533" y="148"/>
                </a:lnTo>
                <a:lnTo>
                  <a:pt x="533" y="148"/>
                </a:lnTo>
                <a:lnTo>
                  <a:pt x="533" y="148"/>
                </a:lnTo>
                <a:lnTo>
                  <a:pt x="533" y="148"/>
                </a:lnTo>
                <a:lnTo>
                  <a:pt x="534" y="148"/>
                </a:lnTo>
                <a:lnTo>
                  <a:pt x="534" y="148"/>
                </a:lnTo>
                <a:lnTo>
                  <a:pt x="534" y="148"/>
                </a:lnTo>
                <a:lnTo>
                  <a:pt x="534" y="148"/>
                </a:lnTo>
                <a:lnTo>
                  <a:pt x="534" y="148"/>
                </a:lnTo>
                <a:lnTo>
                  <a:pt x="535" y="149"/>
                </a:lnTo>
                <a:lnTo>
                  <a:pt x="535" y="149"/>
                </a:lnTo>
                <a:lnTo>
                  <a:pt x="535" y="149"/>
                </a:lnTo>
                <a:lnTo>
                  <a:pt x="535" y="149"/>
                </a:lnTo>
                <a:lnTo>
                  <a:pt x="535" y="149"/>
                </a:lnTo>
                <a:lnTo>
                  <a:pt x="537" y="149"/>
                </a:lnTo>
                <a:lnTo>
                  <a:pt x="537" y="149"/>
                </a:lnTo>
                <a:lnTo>
                  <a:pt x="537" y="149"/>
                </a:lnTo>
                <a:lnTo>
                  <a:pt x="537" y="149"/>
                </a:lnTo>
                <a:lnTo>
                  <a:pt x="537" y="149"/>
                </a:lnTo>
                <a:lnTo>
                  <a:pt x="538" y="149"/>
                </a:lnTo>
                <a:lnTo>
                  <a:pt x="538" y="149"/>
                </a:lnTo>
                <a:lnTo>
                  <a:pt x="538" y="149"/>
                </a:lnTo>
                <a:lnTo>
                  <a:pt x="538" y="149"/>
                </a:lnTo>
                <a:lnTo>
                  <a:pt x="538" y="149"/>
                </a:lnTo>
                <a:lnTo>
                  <a:pt x="538" y="149"/>
                </a:lnTo>
                <a:lnTo>
                  <a:pt x="539" y="149"/>
                </a:lnTo>
                <a:lnTo>
                  <a:pt x="539" y="149"/>
                </a:lnTo>
                <a:lnTo>
                  <a:pt x="539" y="150"/>
                </a:lnTo>
                <a:lnTo>
                  <a:pt x="539" y="150"/>
                </a:lnTo>
                <a:lnTo>
                  <a:pt x="539" y="150"/>
                </a:lnTo>
                <a:lnTo>
                  <a:pt x="540" y="150"/>
                </a:lnTo>
                <a:lnTo>
                  <a:pt x="540" y="150"/>
                </a:lnTo>
                <a:lnTo>
                  <a:pt x="540" y="150"/>
                </a:lnTo>
                <a:lnTo>
                  <a:pt x="540" y="150"/>
                </a:lnTo>
                <a:lnTo>
                  <a:pt x="540" y="150"/>
                </a:lnTo>
                <a:lnTo>
                  <a:pt x="541" y="150"/>
                </a:lnTo>
                <a:lnTo>
                  <a:pt x="541" y="150"/>
                </a:lnTo>
                <a:lnTo>
                  <a:pt x="541" y="150"/>
                </a:lnTo>
                <a:lnTo>
                  <a:pt x="541" y="150"/>
                </a:lnTo>
                <a:lnTo>
                  <a:pt x="541" y="150"/>
                </a:lnTo>
                <a:lnTo>
                  <a:pt x="542" y="151"/>
                </a:lnTo>
                <a:lnTo>
                  <a:pt x="542" y="151"/>
                </a:lnTo>
                <a:lnTo>
                  <a:pt x="542" y="151"/>
                </a:lnTo>
                <a:lnTo>
                  <a:pt x="542" y="151"/>
                </a:lnTo>
                <a:lnTo>
                  <a:pt x="542" y="151"/>
                </a:lnTo>
                <a:lnTo>
                  <a:pt x="542" y="151"/>
                </a:lnTo>
                <a:lnTo>
                  <a:pt x="543" y="151"/>
                </a:lnTo>
                <a:lnTo>
                  <a:pt x="543" y="151"/>
                </a:lnTo>
                <a:lnTo>
                  <a:pt x="543" y="151"/>
                </a:lnTo>
                <a:lnTo>
                  <a:pt x="543" y="151"/>
                </a:lnTo>
                <a:lnTo>
                  <a:pt x="543" y="151"/>
                </a:lnTo>
                <a:lnTo>
                  <a:pt x="544" y="152"/>
                </a:lnTo>
                <a:lnTo>
                  <a:pt x="544" y="152"/>
                </a:lnTo>
                <a:lnTo>
                  <a:pt x="544" y="152"/>
                </a:lnTo>
                <a:lnTo>
                  <a:pt x="544" y="152"/>
                </a:lnTo>
                <a:lnTo>
                  <a:pt x="544" y="152"/>
                </a:lnTo>
                <a:lnTo>
                  <a:pt x="544" y="152"/>
                </a:lnTo>
                <a:lnTo>
                  <a:pt x="546" y="152"/>
                </a:lnTo>
                <a:lnTo>
                  <a:pt x="546" y="152"/>
                </a:lnTo>
                <a:lnTo>
                  <a:pt x="546" y="152"/>
                </a:lnTo>
                <a:lnTo>
                  <a:pt x="546" y="152"/>
                </a:lnTo>
                <a:lnTo>
                  <a:pt x="546" y="153"/>
                </a:lnTo>
                <a:lnTo>
                  <a:pt x="546" y="153"/>
                </a:lnTo>
                <a:lnTo>
                  <a:pt x="547" y="153"/>
                </a:lnTo>
                <a:lnTo>
                  <a:pt x="547" y="153"/>
                </a:lnTo>
                <a:lnTo>
                  <a:pt x="547" y="153"/>
                </a:lnTo>
                <a:lnTo>
                  <a:pt x="547" y="153"/>
                </a:lnTo>
                <a:lnTo>
                  <a:pt x="547" y="153"/>
                </a:lnTo>
                <a:lnTo>
                  <a:pt x="547" y="153"/>
                </a:lnTo>
                <a:lnTo>
                  <a:pt x="548" y="153"/>
                </a:lnTo>
                <a:lnTo>
                  <a:pt x="548" y="154"/>
                </a:lnTo>
                <a:lnTo>
                  <a:pt x="548" y="154"/>
                </a:lnTo>
                <a:lnTo>
                  <a:pt x="548" y="154"/>
                </a:lnTo>
                <a:lnTo>
                  <a:pt x="548" y="154"/>
                </a:lnTo>
                <a:lnTo>
                  <a:pt x="548" y="154"/>
                </a:lnTo>
                <a:lnTo>
                  <a:pt x="549" y="154"/>
                </a:lnTo>
                <a:lnTo>
                  <a:pt x="549" y="154"/>
                </a:lnTo>
                <a:lnTo>
                  <a:pt x="549" y="154"/>
                </a:lnTo>
                <a:lnTo>
                  <a:pt x="549" y="154"/>
                </a:lnTo>
                <a:lnTo>
                  <a:pt x="549" y="156"/>
                </a:lnTo>
                <a:lnTo>
                  <a:pt x="549" y="156"/>
                </a:lnTo>
                <a:lnTo>
                  <a:pt x="550" y="156"/>
                </a:lnTo>
                <a:lnTo>
                  <a:pt x="550" y="156"/>
                </a:lnTo>
                <a:lnTo>
                  <a:pt x="550" y="156"/>
                </a:lnTo>
                <a:lnTo>
                  <a:pt x="550" y="156"/>
                </a:lnTo>
                <a:lnTo>
                  <a:pt x="550" y="156"/>
                </a:lnTo>
                <a:lnTo>
                  <a:pt x="550" y="156"/>
                </a:lnTo>
                <a:lnTo>
                  <a:pt x="550" y="157"/>
                </a:lnTo>
                <a:lnTo>
                  <a:pt x="551" y="157"/>
                </a:lnTo>
                <a:lnTo>
                  <a:pt x="551" y="157"/>
                </a:lnTo>
                <a:lnTo>
                  <a:pt x="551" y="157"/>
                </a:lnTo>
                <a:lnTo>
                  <a:pt x="551" y="157"/>
                </a:lnTo>
                <a:lnTo>
                  <a:pt x="551" y="157"/>
                </a:lnTo>
                <a:lnTo>
                  <a:pt x="551" y="157"/>
                </a:lnTo>
                <a:lnTo>
                  <a:pt x="552" y="158"/>
                </a:lnTo>
                <a:lnTo>
                  <a:pt x="552" y="158"/>
                </a:lnTo>
                <a:lnTo>
                  <a:pt x="552" y="158"/>
                </a:lnTo>
                <a:lnTo>
                  <a:pt x="552" y="158"/>
                </a:lnTo>
                <a:lnTo>
                  <a:pt x="552" y="158"/>
                </a:lnTo>
                <a:lnTo>
                  <a:pt x="552" y="158"/>
                </a:lnTo>
                <a:lnTo>
                  <a:pt x="552" y="158"/>
                </a:lnTo>
                <a:lnTo>
                  <a:pt x="553" y="159"/>
                </a:lnTo>
                <a:lnTo>
                  <a:pt x="553" y="159"/>
                </a:lnTo>
                <a:lnTo>
                  <a:pt x="553" y="159"/>
                </a:lnTo>
                <a:lnTo>
                  <a:pt x="553" y="159"/>
                </a:lnTo>
                <a:lnTo>
                  <a:pt x="553" y="159"/>
                </a:lnTo>
                <a:lnTo>
                  <a:pt x="553" y="159"/>
                </a:lnTo>
                <a:lnTo>
                  <a:pt x="553" y="159"/>
                </a:lnTo>
                <a:lnTo>
                  <a:pt x="555" y="160"/>
                </a:lnTo>
                <a:lnTo>
                  <a:pt x="555" y="160"/>
                </a:lnTo>
                <a:lnTo>
                  <a:pt x="555" y="160"/>
                </a:lnTo>
                <a:lnTo>
                  <a:pt x="555" y="160"/>
                </a:lnTo>
                <a:lnTo>
                  <a:pt x="555" y="160"/>
                </a:lnTo>
                <a:lnTo>
                  <a:pt x="555" y="160"/>
                </a:lnTo>
                <a:lnTo>
                  <a:pt x="555" y="160"/>
                </a:lnTo>
                <a:lnTo>
                  <a:pt x="555" y="161"/>
                </a:lnTo>
                <a:lnTo>
                  <a:pt x="556" y="161"/>
                </a:lnTo>
                <a:lnTo>
                  <a:pt x="556" y="161"/>
                </a:lnTo>
                <a:lnTo>
                  <a:pt x="556" y="161"/>
                </a:lnTo>
                <a:lnTo>
                  <a:pt x="556" y="161"/>
                </a:lnTo>
                <a:lnTo>
                  <a:pt x="556" y="161"/>
                </a:lnTo>
                <a:lnTo>
                  <a:pt x="556" y="162"/>
                </a:lnTo>
                <a:lnTo>
                  <a:pt x="556" y="162"/>
                </a:lnTo>
                <a:lnTo>
                  <a:pt x="556" y="162"/>
                </a:lnTo>
                <a:lnTo>
                  <a:pt x="557" y="162"/>
                </a:lnTo>
                <a:lnTo>
                  <a:pt x="557" y="162"/>
                </a:lnTo>
                <a:lnTo>
                  <a:pt x="557" y="162"/>
                </a:lnTo>
                <a:lnTo>
                  <a:pt x="557" y="163"/>
                </a:lnTo>
                <a:lnTo>
                  <a:pt x="557" y="163"/>
                </a:lnTo>
                <a:lnTo>
                  <a:pt x="557" y="163"/>
                </a:lnTo>
                <a:lnTo>
                  <a:pt x="557" y="163"/>
                </a:lnTo>
                <a:lnTo>
                  <a:pt x="557" y="163"/>
                </a:lnTo>
                <a:lnTo>
                  <a:pt x="557" y="163"/>
                </a:lnTo>
                <a:lnTo>
                  <a:pt x="558" y="163"/>
                </a:lnTo>
                <a:lnTo>
                  <a:pt x="558" y="165"/>
                </a:lnTo>
                <a:lnTo>
                  <a:pt x="558" y="165"/>
                </a:lnTo>
                <a:lnTo>
                  <a:pt x="558" y="165"/>
                </a:lnTo>
                <a:lnTo>
                  <a:pt x="558" y="165"/>
                </a:lnTo>
                <a:lnTo>
                  <a:pt x="558" y="165"/>
                </a:lnTo>
                <a:lnTo>
                  <a:pt x="558" y="166"/>
                </a:lnTo>
                <a:lnTo>
                  <a:pt x="558" y="166"/>
                </a:lnTo>
                <a:lnTo>
                  <a:pt x="558" y="166"/>
                </a:lnTo>
                <a:lnTo>
                  <a:pt x="559" y="166"/>
                </a:lnTo>
                <a:lnTo>
                  <a:pt x="559" y="166"/>
                </a:lnTo>
                <a:lnTo>
                  <a:pt x="559" y="166"/>
                </a:lnTo>
                <a:lnTo>
                  <a:pt x="559" y="167"/>
                </a:lnTo>
                <a:lnTo>
                  <a:pt x="559" y="167"/>
                </a:lnTo>
                <a:lnTo>
                  <a:pt x="559" y="167"/>
                </a:lnTo>
                <a:lnTo>
                  <a:pt x="559" y="167"/>
                </a:lnTo>
                <a:lnTo>
                  <a:pt x="559" y="167"/>
                </a:lnTo>
                <a:lnTo>
                  <a:pt x="559" y="167"/>
                </a:lnTo>
                <a:lnTo>
                  <a:pt x="559" y="168"/>
                </a:lnTo>
                <a:lnTo>
                  <a:pt x="560" y="168"/>
                </a:lnTo>
                <a:lnTo>
                  <a:pt x="560" y="168"/>
                </a:lnTo>
                <a:lnTo>
                  <a:pt x="560" y="168"/>
                </a:lnTo>
                <a:lnTo>
                  <a:pt x="560" y="168"/>
                </a:lnTo>
                <a:lnTo>
                  <a:pt x="560" y="169"/>
                </a:lnTo>
                <a:lnTo>
                  <a:pt x="560" y="169"/>
                </a:lnTo>
                <a:lnTo>
                  <a:pt x="560" y="169"/>
                </a:lnTo>
                <a:lnTo>
                  <a:pt x="560" y="169"/>
                </a:lnTo>
                <a:lnTo>
                  <a:pt x="560" y="169"/>
                </a:lnTo>
                <a:lnTo>
                  <a:pt x="560" y="169"/>
                </a:lnTo>
                <a:lnTo>
                  <a:pt x="560" y="170"/>
                </a:lnTo>
                <a:lnTo>
                  <a:pt x="560" y="170"/>
                </a:lnTo>
                <a:lnTo>
                  <a:pt x="561" y="170"/>
                </a:lnTo>
                <a:lnTo>
                  <a:pt x="561" y="170"/>
                </a:lnTo>
                <a:lnTo>
                  <a:pt x="561" y="170"/>
                </a:lnTo>
                <a:lnTo>
                  <a:pt x="561" y="171"/>
                </a:lnTo>
                <a:lnTo>
                  <a:pt x="561" y="171"/>
                </a:lnTo>
                <a:lnTo>
                  <a:pt x="561" y="171"/>
                </a:lnTo>
                <a:lnTo>
                  <a:pt x="561" y="171"/>
                </a:lnTo>
                <a:lnTo>
                  <a:pt x="561" y="171"/>
                </a:lnTo>
                <a:lnTo>
                  <a:pt x="561" y="173"/>
                </a:lnTo>
                <a:lnTo>
                  <a:pt x="561" y="173"/>
                </a:lnTo>
                <a:lnTo>
                  <a:pt x="561" y="173"/>
                </a:lnTo>
                <a:lnTo>
                  <a:pt x="561" y="173"/>
                </a:lnTo>
                <a:lnTo>
                  <a:pt x="561" y="173"/>
                </a:lnTo>
                <a:lnTo>
                  <a:pt x="562" y="173"/>
                </a:lnTo>
                <a:lnTo>
                  <a:pt x="562" y="174"/>
                </a:lnTo>
                <a:lnTo>
                  <a:pt x="562" y="174"/>
                </a:lnTo>
                <a:lnTo>
                  <a:pt x="562" y="174"/>
                </a:lnTo>
                <a:lnTo>
                  <a:pt x="562" y="174"/>
                </a:lnTo>
                <a:lnTo>
                  <a:pt x="562" y="174"/>
                </a:lnTo>
                <a:lnTo>
                  <a:pt x="562" y="175"/>
                </a:lnTo>
                <a:lnTo>
                  <a:pt x="562" y="175"/>
                </a:lnTo>
                <a:lnTo>
                  <a:pt x="562" y="175"/>
                </a:lnTo>
                <a:lnTo>
                  <a:pt x="562" y="175"/>
                </a:lnTo>
                <a:lnTo>
                  <a:pt x="562" y="175"/>
                </a:lnTo>
                <a:lnTo>
                  <a:pt x="562" y="176"/>
                </a:lnTo>
                <a:lnTo>
                  <a:pt x="562" y="176"/>
                </a:lnTo>
                <a:lnTo>
                  <a:pt x="562" y="176"/>
                </a:lnTo>
                <a:lnTo>
                  <a:pt x="562" y="176"/>
                </a:lnTo>
                <a:lnTo>
                  <a:pt x="562" y="176"/>
                </a:lnTo>
                <a:lnTo>
                  <a:pt x="562" y="177"/>
                </a:lnTo>
                <a:lnTo>
                  <a:pt x="562" y="177"/>
                </a:lnTo>
                <a:lnTo>
                  <a:pt x="562" y="177"/>
                </a:lnTo>
                <a:lnTo>
                  <a:pt x="564" y="177"/>
                </a:lnTo>
                <a:lnTo>
                  <a:pt x="564" y="177"/>
                </a:lnTo>
                <a:lnTo>
                  <a:pt x="564" y="178"/>
                </a:lnTo>
                <a:lnTo>
                  <a:pt x="564" y="178"/>
                </a:lnTo>
                <a:lnTo>
                  <a:pt x="564" y="178"/>
                </a:lnTo>
                <a:lnTo>
                  <a:pt x="564" y="178"/>
                </a:lnTo>
                <a:lnTo>
                  <a:pt x="564" y="179"/>
                </a:lnTo>
                <a:lnTo>
                  <a:pt x="564" y="179"/>
                </a:lnTo>
                <a:lnTo>
                  <a:pt x="564" y="179"/>
                </a:lnTo>
                <a:lnTo>
                  <a:pt x="564" y="179"/>
                </a:lnTo>
                <a:lnTo>
                  <a:pt x="564" y="179"/>
                </a:lnTo>
                <a:lnTo>
                  <a:pt x="564" y="180"/>
                </a:lnTo>
                <a:lnTo>
                  <a:pt x="564" y="180"/>
                </a:lnTo>
                <a:lnTo>
                  <a:pt x="564" y="180"/>
                </a:lnTo>
                <a:lnTo>
                  <a:pt x="564" y="180"/>
                </a:lnTo>
                <a:lnTo>
                  <a:pt x="564" y="180"/>
                </a:lnTo>
                <a:lnTo>
                  <a:pt x="564" y="182"/>
                </a:lnTo>
                <a:lnTo>
                  <a:pt x="564" y="182"/>
                </a:lnTo>
                <a:lnTo>
                  <a:pt x="564" y="182"/>
                </a:lnTo>
                <a:lnTo>
                  <a:pt x="564" y="182"/>
                </a:lnTo>
                <a:lnTo>
                  <a:pt x="564" y="182"/>
                </a:lnTo>
                <a:lnTo>
                  <a:pt x="564" y="183"/>
                </a:lnTo>
                <a:lnTo>
                  <a:pt x="564" y="183"/>
                </a:lnTo>
                <a:lnTo>
                  <a:pt x="564" y="183"/>
                </a:lnTo>
                <a:lnTo>
                  <a:pt x="564" y="183"/>
                </a:lnTo>
                <a:lnTo>
                  <a:pt x="564" y="184"/>
                </a:lnTo>
                <a:lnTo>
                  <a:pt x="564" y="184"/>
                </a:lnTo>
                <a:lnTo>
                  <a:pt x="564" y="184"/>
                </a:lnTo>
                <a:lnTo>
                  <a:pt x="564" y="184"/>
                </a:lnTo>
                <a:lnTo>
                  <a:pt x="564" y="184"/>
                </a:lnTo>
                <a:lnTo>
                  <a:pt x="564" y="185"/>
                </a:lnTo>
                <a:lnTo>
                  <a:pt x="564" y="185"/>
                </a:lnTo>
                <a:lnTo>
                  <a:pt x="564" y="185"/>
                </a:lnTo>
                <a:lnTo>
                  <a:pt x="564" y="185"/>
                </a:lnTo>
                <a:lnTo>
                  <a:pt x="564" y="185"/>
                </a:lnTo>
                <a:lnTo>
                  <a:pt x="564" y="186"/>
                </a:lnTo>
                <a:lnTo>
                  <a:pt x="564" y="186"/>
                </a:lnTo>
                <a:lnTo>
                  <a:pt x="564" y="186"/>
                </a:lnTo>
                <a:lnTo>
                  <a:pt x="564" y="186"/>
                </a:lnTo>
                <a:lnTo>
                  <a:pt x="564" y="187"/>
                </a:lnTo>
                <a:lnTo>
                  <a:pt x="564" y="187"/>
                </a:lnTo>
                <a:lnTo>
                  <a:pt x="564" y="187"/>
                </a:lnTo>
                <a:lnTo>
                  <a:pt x="564" y="187"/>
                </a:lnTo>
                <a:lnTo>
                  <a:pt x="564" y="187"/>
                </a:lnTo>
                <a:lnTo>
                  <a:pt x="564" y="188"/>
                </a:lnTo>
                <a:lnTo>
                  <a:pt x="564" y="188"/>
                </a:lnTo>
                <a:lnTo>
                  <a:pt x="564" y="188"/>
                </a:lnTo>
                <a:lnTo>
                  <a:pt x="564" y="188"/>
                </a:lnTo>
                <a:lnTo>
                  <a:pt x="564" y="188"/>
                </a:lnTo>
                <a:lnTo>
                  <a:pt x="564" y="189"/>
                </a:lnTo>
                <a:lnTo>
                  <a:pt x="564" y="189"/>
                </a:lnTo>
                <a:lnTo>
                  <a:pt x="564" y="189"/>
                </a:lnTo>
                <a:lnTo>
                  <a:pt x="564" y="189"/>
                </a:lnTo>
                <a:lnTo>
                  <a:pt x="564" y="189"/>
                </a:lnTo>
                <a:lnTo>
                  <a:pt x="564" y="191"/>
                </a:lnTo>
                <a:lnTo>
                  <a:pt x="564" y="191"/>
                </a:lnTo>
                <a:lnTo>
                  <a:pt x="564" y="191"/>
                </a:lnTo>
                <a:lnTo>
                  <a:pt x="564" y="191"/>
                </a:lnTo>
                <a:lnTo>
                  <a:pt x="564" y="191"/>
                </a:lnTo>
                <a:lnTo>
                  <a:pt x="564" y="192"/>
                </a:lnTo>
                <a:lnTo>
                  <a:pt x="564" y="192"/>
                </a:lnTo>
                <a:lnTo>
                  <a:pt x="564" y="192"/>
                </a:lnTo>
                <a:lnTo>
                  <a:pt x="564" y="192"/>
                </a:lnTo>
                <a:lnTo>
                  <a:pt x="564" y="193"/>
                </a:lnTo>
                <a:lnTo>
                  <a:pt x="564" y="193"/>
                </a:lnTo>
                <a:lnTo>
                  <a:pt x="562" y="193"/>
                </a:lnTo>
                <a:lnTo>
                  <a:pt x="562" y="193"/>
                </a:lnTo>
                <a:lnTo>
                  <a:pt x="562" y="193"/>
                </a:lnTo>
                <a:lnTo>
                  <a:pt x="562" y="194"/>
                </a:lnTo>
                <a:lnTo>
                  <a:pt x="562" y="194"/>
                </a:lnTo>
                <a:lnTo>
                  <a:pt x="562" y="194"/>
                </a:lnTo>
                <a:lnTo>
                  <a:pt x="562" y="194"/>
                </a:lnTo>
                <a:lnTo>
                  <a:pt x="562" y="194"/>
                </a:lnTo>
                <a:lnTo>
                  <a:pt x="562" y="195"/>
                </a:lnTo>
                <a:lnTo>
                  <a:pt x="562" y="195"/>
                </a:lnTo>
                <a:lnTo>
                  <a:pt x="562" y="195"/>
                </a:lnTo>
                <a:lnTo>
                  <a:pt x="562" y="195"/>
                </a:lnTo>
                <a:lnTo>
                  <a:pt x="562" y="195"/>
                </a:lnTo>
                <a:lnTo>
                  <a:pt x="562" y="196"/>
                </a:lnTo>
                <a:lnTo>
                  <a:pt x="562" y="196"/>
                </a:lnTo>
                <a:lnTo>
                  <a:pt x="562" y="196"/>
                </a:lnTo>
                <a:lnTo>
                  <a:pt x="562" y="196"/>
                </a:lnTo>
                <a:lnTo>
                  <a:pt x="562" y="196"/>
                </a:lnTo>
                <a:lnTo>
                  <a:pt x="562" y="197"/>
                </a:lnTo>
                <a:lnTo>
                  <a:pt x="561" y="197"/>
                </a:lnTo>
                <a:lnTo>
                  <a:pt x="561" y="197"/>
                </a:lnTo>
                <a:lnTo>
                  <a:pt x="561" y="197"/>
                </a:lnTo>
                <a:lnTo>
                  <a:pt x="561" y="197"/>
                </a:lnTo>
                <a:lnTo>
                  <a:pt x="561" y="197"/>
                </a:lnTo>
                <a:lnTo>
                  <a:pt x="561" y="198"/>
                </a:lnTo>
                <a:lnTo>
                  <a:pt x="561" y="198"/>
                </a:lnTo>
                <a:lnTo>
                  <a:pt x="561" y="198"/>
                </a:lnTo>
                <a:lnTo>
                  <a:pt x="561" y="198"/>
                </a:lnTo>
                <a:lnTo>
                  <a:pt x="561" y="198"/>
                </a:lnTo>
                <a:lnTo>
                  <a:pt x="561" y="200"/>
                </a:lnTo>
                <a:lnTo>
                  <a:pt x="561" y="200"/>
                </a:lnTo>
                <a:lnTo>
                  <a:pt x="561" y="200"/>
                </a:lnTo>
                <a:lnTo>
                  <a:pt x="560" y="200"/>
                </a:lnTo>
                <a:lnTo>
                  <a:pt x="560" y="200"/>
                </a:lnTo>
                <a:lnTo>
                  <a:pt x="560" y="201"/>
                </a:lnTo>
                <a:lnTo>
                  <a:pt x="560" y="201"/>
                </a:lnTo>
                <a:lnTo>
                  <a:pt x="560" y="201"/>
                </a:lnTo>
                <a:lnTo>
                  <a:pt x="560" y="201"/>
                </a:lnTo>
                <a:lnTo>
                  <a:pt x="560" y="201"/>
                </a:lnTo>
                <a:lnTo>
                  <a:pt x="560" y="201"/>
                </a:lnTo>
                <a:lnTo>
                  <a:pt x="560" y="202"/>
                </a:lnTo>
                <a:lnTo>
                  <a:pt x="560" y="202"/>
                </a:lnTo>
                <a:lnTo>
                  <a:pt x="560" y="202"/>
                </a:lnTo>
                <a:lnTo>
                  <a:pt x="560" y="202"/>
                </a:lnTo>
                <a:lnTo>
                  <a:pt x="559" y="202"/>
                </a:lnTo>
                <a:lnTo>
                  <a:pt x="559" y="203"/>
                </a:lnTo>
                <a:lnTo>
                  <a:pt x="559" y="203"/>
                </a:lnTo>
                <a:lnTo>
                  <a:pt x="559" y="203"/>
                </a:lnTo>
                <a:lnTo>
                  <a:pt x="559" y="203"/>
                </a:lnTo>
                <a:lnTo>
                  <a:pt x="559" y="203"/>
                </a:lnTo>
                <a:lnTo>
                  <a:pt x="559" y="203"/>
                </a:lnTo>
                <a:lnTo>
                  <a:pt x="559" y="204"/>
                </a:lnTo>
                <a:lnTo>
                  <a:pt x="559" y="204"/>
                </a:lnTo>
                <a:lnTo>
                  <a:pt x="559" y="204"/>
                </a:lnTo>
                <a:lnTo>
                  <a:pt x="558" y="204"/>
                </a:lnTo>
                <a:lnTo>
                  <a:pt x="558" y="204"/>
                </a:lnTo>
                <a:lnTo>
                  <a:pt x="558" y="204"/>
                </a:lnTo>
                <a:lnTo>
                  <a:pt x="558" y="205"/>
                </a:lnTo>
                <a:lnTo>
                  <a:pt x="558" y="205"/>
                </a:lnTo>
                <a:lnTo>
                  <a:pt x="558" y="205"/>
                </a:lnTo>
                <a:lnTo>
                  <a:pt x="558" y="205"/>
                </a:lnTo>
                <a:lnTo>
                  <a:pt x="558" y="205"/>
                </a:lnTo>
                <a:lnTo>
                  <a:pt x="558" y="206"/>
                </a:lnTo>
                <a:lnTo>
                  <a:pt x="557" y="206"/>
                </a:lnTo>
                <a:lnTo>
                  <a:pt x="557" y="206"/>
                </a:lnTo>
                <a:lnTo>
                  <a:pt x="557" y="206"/>
                </a:lnTo>
                <a:lnTo>
                  <a:pt x="557" y="206"/>
                </a:lnTo>
                <a:lnTo>
                  <a:pt x="557" y="206"/>
                </a:lnTo>
                <a:lnTo>
                  <a:pt x="557" y="206"/>
                </a:lnTo>
                <a:lnTo>
                  <a:pt x="557" y="207"/>
                </a:lnTo>
                <a:lnTo>
                  <a:pt x="557" y="207"/>
                </a:lnTo>
                <a:lnTo>
                  <a:pt x="557" y="207"/>
                </a:lnTo>
                <a:lnTo>
                  <a:pt x="556" y="207"/>
                </a:lnTo>
                <a:lnTo>
                  <a:pt x="556" y="207"/>
                </a:lnTo>
                <a:lnTo>
                  <a:pt x="556" y="207"/>
                </a:lnTo>
                <a:lnTo>
                  <a:pt x="556" y="209"/>
                </a:lnTo>
                <a:lnTo>
                  <a:pt x="556" y="209"/>
                </a:lnTo>
                <a:lnTo>
                  <a:pt x="556" y="209"/>
                </a:lnTo>
                <a:lnTo>
                  <a:pt x="556" y="209"/>
                </a:lnTo>
                <a:lnTo>
                  <a:pt x="556" y="209"/>
                </a:lnTo>
                <a:lnTo>
                  <a:pt x="555" y="209"/>
                </a:lnTo>
                <a:lnTo>
                  <a:pt x="555" y="210"/>
                </a:lnTo>
                <a:lnTo>
                  <a:pt x="555" y="210"/>
                </a:lnTo>
                <a:lnTo>
                  <a:pt x="555" y="210"/>
                </a:lnTo>
                <a:lnTo>
                  <a:pt x="555" y="210"/>
                </a:lnTo>
                <a:lnTo>
                  <a:pt x="555" y="210"/>
                </a:lnTo>
                <a:lnTo>
                  <a:pt x="555" y="210"/>
                </a:lnTo>
                <a:lnTo>
                  <a:pt x="555" y="210"/>
                </a:lnTo>
                <a:lnTo>
                  <a:pt x="553" y="211"/>
                </a:lnTo>
                <a:lnTo>
                  <a:pt x="553" y="211"/>
                </a:lnTo>
                <a:lnTo>
                  <a:pt x="553" y="211"/>
                </a:lnTo>
                <a:lnTo>
                  <a:pt x="553" y="211"/>
                </a:lnTo>
                <a:lnTo>
                  <a:pt x="553" y="211"/>
                </a:lnTo>
                <a:lnTo>
                  <a:pt x="553" y="211"/>
                </a:lnTo>
                <a:lnTo>
                  <a:pt x="553" y="211"/>
                </a:lnTo>
                <a:lnTo>
                  <a:pt x="552" y="212"/>
                </a:lnTo>
                <a:lnTo>
                  <a:pt x="552" y="212"/>
                </a:lnTo>
                <a:lnTo>
                  <a:pt x="552" y="212"/>
                </a:lnTo>
                <a:lnTo>
                  <a:pt x="552" y="212"/>
                </a:lnTo>
                <a:lnTo>
                  <a:pt x="552" y="212"/>
                </a:lnTo>
                <a:lnTo>
                  <a:pt x="552" y="212"/>
                </a:lnTo>
                <a:lnTo>
                  <a:pt x="552" y="212"/>
                </a:lnTo>
                <a:lnTo>
                  <a:pt x="551" y="213"/>
                </a:lnTo>
                <a:lnTo>
                  <a:pt x="551" y="213"/>
                </a:lnTo>
                <a:lnTo>
                  <a:pt x="551" y="213"/>
                </a:lnTo>
                <a:lnTo>
                  <a:pt x="551" y="213"/>
                </a:lnTo>
                <a:lnTo>
                  <a:pt x="551" y="213"/>
                </a:lnTo>
                <a:lnTo>
                  <a:pt x="551" y="213"/>
                </a:lnTo>
                <a:lnTo>
                  <a:pt x="550" y="213"/>
                </a:lnTo>
                <a:lnTo>
                  <a:pt x="550" y="214"/>
                </a:lnTo>
                <a:lnTo>
                  <a:pt x="550" y="214"/>
                </a:lnTo>
                <a:lnTo>
                  <a:pt x="550" y="214"/>
                </a:lnTo>
                <a:lnTo>
                  <a:pt x="550" y="214"/>
                </a:lnTo>
                <a:lnTo>
                  <a:pt x="550" y="214"/>
                </a:lnTo>
                <a:lnTo>
                  <a:pt x="550" y="214"/>
                </a:lnTo>
                <a:lnTo>
                  <a:pt x="549" y="214"/>
                </a:lnTo>
                <a:lnTo>
                  <a:pt x="549" y="214"/>
                </a:lnTo>
                <a:lnTo>
                  <a:pt x="549" y="215"/>
                </a:lnTo>
                <a:lnTo>
                  <a:pt x="549" y="215"/>
                </a:lnTo>
                <a:lnTo>
                  <a:pt x="549" y="215"/>
                </a:lnTo>
                <a:lnTo>
                  <a:pt x="549" y="215"/>
                </a:lnTo>
                <a:lnTo>
                  <a:pt x="548" y="215"/>
                </a:lnTo>
                <a:lnTo>
                  <a:pt x="548" y="215"/>
                </a:lnTo>
                <a:lnTo>
                  <a:pt x="548" y="215"/>
                </a:lnTo>
                <a:lnTo>
                  <a:pt x="548" y="215"/>
                </a:lnTo>
                <a:lnTo>
                  <a:pt x="548" y="215"/>
                </a:lnTo>
                <a:lnTo>
                  <a:pt x="548" y="216"/>
                </a:lnTo>
                <a:lnTo>
                  <a:pt x="547" y="216"/>
                </a:lnTo>
                <a:lnTo>
                  <a:pt x="547" y="216"/>
                </a:lnTo>
                <a:lnTo>
                  <a:pt x="547" y="216"/>
                </a:lnTo>
                <a:lnTo>
                  <a:pt x="547" y="216"/>
                </a:lnTo>
                <a:lnTo>
                  <a:pt x="547" y="216"/>
                </a:lnTo>
                <a:lnTo>
                  <a:pt x="547" y="216"/>
                </a:lnTo>
                <a:lnTo>
                  <a:pt x="546" y="216"/>
                </a:lnTo>
                <a:lnTo>
                  <a:pt x="546" y="216"/>
                </a:lnTo>
                <a:lnTo>
                  <a:pt x="546" y="218"/>
                </a:lnTo>
                <a:lnTo>
                  <a:pt x="546" y="218"/>
                </a:lnTo>
                <a:lnTo>
                  <a:pt x="546" y="218"/>
                </a:lnTo>
                <a:lnTo>
                  <a:pt x="546" y="218"/>
                </a:lnTo>
                <a:lnTo>
                  <a:pt x="544" y="218"/>
                </a:lnTo>
                <a:lnTo>
                  <a:pt x="544" y="218"/>
                </a:lnTo>
                <a:lnTo>
                  <a:pt x="544" y="218"/>
                </a:lnTo>
                <a:lnTo>
                  <a:pt x="544" y="218"/>
                </a:lnTo>
                <a:lnTo>
                  <a:pt x="544" y="218"/>
                </a:lnTo>
                <a:lnTo>
                  <a:pt x="544" y="218"/>
                </a:lnTo>
                <a:lnTo>
                  <a:pt x="543" y="219"/>
                </a:lnTo>
                <a:lnTo>
                  <a:pt x="543" y="219"/>
                </a:lnTo>
                <a:lnTo>
                  <a:pt x="543" y="219"/>
                </a:lnTo>
                <a:lnTo>
                  <a:pt x="543" y="219"/>
                </a:lnTo>
                <a:lnTo>
                  <a:pt x="543" y="219"/>
                </a:lnTo>
                <a:lnTo>
                  <a:pt x="542" y="219"/>
                </a:lnTo>
                <a:lnTo>
                  <a:pt x="542" y="219"/>
                </a:lnTo>
                <a:lnTo>
                  <a:pt x="542" y="219"/>
                </a:lnTo>
                <a:lnTo>
                  <a:pt x="542" y="219"/>
                </a:lnTo>
                <a:lnTo>
                  <a:pt x="542" y="219"/>
                </a:lnTo>
                <a:lnTo>
                  <a:pt x="542" y="219"/>
                </a:lnTo>
                <a:lnTo>
                  <a:pt x="541" y="220"/>
                </a:lnTo>
                <a:lnTo>
                  <a:pt x="541" y="220"/>
                </a:lnTo>
                <a:lnTo>
                  <a:pt x="541" y="220"/>
                </a:lnTo>
                <a:lnTo>
                  <a:pt x="541" y="220"/>
                </a:lnTo>
                <a:lnTo>
                  <a:pt x="541" y="220"/>
                </a:lnTo>
                <a:lnTo>
                  <a:pt x="540" y="220"/>
                </a:lnTo>
                <a:lnTo>
                  <a:pt x="540" y="220"/>
                </a:lnTo>
                <a:lnTo>
                  <a:pt x="540" y="220"/>
                </a:lnTo>
                <a:lnTo>
                  <a:pt x="540" y="220"/>
                </a:lnTo>
                <a:lnTo>
                  <a:pt x="540" y="220"/>
                </a:lnTo>
                <a:lnTo>
                  <a:pt x="539" y="220"/>
                </a:lnTo>
                <a:lnTo>
                  <a:pt x="539" y="220"/>
                </a:lnTo>
                <a:lnTo>
                  <a:pt x="539" y="220"/>
                </a:lnTo>
                <a:lnTo>
                  <a:pt x="539" y="221"/>
                </a:lnTo>
                <a:lnTo>
                  <a:pt x="539" y="221"/>
                </a:lnTo>
                <a:lnTo>
                  <a:pt x="538" y="221"/>
                </a:lnTo>
                <a:lnTo>
                  <a:pt x="538" y="221"/>
                </a:lnTo>
                <a:lnTo>
                  <a:pt x="538" y="221"/>
                </a:lnTo>
                <a:lnTo>
                  <a:pt x="538" y="221"/>
                </a:lnTo>
                <a:lnTo>
                  <a:pt x="538" y="221"/>
                </a:lnTo>
                <a:lnTo>
                  <a:pt x="538" y="221"/>
                </a:lnTo>
                <a:lnTo>
                  <a:pt x="537" y="221"/>
                </a:lnTo>
                <a:lnTo>
                  <a:pt x="537" y="221"/>
                </a:lnTo>
                <a:lnTo>
                  <a:pt x="537" y="221"/>
                </a:lnTo>
                <a:lnTo>
                  <a:pt x="537" y="221"/>
                </a:lnTo>
                <a:lnTo>
                  <a:pt x="537" y="221"/>
                </a:lnTo>
                <a:lnTo>
                  <a:pt x="535" y="221"/>
                </a:lnTo>
                <a:lnTo>
                  <a:pt x="535" y="221"/>
                </a:lnTo>
                <a:lnTo>
                  <a:pt x="535" y="221"/>
                </a:lnTo>
                <a:lnTo>
                  <a:pt x="535" y="221"/>
                </a:lnTo>
                <a:lnTo>
                  <a:pt x="535" y="221"/>
                </a:lnTo>
                <a:lnTo>
                  <a:pt x="534" y="222"/>
                </a:lnTo>
                <a:lnTo>
                  <a:pt x="534" y="222"/>
                </a:lnTo>
                <a:lnTo>
                  <a:pt x="534" y="222"/>
                </a:lnTo>
                <a:lnTo>
                  <a:pt x="534" y="222"/>
                </a:lnTo>
                <a:lnTo>
                  <a:pt x="534" y="222"/>
                </a:lnTo>
                <a:lnTo>
                  <a:pt x="533" y="222"/>
                </a:lnTo>
                <a:lnTo>
                  <a:pt x="533" y="222"/>
                </a:lnTo>
                <a:lnTo>
                  <a:pt x="533" y="222"/>
                </a:lnTo>
                <a:lnTo>
                  <a:pt x="533" y="222"/>
                </a:lnTo>
                <a:lnTo>
                  <a:pt x="532" y="222"/>
                </a:lnTo>
                <a:lnTo>
                  <a:pt x="532" y="222"/>
                </a:lnTo>
                <a:lnTo>
                  <a:pt x="532" y="222"/>
                </a:lnTo>
                <a:lnTo>
                  <a:pt x="532" y="222"/>
                </a:lnTo>
                <a:lnTo>
                  <a:pt x="532" y="222"/>
                </a:lnTo>
                <a:lnTo>
                  <a:pt x="531" y="222"/>
                </a:lnTo>
                <a:lnTo>
                  <a:pt x="531" y="222"/>
                </a:lnTo>
                <a:lnTo>
                  <a:pt x="531" y="222"/>
                </a:lnTo>
                <a:lnTo>
                  <a:pt x="531" y="222"/>
                </a:lnTo>
                <a:lnTo>
                  <a:pt x="531" y="222"/>
                </a:lnTo>
                <a:lnTo>
                  <a:pt x="530" y="222"/>
                </a:lnTo>
                <a:lnTo>
                  <a:pt x="530" y="222"/>
                </a:lnTo>
                <a:lnTo>
                  <a:pt x="530" y="222"/>
                </a:lnTo>
                <a:lnTo>
                  <a:pt x="530" y="222"/>
                </a:lnTo>
                <a:lnTo>
                  <a:pt x="530" y="222"/>
                </a:lnTo>
                <a:lnTo>
                  <a:pt x="529" y="222"/>
                </a:lnTo>
                <a:lnTo>
                  <a:pt x="529" y="222"/>
                </a:lnTo>
                <a:lnTo>
                  <a:pt x="529" y="222"/>
                </a:lnTo>
                <a:lnTo>
                  <a:pt x="529" y="222"/>
                </a:lnTo>
                <a:lnTo>
                  <a:pt x="529" y="222"/>
                </a:lnTo>
                <a:lnTo>
                  <a:pt x="528" y="222"/>
                </a:lnTo>
                <a:lnTo>
                  <a:pt x="528" y="222"/>
                </a:lnTo>
                <a:lnTo>
                  <a:pt x="528" y="222"/>
                </a:lnTo>
                <a:lnTo>
                  <a:pt x="528" y="222"/>
                </a:lnTo>
                <a:lnTo>
                  <a:pt x="526" y="222"/>
                </a:lnTo>
                <a:lnTo>
                  <a:pt x="526" y="222"/>
                </a:lnTo>
                <a:lnTo>
                  <a:pt x="526" y="222"/>
                </a:lnTo>
                <a:lnTo>
                  <a:pt x="526" y="222"/>
                </a:lnTo>
                <a:lnTo>
                  <a:pt x="526" y="222"/>
                </a:lnTo>
                <a:lnTo>
                  <a:pt x="525" y="222"/>
                </a:lnTo>
                <a:lnTo>
                  <a:pt x="525" y="222"/>
                </a:lnTo>
                <a:lnTo>
                  <a:pt x="525" y="222"/>
                </a:lnTo>
                <a:lnTo>
                  <a:pt x="525" y="222"/>
                </a:lnTo>
                <a:lnTo>
                  <a:pt x="525" y="222"/>
                </a:lnTo>
                <a:lnTo>
                  <a:pt x="524" y="222"/>
                </a:lnTo>
                <a:lnTo>
                  <a:pt x="524" y="222"/>
                </a:lnTo>
                <a:lnTo>
                  <a:pt x="524" y="222"/>
                </a:lnTo>
                <a:lnTo>
                  <a:pt x="524" y="222"/>
                </a:lnTo>
                <a:lnTo>
                  <a:pt x="523" y="222"/>
                </a:lnTo>
                <a:lnTo>
                  <a:pt x="523" y="222"/>
                </a:lnTo>
                <a:lnTo>
                  <a:pt x="523" y="222"/>
                </a:lnTo>
                <a:lnTo>
                  <a:pt x="523" y="222"/>
                </a:lnTo>
                <a:lnTo>
                  <a:pt x="523" y="222"/>
                </a:lnTo>
                <a:lnTo>
                  <a:pt x="522" y="222"/>
                </a:lnTo>
                <a:lnTo>
                  <a:pt x="522" y="222"/>
                </a:lnTo>
                <a:lnTo>
                  <a:pt x="522" y="222"/>
                </a:lnTo>
                <a:lnTo>
                  <a:pt x="522" y="222"/>
                </a:lnTo>
                <a:lnTo>
                  <a:pt x="522" y="222"/>
                </a:lnTo>
                <a:lnTo>
                  <a:pt x="521" y="222"/>
                </a:lnTo>
                <a:lnTo>
                  <a:pt x="521" y="222"/>
                </a:lnTo>
                <a:lnTo>
                  <a:pt x="521" y="222"/>
                </a:lnTo>
                <a:lnTo>
                  <a:pt x="521" y="222"/>
                </a:lnTo>
                <a:lnTo>
                  <a:pt x="521" y="222"/>
                </a:lnTo>
                <a:lnTo>
                  <a:pt x="520" y="222"/>
                </a:lnTo>
                <a:lnTo>
                  <a:pt x="520" y="222"/>
                </a:lnTo>
                <a:lnTo>
                  <a:pt x="520" y="222"/>
                </a:lnTo>
                <a:lnTo>
                  <a:pt x="520" y="222"/>
                </a:lnTo>
                <a:lnTo>
                  <a:pt x="519" y="222"/>
                </a:lnTo>
                <a:lnTo>
                  <a:pt x="519" y="222"/>
                </a:lnTo>
                <a:lnTo>
                  <a:pt x="519" y="222"/>
                </a:lnTo>
                <a:lnTo>
                  <a:pt x="519" y="222"/>
                </a:lnTo>
                <a:lnTo>
                  <a:pt x="519" y="222"/>
                </a:lnTo>
                <a:lnTo>
                  <a:pt x="517" y="222"/>
                </a:lnTo>
                <a:lnTo>
                  <a:pt x="517" y="222"/>
                </a:lnTo>
                <a:lnTo>
                  <a:pt x="517" y="221"/>
                </a:lnTo>
                <a:lnTo>
                  <a:pt x="517" y="221"/>
                </a:lnTo>
                <a:lnTo>
                  <a:pt x="517" y="221"/>
                </a:lnTo>
                <a:lnTo>
                  <a:pt x="516" y="221"/>
                </a:lnTo>
                <a:lnTo>
                  <a:pt x="516" y="221"/>
                </a:lnTo>
                <a:lnTo>
                  <a:pt x="516" y="221"/>
                </a:lnTo>
                <a:lnTo>
                  <a:pt x="516" y="221"/>
                </a:lnTo>
                <a:lnTo>
                  <a:pt x="516" y="221"/>
                </a:lnTo>
                <a:lnTo>
                  <a:pt x="515" y="221"/>
                </a:lnTo>
                <a:lnTo>
                  <a:pt x="515" y="221"/>
                </a:lnTo>
                <a:lnTo>
                  <a:pt x="515" y="221"/>
                </a:lnTo>
                <a:lnTo>
                  <a:pt x="515" y="221"/>
                </a:lnTo>
                <a:lnTo>
                  <a:pt x="515" y="221"/>
                </a:lnTo>
                <a:lnTo>
                  <a:pt x="514" y="221"/>
                </a:lnTo>
                <a:lnTo>
                  <a:pt x="514" y="221"/>
                </a:lnTo>
                <a:lnTo>
                  <a:pt x="514" y="221"/>
                </a:lnTo>
                <a:lnTo>
                  <a:pt x="514" y="221"/>
                </a:lnTo>
                <a:lnTo>
                  <a:pt x="514" y="221"/>
                </a:lnTo>
                <a:lnTo>
                  <a:pt x="514" y="220"/>
                </a:lnTo>
                <a:lnTo>
                  <a:pt x="513" y="220"/>
                </a:lnTo>
                <a:lnTo>
                  <a:pt x="513" y="220"/>
                </a:lnTo>
                <a:lnTo>
                  <a:pt x="513" y="220"/>
                </a:lnTo>
                <a:lnTo>
                  <a:pt x="513" y="220"/>
                </a:lnTo>
                <a:lnTo>
                  <a:pt x="513" y="220"/>
                </a:lnTo>
                <a:lnTo>
                  <a:pt x="512" y="220"/>
                </a:lnTo>
                <a:lnTo>
                  <a:pt x="512" y="220"/>
                </a:lnTo>
                <a:lnTo>
                  <a:pt x="512" y="220"/>
                </a:lnTo>
                <a:lnTo>
                  <a:pt x="512" y="220"/>
                </a:lnTo>
                <a:lnTo>
                  <a:pt x="512" y="220"/>
                </a:lnTo>
                <a:lnTo>
                  <a:pt x="511" y="220"/>
                </a:lnTo>
                <a:lnTo>
                  <a:pt x="511" y="220"/>
                </a:lnTo>
                <a:lnTo>
                  <a:pt x="511" y="219"/>
                </a:lnTo>
                <a:lnTo>
                  <a:pt x="511" y="219"/>
                </a:lnTo>
                <a:lnTo>
                  <a:pt x="511" y="219"/>
                </a:lnTo>
                <a:lnTo>
                  <a:pt x="511" y="219"/>
                </a:lnTo>
                <a:lnTo>
                  <a:pt x="509" y="219"/>
                </a:lnTo>
                <a:lnTo>
                  <a:pt x="509" y="219"/>
                </a:lnTo>
                <a:lnTo>
                  <a:pt x="509" y="219"/>
                </a:lnTo>
                <a:lnTo>
                  <a:pt x="509" y="219"/>
                </a:lnTo>
                <a:lnTo>
                  <a:pt x="509" y="219"/>
                </a:lnTo>
                <a:lnTo>
                  <a:pt x="508" y="219"/>
                </a:lnTo>
                <a:lnTo>
                  <a:pt x="508" y="219"/>
                </a:lnTo>
                <a:lnTo>
                  <a:pt x="508" y="218"/>
                </a:lnTo>
                <a:lnTo>
                  <a:pt x="508" y="218"/>
                </a:lnTo>
                <a:lnTo>
                  <a:pt x="508" y="218"/>
                </a:lnTo>
                <a:lnTo>
                  <a:pt x="508" y="218"/>
                </a:lnTo>
                <a:lnTo>
                  <a:pt x="507" y="218"/>
                </a:lnTo>
                <a:lnTo>
                  <a:pt x="507" y="218"/>
                </a:lnTo>
                <a:lnTo>
                  <a:pt x="507" y="218"/>
                </a:lnTo>
                <a:lnTo>
                  <a:pt x="507" y="218"/>
                </a:lnTo>
                <a:lnTo>
                  <a:pt x="507" y="218"/>
                </a:lnTo>
                <a:lnTo>
                  <a:pt x="506" y="218"/>
                </a:lnTo>
                <a:lnTo>
                  <a:pt x="506" y="216"/>
                </a:lnTo>
                <a:lnTo>
                  <a:pt x="506" y="216"/>
                </a:lnTo>
                <a:lnTo>
                  <a:pt x="506" y="216"/>
                </a:lnTo>
                <a:lnTo>
                  <a:pt x="506" y="216"/>
                </a:lnTo>
                <a:lnTo>
                  <a:pt x="506" y="216"/>
                </a:lnTo>
                <a:lnTo>
                  <a:pt x="505" y="216"/>
                </a:lnTo>
                <a:lnTo>
                  <a:pt x="505" y="216"/>
                </a:lnTo>
                <a:lnTo>
                  <a:pt x="505" y="216"/>
                </a:lnTo>
                <a:lnTo>
                  <a:pt x="505" y="216"/>
                </a:lnTo>
                <a:lnTo>
                  <a:pt x="505" y="215"/>
                </a:lnTo>
                <a:lnTo>
                  <a:pt x="505" y="215"/>
                </a:lnTo>
                <a:lnTo>
                  <a:pt x="504" y="215"/>
                </a:lnTo>
                <a:lnTo>
                  <a:pt x="504" y="215"/>
                </a:lnTo>
                <a:lnTo>
                  <a:pt x="504" y="215"/>
                </a:lnTo>
                <a:lnTo>
                  <a:pt x="504" y="215"/>
                </a:lnTo>
                <a:lnTo>
                  <a:pt x="504" y="215"/>
                </a:lnTo>
                <a:lnTo>
                  <a:pt x="504" y="215"/>
                </a:lnTo>
                <a:lnTo>
                  <a:pt x="504" y="215"/>
                </a:lnTo>
                <a:lnTo>
                  <a:pt x="503" y="214"/>
                </a:lnTo>
                <a:lnTo>
                  <a:pt x="503" y="214"/>
                </a:lnTo>
                <a:lnTo>
                  <a:pt x="503" y="214"/>
                </a:lnTo>
                <a:lnTo>
                  <a:pt x="503" y="214"/>
                </a:lnTo>
                <a:lnTo>
                  <a:pt x="503" y="214"/>
                </a:lnTo>
                <a:lnTo>
                  <a:pt x="503" y="214"/>
                </a:lnTo>
                <a:lnTo>
                  <a:pt x="502" y="214"/>
                </a:lnTo>
                <a:lnTo>
                  <a:pt x="502" y="214"/>
                </a:lnTo>
                <a:lnTo>
                  <a:pt x="502" y="213"/>
                </a:lnTo>
                <a:lnTo>
                  <a:pt x="502" y="213"/>
                </a:lnTo>
                <a:lnTo>
                  <a:pt x="502" y="213"/>
                </a:lnTo>
                <a:lnTo>
                  <a:pt x="502" y="213"/>
                </a:lnTo>
                <a:lnTo>
                  <a:pt x="502" y="213"/>
                </a:lnTo>
                <a:lnTo>
                  <a:pt x="500" y="213"/>
                </a:lnTo>
                <a:lnTo>
                  <a:pt x="500" y="213"/>
                </a:lnTo>
                <a:lnTo>
                  <a:pt x="500" y="212"/>
                </a:lnTo>
                <a:lnTo>
                  <a:pt x="500" y="212"/>
                </a:lnTo>
                <a:lnTo>
                  <a:pt x="500" y="212"/>
                </a:lnTo>
                <a:lnTo>
                  <a:pt x="500" y="212"/>
                </a:lnTo>
                <a:lnTo>
                  <a:pt x="499" y="212"/>
                </a:lnTo>
                <a:lnTo>
                  <a:pt x="499" y="212"/>
                </a:lnTo>
                <a:lnTo>
                  <a:pt x="499" y="212"/>
                </a:lnTo>
                <a:lnTo>
                  <a:pt x="499" y="211"/>
                </a:lnTo>
                <a:lnTo>
                  <a:pt x="499" y="211"/>
                </a:lnTo>
                <a:lnTo>
                  <a:pt x="499" y="211"/>
                </a:lnTo>
                <a:lnTo>
                  <a:pt x="499" y="211"/>
                </a:lnTo>
                <a:lnTo>
                  <a:pt x="498" y="211"/>
                </a:lnTo>
                <a:lnTo>
                  <a:pt x="498" y="211"/>
                </a:lnTo>
                <a:lnTo>
                  <a:pt x="498" y="211"/>
                </a:lnTo>
                <a:lnTo>
                  <a:pt x="498" y="210"/>
                </a:lnTo>
                <a:lnTo>
                  <a:pt x="498" y="210"/>
                </a:lnTo>
                <a:lnTo>
                  <a:pt x="498" y="210"/>
                </a:lnTo>
                <a:lnTo>
                  <a:pt x="498" y="210"/>
                </a:lnTo>
                <a:lnTo>
                  <a:pt x="498" y="210"/>
                </a:lnTo>
                <a:lnTo>
                  <a:pt x="497" y="210"/>
                </a:lnTo>
                <a:lnTo>
                  <a:pt x="497" y="210"/>
                </a:lnTo>
                <a:lnTo>
                  <a:pt x="497" y="209"/>
                </a:lnTo>
                <a:lnTo>
                  <a:pt x="497" y="209"/>
                </a:lnTo>
                <a:lnTo>
                  <a:pt x="497" y="209"/>
                </a:lnTo>
                <a:lnTo>
                  <a:pt x="497" y="209"/>
                </a:lnTo>
                <a:lnTo>
                  <a:pt x="497" y="209"/>
                </a:lnTo>
                <a:lnTo>
                  <a:pt x="497" y="209"/>
                </a:lnTo>
                <a:lnTo>
                  <a:pt x="496" y="207"/>
                </a:lnTo>
                <a:lnTo>
                  <a:pt x="496" y="207"/>
                </a:lnTo>
                <a:lnTo>
                  <a:pt x="496" y="207"/>
                </a:lnTo>
                <a:lnTo>
                  <a:pt x="496" y="207"/>
                </a:lnTo>
                <a:lnTo>
                  <a:pt x="496" y="207"/>
                </a:lnTo>
                <a:lnTo>
                  <a:pt x="496" y="207"/>
                </a:lnTo>
                <a:lnTo>
                  <a:pt x="496" y="206"/>
                </a:lnTo>
                <a:lnTo>
                  <a:pt x="496" y="206"/>
                </a:lnTo>
                <a:lnTo>
                  <a:pt x="495" y="206"/>
                </a:lnTo>
                <a:lnTo>
                  <a:pt x="495" y="206"/>
                </a:lnTo>
                <a:lnTo>
                  <a:pt x="495" y="206"/>
                </a:lnTo>
                <a:lnTo>
                  <a:pt x="495" y="206"/>
                </a:lnTo>
                <a:lnTo>
                  <a:pt x="495" y="206"/>
                </a:lnTo>
                <a:lnTo>
                  <a:pt x="495" y="205"/>
                </a:lnTo>
                <a:lnTo>
                  <a:pt x="495" y="205"/>
                </a:lnTo>
                <a:lnTo>
                  <a:pt x="495" y="205"/>
                </a:lnTo>
                <a:lnTo>
                  <a:pt x="495" y="205"/>
                </a:lnTo>
                <a:lnTo>
                  <a:pt x="494" y="205"/>
                </a:lnTo>
                <a:lnTo>
                  <a:pt x="494" y="204"/>
                </a:lnTo>
                <a:lnTo>
                  <a:pt x="494" y="204"/>
                </a:lnTo>
                <a:lnTo>
                  <a:pt x="494" y="204"/>
                </a:lnTo>
                <a:lnTo>
                  <a:pt x="494" y="204"/>
                </a:lnTo>
                <a:lnTo>
                  <a:pt x="494" y="204"/>
                </a:lnTo>
                <a:lnTo>
                  <a:pt x="494" y="204"/>
                </a:lnTo>
                <a:lnTo>
                  <a:pt x="494" y="203"/>
                </a:lnTo>
                <a:lnTo>
                  <a:pt x="494" y="203"/>
                </a:lnTo>
                <a:lnTo>
                  <a:pt x="494" y="203"/>
                </a:lnTo>
                <a:lnTo>
                  <a:pt x="493" y="203"/>
                </a:lnTo>
                <a:lnTo>
                  <a:pt x="493" y="203"/>
                </a:lnTo>
                <a:lnTo>
                  <a:pt x="493" y="203"/>
                </a:lnTo>
                <a:lnTo>
                  <a:pt x="493" y="202"/>
                </a:lnTo>
                <a:lnTo>
                  <a:pt x="493" y="202"/>
                </a:lnTo>
                <a:lnTo>
                  <a:pt x="493" y="202"/>
                </a:lnTo>
                <a:lnTo>
                  <a:pt x="493" y="202"/>
                </a:lnTo>
                <a:lnTo>
                  <a:pt x="493" y="202"/>
                </a:lnTo>
                <a:lnTo>
                  <a:pt x="493" y="201"/>
                </a:lnTo>
                <a:lnTo>
                  <a:pt x="493" y="201"/>
                </a:lnTo>
                <a:lnTo>
                  <a:pt x="493" y="201"/>
                </a:lnTo>
                <a:lnTo>
                  <a:pt x="491" y="201"/>
                </a:lnTo>
                <a:lnTo>
                  <a:pt x="491" y="201"/>
                </a:lnTo>
                <a:lnTo>
                  <a:pt x="491" y="201"/>
                </a:lnTo>
                <a:lnTo>
                  <a:pt x="491" y="200"/>
                </a:lnTo>
                <a:lnTo>
                  <a:pt x="491" y="200"/>
                </a:lnTo>
                <a:lnTo>
                  <a:pt x="491" y="200"/>
                </a:lnTo>
                <a:lnTo>
                  <a:pt x="491" y="200"/>
                </a:lnTo>
                <a:lnTo>
                  <a:pt x="491" y="200"/>
                </a:lnTo>
                <a:lnTo>
                  <a:pt x="491" y="198"/>
                </a:lnTo>
                <a:lnTo>
                  <a:pt x="491" y="198"/>
                </a:lnTo>
                <a:lnTo>
                  <a:pt x="491" y="198"/>
                </a:lnTo>
                <a:lnTo>
                  <a:pt x="491" y="198"/>
                </a:lnTo>
                <a:lnTo>
                  <a:pt x="491" y="198"/>
                </a:lnTo>
                <a:lnTo>
                  <a:pt x="490" y="197"/>
                </a:lnTo>
                <a:lnTo>
                  <a:pt x="490" y="197"/>
                </a:lnTo>
                <a:lnTo>
                  <a:pt x="490" y="197"/>
                </a:lnTo>
                <a:lnTo>
                  <a:pt x="490" y="197"/>
                </a:lnTo>
                <a:lnTo>
                  <a:pt x="490" y="197"/>
                </a:lnTo>
                <a:lnTo>
                  <a:pt x="490" y="197"/>
                </a:lnTo>
                <a:lnTo>
                  <a:pt x="490" y="196"/>
                </a:lnTo>
                <a:lnTo>
                  <a:pt x="490" y="196"/>
                </a:lnTo>
                <a:lnTo>
                  <a:pt x="490" y="196"/>
                </a:lnTo>
                <a:lnTo>
                  <a:pt x="490" y="196"/>
                </a:lnTo>
                <a:lnTo>
                  <a:pt x="490" y="196"/>
                </a:lnTo>
                <a:lnTo>
                  <a:pt x="490" y="195"/>
                </a:lnTo>
                <a:lnTo>
                  <a:pt x="490" y="195"/>
                </a:lnTo>
                <a:lnTo>
                  <a:pt x="490" y="195"/>
                </a:lnTo>
                <a:lnTo>
                  <a:pt x="490" y="195"/>
                </a:lnTo>
                <a:lnTo>
                  <a:pt x="490" y="195"/>
                </a:lnTo>
                <a:lnTo>
                  <a:pt x="489" y="194"/>
                </a:lnTo>
                <a:lnTo>
                  <a:pt x="489" y="194"/>
                </a:lnTo>
                <a:lnTo>
                  <a:pt x="489" y="194"/>
                </a:lnTo>
                <a:lnTo>
                  <a:pt x="489" y="194"/>
                </a:lnTo>
                <a:lnTo>
                  <a:pt x="489" y="194"/>
                </a:lnTo>
                <a:lnTo>
                  <a:pt x="489" y="193"/>
                </a:lnTo>
                <a:lnTo>
                  <a:pt x="489" y="193"/>
                </a:lnTo>
                <a:lnTo>
                  <a:pt x="489" y="193"/>
                </a:lnTo>
                <a:lnTo>
                  <a:pt x="489" y="193"/>
                </a:lnTo>
                <a:lnTo>
                  <a:pt x="489" y="193"/>
                </a:lnTo>
                <a:lnTo>
                  <a:pt x="489" y="192"/>
                </a:lnTo>
                <a:lnTo>
                  <a:pt x="489" y="192"/>
                </a:lnTo>
                <a:lnTo>
                  <a:pt x="489" y="192"/>
                </a:lnTo>
                <a:lnTo>
                  <a:pt x="489" y="192"/>
                </a:lnTo>
                <a:lnTo>
                  <a:pt x="489" y="191"/>
                </a:lnTo>
                <a:lnTo>
                  <a:pt x="489" y="191"/>
                </a:lnTo>
                <a:lnTo>
                  <a:pt x="489" y="191"/>
                </a:lnTo>
                <a:lnTo>
                  <a:pt x="489" y="191"/>
                </a:lnTo>
                <a:lnTo>
                  <a:pt x="489" y="191"/>
                </a:lnTo>
                <a:lnTo>
                  <a:pt x="489" y="189"/>
                </a:lnTo>
                <a:lnTo>
                  <a:pt x="489" y="189"/>
                </a:lnTo>
                <a:lnTo>
                  <a:pt x="489" y="189"/>
                </a:lnTo>
                <a:lnTo>
                  <a:pt x="489" y="189"/>
                </a:lnTo>
                <a:lnTo>
                  <a:pt x="489" y="189"/>
                </a:lnTo>
                <a:lnTo>
                  <a:pt x="489" y="188"/>
                </a:lnTo>
                <a:lnTo>
                  <a:pt x="478" y="188"/>
                </a:lnTo>
                <a:lnTo>
                  <a:pt x="478" y="182"/>
                </a:lnTo>
                <a:lnTo>
                  <a:pt x="489" y="182"/>
                </a:lnTo>
                <a:lnTo>
                  <a:pt x="489" y="182"/>
                </a:lnTo>
                <a:close/>
                <a:moveTo>
                  <a:pt x="446" y="182"/>
                </a:moveTo>
                <a:lnTo>
                  <a:pt x="446" y="188"/>
                </a:lnTo>
                <a:lnTo>
                  <a:pt x="431" y="188"/>
                </a:lnTo>
                <a:lnTo>
                  <a:pt x="431" y="182"/>
                </a:lnTo>
                <a:lnTo>
                  <a:pt x="446" y="182"/>
                </a:lnTo>
                <a:lnTo>
                  <a:pt x="446" y="182"/>
                </a:lnTo>
                <a:close/>
                <a:moveTo>
                  <a:pt x="399" y="182"/>
                </a:moveTo>
                <a:lnTo>
                  <a:pt x="399" y="188"/>
                </a:lnTo>
                <a:lnTo>
                  <a:pt x="385" y="188"/>
                </a:lnTo>
                <a:lnTo>
                  <a:pt x="385" y="182"/>
                </a:lnTo>
                <a:lnTo>
                  <a:pt x="399" y="182"/>
                </a:lnTo>
                <a:lnTo>
                  <a:pt x="399" y="182"/>
                </a:lnTo>
                <a:close/>
                <a:moveTo>
                  <a:pt x="353" y="182"/>
                </a:moveTo>
                <a:lnTo>
                  <a:pt x="353" y="188"/>
                </a:lnTo>
                <a:lnTo>
                  <a:pt x="337" y="188"/>
                </a:lnTo>
                <a:lnTo>
                  <a:pt x="337" y="182"/>
                </a:lnTo>
                <a:lnTo>
                  <a:pt x="353" y="182"/>
                </a:lnTo>
                <a:lnTo>
                  <a:pt x="353" y="182"/>
                </a:lnTo>
                <a:close/>
                <a:moveTo>
                  <a:pt x="306" y="182"/>
                </a:moveTo>
                <a:lnTo>
                  <a:pt x="306" y="188"/>
                </a:lnTo>
                <a:lnTo>
                  <a:pt x="290" y="188"/>
                </a:lnTo>
                <a:lnTo>
                  <a:pt x="290" y="182"/>
                </a:lnTo>
                <a:lnTo>
                  <a:pt x="306" y="182"/>
                </a:lnTo>
                <a:lnTo>
                  <a:pt x="306" y="182"/>
                </a:lnTo>
                <a:close/>
                <a:moveTo>
                  <a:pt x="258" y="182"/>
                </a:moveTo>
                <a:lnTo>
                  <a:pt x="258" y="188"/>
                </a:lnTo>
                <a:lnTo>
                  <a:pt x="243" y="188"/>
                </a:lnTo>
                <a:lnTo>
                  <a:pt x="243" y="182"/>
                </a:lnTo>
                <a:lnTo>
                  <a:pt x="258" y="182"/>
                </a:lnTo>
                <a:lnTo>
                  <a:pt x="258" y="182"/>
                </a:lnTo>
                <a:close/>
                <a:moveTo>
                  <a:pt x="211" y="182"/>
                </a:moveTo>
                <a:lnTo>
                  <a:pt x="211" y="188"/>
                </a:lnTo>
                <a:lnTo>
                  <a:pt x="195" y="188"/>
                </a:lnTo>
                <a:lnTo>
                  <a:pt x="195" y="182"/>
                </a:lnTo>
                <a:lnTo>
                  <a:pt x="211" y="182"/>
                </a:lnTo>
                <a:lnTo>
                  <a:pt x="211" y="182"/>
                </a:lnTo>
                <a:close/>
                <a:moveTo>
                  <a:pt x="164" y="182"/>
                </a:moveTo>
                <a:lnTo>
                  <a:pt x="164" y="188"/>
                </a:lnTo>
                <a:lnTo>
                  <a:pt x="148" y="188"/>
                </a:lnTo>
                <a:lnTo>
                  <a:pt x="148" y="182"/>
                </a:lnTo>
                <a:lnTo>
                  <a:pt x="164" y="182"/>
                </a:lnTo>
                <a:lnTo>
                  <a:pt x="164" y="182"/>
                </a:lnTo>
                <a:close/>
                <a:moveTo>
                  <a:pt x="117" y="182"/>
                </a:moveTo>
                <a:lnTo>
                  <a:pt x="117" y="188"/>
                </a:lnTo>
                <a:lnTo>
                  <a:pt x="101" y="188"/>
                </a:lnTo>
                <a:lnTo>
                  <a:pt x="101" y="182"/>
                </a:lnTo>
                <a:lnTo>
                  <a:pt x="117" y="182"/>
                </a:lnTo>
                <a:lnTo>
                  <a:pt x="117" y="182"/>
                </a:lnTo>
                <a:close/>
                <a:moveTo>
                  <a:pt x="70" y="182"/>
                </a:moveTo>
                <a:lnTo>
                  <a:pt x="70" y="188"/>
                </a:lnTo>
                <a:lnTo>
                  <a:pt x="55" y="188"/>
                </a:lnTo>
                <a:lnTo>
                  <a:pt x="55" y="182"/>
                </a:lnTo>
                <a:lnTo>
                  <a:pt x="70" y="182"/>
                </a:lnTo>
                <a:lnTo>
                  <a:pt x="70" y="182"/>
                </a:lnTo>
                <a:close/>
                <a:moveTo>
                  <a:pt x="23" y="182"/>
                </a:moveTo>
                <a:lnTo>
                  <a:pt x="23" y="188"/>
                </a:lnTo>
                <a:lnTo>
                  <a:pt x="7" y="188"/>
                </a:lnTo>
                <a:lnTo>
                  <a:pt x="7" y="182"/>
                </a:lnTo>
                <a:lnTo>
                  <a:pt x="23" y="182"/>
                </a:lnTo>
                <a:lnTo>
                  <a:pt x="23" y="182"/>
                </a:lnTo>
                <a:close/>
                <a:moveTo>
                  <a:pt x="7" y="158"/>
                </a:moveTo>
                <a:lnTo>
                  <a:pt x="0" y="158"/>
                </a:lnTo>
                <a:lnTo>
                  <a:pt x="0" y="142"/>
                </a:lnTo>
                <a:lnTo>
                  <a:pt x="7" y="142"/>
                </a:lnTo>
                <a:lnTo>
                  <a:pt x="7" y="158"/>
                </a:lnTo>
                <a:lnTo>
                  <a:pt x="7" y="158"/>
                </a:lnTo>
                <a:close/>
                <a:moveTo>
                  <a:pt x="7" y="111"/>
                </a:moveTo>
                <a:lnTo>
                  <a:pt x="0" y="111"/>
                </a:lnTo>
                <a:lnTo>
                  <a:pt x="0" y="95"/>
                </a:lnTo>
                <a:lnTo>
                  <a:pt x="7" y="95"/>
                </a:lnTo>
                <a:lnTo>
                  <a:pt x="7" y="111"/>
                </a:lnTo>
                <a:lnTo>
                  <a:pt x="7" y="111"/>
                </a:lnTo>
                <a:close/>
                <a:moveTo>
                  <a:pt x="7" y="63"/>
                </a:moveTo>
                <a:lnTo>
                  <a:pt x="0" y="63"/>
                </a:lnTo>
                <a:lnTo>
                  <a:pt x="0" y="47"/>
                </a:lnTo>
                <a:lnTo>
                  <a:pt x="7" y="47"/>
                </a:lnTo>
                <a:lnTo>
                  <a:pt x="7" y="63"/>
                </a:lnTo>
                <a:close/>
              </a:path>
            </a:pathLst>
          </a:custGeom>
          <a:solidFill>
            <a:srgbClr val="8497B0"/>
          </a:solidFill>
          <a:ln>
            <a:solidFill>
              <a:schemeClr val="accent3">
                <a:lumMod val="40000"/>
                <a:lumOff val="60000"/>
              </a:schemeClr>
            </a:solidFill>
          </a:ln>
        </p:spPr>
        <p:txBody>
          <a:bodyPr vert="horz" wrap="square" lIns="91440" tIns="45720" rIns="91440" bIns="45720" numCol="1" anchor="t" anchorCtr="0" compatLnSpc="1">
            <a:prstTxWarp prst="textNoShape">
              <a:avLst/>
            </a:prstTxWarp>
          </a:bodyPr>
          <a:lstStyle/>
          <a:p>
            <a:endParaRPr lang="en-US"/>
          </a:p>
        </p:txBody>
      </p:sp>
      <p:sp>
        <p:nvSpPr>
          <p:cNvPr id="86" name="Freeform 80">
            <a:extLst>
              <a:ext uri="{FF2B5EF4-FFF2-40B4-BE49-F238E27FC236}">
                <a16:creationId xmlns:a16="http://schemas.microsoft.com/office/drawing/2014/main" id="{EC7D11F4-EA51-4713-A55E-6B14594DDC56}"/>
              </a:ext>
            </a:extLst>
          </p:cNvPr>
          <p:cNvSpPr>
            <a:spLocks noEditPoints="1"/>
          </p:cNvSpPr>
          <p:nvPr/>
        </p:nvSpPr>
        <p:spPr bwMode="auto">
          <a:xfrm>
            <a:off x="3480246" y="4173538"/>
            <a:ext cx="815975" cy="120650"/>
          </a:xfrm>
          <a:custGeom>
            <a:avLst/>
            <a:gdLst>
              <a:gd name="T0" fmla="*/ 471 w 514"/>
              <a:gd name="T1" fmla="*/ 9 h 76"/>
              <a:gd name="T2" fmla="*/ 465 w 514"/>
              <a:gd name="T3" fmla="*/ 10 h 76"/>
              <a:gd name="T4" fmla="*/ 461 w 514"/>
              <a:gd name="T5" fmla="*/ 12 h 76"/>
              <a:gd name="T6" fmla="*/ 456 w 514"/>
              <a:gd name="T7" fmla="*/ 17 h 76"/>
              <a:gd name="T8" fmla="*/ 452 w 514"/>
              <a:gd name="T9" fmla="*/ 21 h 76"/>
              <a:gd name="T10" fmla="*/ 449 w 514"/>
              <a:gd name="T11" fmla="*/ 26 h 76"/>
              <a:gd name="T12" fmla="*/ 447 w 514"/>
              <a:gd name="T13" fmla="*/ 32 h 76"/>
              <a:gd name="T14" fmla="*/ 446 w 514"/>
              <a:gd name="T15" fmla="*/ 38 h 76"/>
              <a:gd name="T16" fmla="*/ 447 w 514"/>
              <a:gd name="T17" fmla="*/ 44 h 76"/>
              <a:gd name="T18" fmla="*/ 449 w 514"/>
              <a:gd name="T19" fmla="*/ 50 h 76"/>
              <a:gd name="T20" fmla="*/ 452 w 514"/>
              <a:gd name="T21" fmla="*/ 55 h 76"/>
              <a:gd name="T22" fmla="*/ 456 w 514"/>
              <a:gd name="T23" fmla="*/ 60 h 76"/>
              <a:gd name="T24" fmla="*/ 461 w 514"/>
              <a:gd name="T25" fmla="*/ 63 h 76"/>
              <a:gd name="T26" fmla="*/ 466 w 514"/>
              <a:gd name="T27" fmla="*/ 65 h 76"/>
              <a:gd name="T28" fmla="*/ 472 w 514"/>
              <a:gd name="T29" fmla="*/ 68 h 76"/>
              <a:gd name="T30" fmla="*/ 478 w 514"/>
              <a:gd name="T31" fmla="*/ 68 h 76"/>
              <a:gd name="T32" fmla="*/ 484 w 514"/>
              <a:gd name="T33" fmla="*/ 66 h 76"/>
              <a:gd name="T34" fmla="*/ 490 w 514"/>
              <a:gd name="T35" fmla="*/ 64 h 76"/>
              <a:gd name="T36" fmla="*/ 494 w 514"/>
              <a:gd name="T37" fmla="*/ 61 h 76"/>
              <a:gd name="T38" fmla="*/ 499 w 514"/>
              <a:gd name="T39" fmla="*/ 57 h 76"/>
              <a:gd name="T40" fmla="*/ 502 w 514"/>
              <a:gd name="T41" fmla="*/ 52 h 76"/>
              <a:gd name="T42" fmla="*/ 505 w 514"/>
              <a:gd name="T43" fmla="*/ 47 h 76"/>
              <a:gd name="T44" fmla="*/ 506 w 514"/>
              <a:gd name="T45" fmla="*/ 41 h 76"/>
              <a:gd name="T46" fmla="*/ 506 w 514"/>
              <a:gd name="T47" fmla="*/ 35 h 76"/>
              <a:gd name="T48" fmla="*/ 505 w 514"/>
              <a:gd name="T49" fmla="*/ 28 h 76"/>
              <a:gd name="T50" fmla="*/ 502 w 514"/>
              <a:gd name="T51" fmla="*/ 24 h 76"/>
              <a:gd name="T52" fmla="*/ 499 w 514"/>
              <a:gd name="T53" fmla="*/ 18 h 76"/>
              <a:gd name="T54" fmla="*/ 494 w 514"/>
              <a:gd name="T55" fmla="*/ 15 h 76"/>
              <a:gd name="T56" fmla="*/ 489 w 514"/>
              <a:gd name="T57" fmla="*/ 11 h 76"/>
              <a:gd name="T58" fmla="*/ 484 w 514"/>
              <a:gd name="T59" fmla="*/ 9 h 76"/>
              <a:gd name="T60" fmla="*/ 478 w 514"/>
              <a:gd name="T61" fmla="*/ 8 h 76"/>
              <a:gd name="T62" fmla="*/ 439 w 514"/>
              <a:gd name="T63" fmla="*/ 28 h 76"/>
              <a:gd name="T64" fmla="*/ 443 w 514"/>
              <a:gd name="T65" fmla="*/ 21 h 76"/>
              <a:gd name="T66" fmla="*/ 446 w 514"/>
              <a:gd name="T67" fmla="*/ 15 h 76"/>
              <a:gd name="T68" fmla="*/ 452 w 514"/>
              <a:gd name="T69" fmla="*/ 10 h 76"/>
              <a:gd name="T70" fmla="*/ 457 w 514"/>
              <a:gd name="T71" fmla="*/ 6 h 76"/>
              <a:gd name="T72" fmla="*/ 464 w 514"/>
              <a:gd name="T73" fmla="*/ 2 h 76"/>
              <a:gd name="T74" fmla="*/ 472 w 514"/>
              <a:gd name="T75" fmla="*/ 0 h 76"/>
              <a:gd name="T76" fmla="*/ 480 w 514"/>
              <a:gd name="T77" fmla="*/ 0 h 76"/>
              <a:gd name="T78" fmla="*/ 488 w 514"/>
              <a:gd name="T79" fmla="*/ 2 h 76"/>
              <a:gd name="T80" fmla="*/ 494 w 514"/>
              <a:gd name="T81" fmla="*/ 5 h 76"/>
              <a:gd name="T82" fmla="*/ 500 w 514"/>
              <a:gd name="T83" fmla="*/ 9 h 76"/>
              <a:gd name="T84" fmla="*/ 506 w 514"/>
              <a:gd name="T85" fmla="*/ 15 h 76"/>
              <a:gd name="T86" fmla="*/ 509 w 514"/>
              <a:gd name="T87" fmla="*/ 20 h 76"/>
              <a:gd name="T88" fmla="*/ 512 w 514"/>
              <a:gd name="T89" fmla="*/ 27 h 76"/>
              <a:gd name="T90" fmla="*/ 514 w 514"/>
              <a:gd name="T91" fmla="*/ 35 h 76"/>
              <a:gd name="T92" fmla="*/ 514 w 514"/>
              <a:gd name="T93" fmla="*/ 43 h 76"/>
              <a:gd name="T94" fmla="*/ 511 w 514"/>
              <a:gd name="T95" fmla="*/ 51 h 76"/>
              <a:gd name="T96" fmla="*/ 508 w 514"/>
              <a:gd name="T97" fmla="*/ 57 h 76"/>
              <a:gd name="T98" fmla="*/ 503 w 514"/>
              <a:gd name="T99" fmla="*/ 63 h 76"/>
              <a:gd name="T100" fmla="*/ 498 w 514"/>
              <a:gd name="T101" fmla="*/ 69 h 76"/>
              <a:gd name="T102" fmla="*/ 492 w 514"/>
              <a:gd name="T103" fmla="*/ 72 h 76"/>
              <a:gd name="T104" fmla="*/ 484 w 514"/>
              <a:gd name="T105" fmla="*/ 74 h 76"/>
              <a:gd name="T106" fmla="*/ 476 w 514"/>
              <a:gd name="T107" fmla="*/ 76 h 76"/>
              <a:gd name="T108" fmla="*/ 469 w 514"/>
              <a:gd name="T109" fmla="*/ 74 h 76"/>
              <a:gd name="T110" fmla="*/ 462 w 514"/>
              <a:gd name="T111" fmla="*/ 72 h 76"/>
              <a:gd name="T112" fmla="*/ 455 w 514"/>
              <a:gd name="T113" fmla="*/ 69 h 76"/>
              <a:gd name="T114" fmla="*/ 449 w 514"/>
              <a:gd name="T115" fmla="*/ 64 h 76"/>
              <a:gd name="T116" fmla="*/ 445 w 514"/>
              <a:gd name="T117" fmla="*/ 59 h 76"/>
              <a:gd name="T118" fmla="*/ 441 w 514"/>
              <a:gd name="T119" fmla="*/ 52 h 76"/>
              <a:gd name="T120" fmla="*/ 439 w 514"/>
              <a:gd name="T121" fmla="*/ 44 h 76"/>
              <a:gd name="T122" fmla="*/ 299 w 514"/>
              <a:gd name="T123"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4" h="76">
                <a:moveTo>
                  <a:pt x="16" y="34"/>
                </a:moveTo>
                <a:lnTo>
                  <a:pt x="16" y="42"/>
                </a:lnTo>
                <a:lnTo>
                  <a:pt x="0" y="42"/>
                </a:lnTo>
                <a:lnTo>
                  <a:pt x="0" y="34"/>
                </a:lnTo>
                <a:lnTo>
                  <a:pt x="16" y="34"/>
                </a:lnTo>
                <a:lnTo>
                  <a:pt x="16" y="34"/>
                </a:lnTo>
                <a:close/>
                <a:moveTo>
                  <a:pt x="476" y="8"/>
                </a:moveTo>
                <a:lnTo>
                  <a:pt x="476" y="8"/>
                </a:lnTo>
                <a:lnTo>
                  <a:pt x="475" y="8"/>
                </a:lnTo>
                <a:lnTo>
                  <a:pt x="475" y="8"/>
                </a:lnTo>
                <a:lnTo>
                  <a:pt x="475" y="8"/>
                </a:lnTo>
                <a:lnTo>
                  <a:pt x="475" y="8"/>
                </a:lnTo>
                <a:lnTo>
                  <a:pt x="475" y="8"/>
                </a:lnTo>
                <a:lnTo>
                  <a:pt x="475" y="8"/>
                </a:lnTo>
                <a:lnTo>
                  <a:pt x="474" y="8"/>
                </a:lnTo>
                <a:lnTo>
                  <a:pt x="474" y="8"/>
                </a:lnTo>
                <a:lnTo>
                  <a:pt x="474" y="8"/>
                </a:lnTo>
                <a:lnTo>
                  <a:pt x="474" y="8"/>
                </a:lnTo>
                <a:lnTo>
                  <a:pt x="474" y="8"/>
                </a:lnTo>
                <a:lnTo>
                  <a:pt x="474" y="8"/>
                </a:lnTo>
                <a:lnTo>
                  <a:pt x="473" y="8"/>
                </a:lnTo>
                <a:lnTo>
                  <a:pt x="473" y="8"/>
                </a:lnTo>
                <a:lnTo>
                  <a:pt x="473" y="8"/>
                </a:lnTo>
                <a:lnTo>
                  <a:pt x="473" y="8"/>
                </a:lnTo>
                <a:lnTo>
                  <a:pt x="473" y="8"/>
                </a:lnTo>
                <a:lnTo>
                  <a:pt x="473" y="8"/>
                </a:lnTo>
                <a:lnTo>
                  <a:pt x="472" y="8"/>
                </a:lnTo>
                <a:lnTo>
                  <a:pt x="472" y="8"/>
                </a:lnTo>
                <a:lnTo>
                  <a:pt x="472" y="8"/>
                </a:lnTo>
                <a:lnTo>
                  <a:pt x="472" y="8"/>
                </a:lnTo>
                <a:lnTo>
                  <a:pt x="472" y="8"/>
                </a:lnTo>
                <a:lnTo>
                  <a:pt x="472" y="9"/>
                </a:lnTo>
                <a:lnTo>
                  <a:pt x="471" y="9"/>
                </a:lnTo>
                <a:lnTo>
                  <a:pt x="471" y="9"/>
                </a:lnTo>
                <a:lnTo>
                  <a:pt x="471" y="9"/>
                </a:lnTo>
                <a:lnTo>
                  <a:pt x="471" y="9"/>
                </a:lnTo>
                <a:lnTo>
                  <a:pt x="471" y="9"/>
                </a:lnTo>
                <a:lnTo>
                  <a:pt x="471" y="9"/>
                </a:lnTo>
                <a:lnTo>
                  <a:pt x="470" y="9"/>
                </a:lnTo>
                <a:lnTo>
                  <a:pt x="470" y="9"/>
                </a:lnTo>
                <a:lnTo>
                  <a:pt x="470" y="9"/>
                </a:lnTo>
                <a:lnTo>
                  <a:pt x="470" y="9"/>
                </a:lnTo>
                <a:lnTo>
                  <a:pt x="470" y="9"/>
                </a:lnTo>
                <a:lnTo>
                  <a:pt x="470" y="9"/>
                </a:lnTo>
                <a:lnTo>
                  <a:pt x="470" y="9"/>
                </a:lnTo>
                <a:lnTo>
                  <a:pt x="469" y="9"/>
                </a:lnTo>
                <a:lnTo>
                  <a:pt x="469" y="9"/>
                </a:lnTo>
                <a:lnTo>
                  <a:pt x="469" y="9"/>
                </a:lnTo>
                <a:lnTo>
                  <a:pt x="469" y="9"/>
                </a:lnTo>
                <a:lnTo>
                  <a:pt x="469" y="9"/>
                </a:lnTo>
                <a:lnTo>
                  <a:pt x="469" y="9"/>
                </a:lnTo>
                <a:lnTo>
                  <a:pt x="467" y="9"/>
                </a:lnTo>
                <a:lnTo>
                  <a:pt x="467" y="9"/>
                </a:lnTo>
                <a:lnTo>
                  <a:pt x="467" y="9"/>
                </a:lnTo>
                <a:lnTo>
                  <a:pt x="467" y="9"/>
                </a:lnTo>
                <a:lnTo>
                  <a:pt x="467" y="9"/>
                </a:lnTo>
                <a:lnTo>
                  <a:pt x="467" y="9"/>
                </a:lnTo>
                <a:lnTo>
                  <a:pt x="467" y="10"/>
                </a:lnTo>
                <a:lnTo>
                  <a:pt x="466" y="10"/>
                </a:lnTo>
                <a:lnTo>
                  <a:pt x="466" y="10"/>
                </a:lnTo>
                <a:lnTo>
                  <a:pt x="466" y="10"/>
                </a:lnTo>
                <a:lnTo>
                  <a:pt x="466" y="10"/>
                </a:lnTo>
                <a:lnTo>
                  <a:pt x="466" y="10"/>
                </a:lnTo>
                <a:lnTo>
                  <a:pt x="466" y="10"/>
                </a:lnTo>
                <a:lnTo>
                  <a:pt x="465" y="10"/>
                </a:lnTo>
                <a:lnTo>
                  <a:pt x="465" y="10"/>
                </a:lnTo>
                <a:lnTo>
                  <a:pt x="465" y="10"/>
                </a:lnTo>
                <a:lnTo>
                  <a:pt x="465" y="10"/>
                </a:lnTo>
                <a:lnTo>
                  <a:pt x="465" y="10"/>
                </a:lnTo>
                <a:lnTo>
                  <a:pt x="465" y="10"/>
                </a:lnTo>
                <a:lnTo>
                  <a:pt x="465" y="10"/>
                </a:lnTo>
                <a:lnTo>
                  <a:pt x="464" y="10"/>
                </a:lnTo>
                <a:lnTo>
                  <a:pt x="464" y="10"/>
                </a:lnTo>
                <a:lnTo>
                  <a:pt x="464" y="10"/>
                </a:lnTo>
                <a:lnTo>
                  <a:pt x="464" y="11"/>
                </a:lnTo>
                <a:lnTo>
                  <a:pt x="464" y="11"/>
                </a:lnTo>
                <a:lnTo>
                  <a:pt x="464" y="11"/>
                </a:lnTo>
                <a:lnTo>
                  <a:pt x="464" y="11"/>
                </a:lnTo>
                <a:lnTo>
                  <a:pt x="463" y="11"/>
                </a:lnTo>
                <a:lnTo>
                  <a:pt x="463" y="11"/>
                </a:lnTo>
                <a:lnTo>
                  <a:pt x="463" y="11"/>
                </a:lnTo>
                <a:lnTo>
                  <a:pt x="463" y="11"/>
                </a:lnTo>
                <a:lnTo>
                  <a:pt x="463" y="11"/>
                </a:lnTo>
                <a:lnTo>
                  <a:pt x="463" y="11"/>
                </a:lnTo>
                <a:lnTo>
                  <a:pt x="463" y="11"/>
                </a:lnTo>
                <a:lnTo>
                  <a:pt x="462" y="11"/>
                </a:lnTo>
                <a:lnTo>
                  <a:pt x="462" y="11"/>
                </a:lnTo>
                <a:lnTo>
                  <a:pt x="462" y="11"/>
                </a:lnTo>
                <a:lnTo>
                  <a:pt x="462" y="12"/>
                </a:lnTo>
                <a:lnTo>
                  <a:pt x="462" y="12"/>
                </a:lnTo>
                <a:lnTo>
                  <a:pt x="462" y="12"/>
                </a:lnTo>
                <a:lnTo>
                  <a:pt x="462" y="12"/>
                </a:lnTo>
                <a:lnTo>
                  <a:pt x="461" y="12"/>
                </a:lnTo>
                <a:lnTo>
                  <a:pt x="461" y="12"/>
                </a:lnTo>
                <a:lnTo>
                  <a:pt x="461" y="12"/>
                </a:lnTo>
                <a:lnTo>
                  <a:pt x="461" y="12"/>
                </a:lnTo>
                <a:lnTo>
                  <a:pt x="461" y="12"/>
                </a:lnTo>
                <a:lnTo>
                  <a:pt x="461" y="12"/>
                </a:lnTo>
                <a:lnTo>
                  <a:pt x="461" y="12"/>
                </a:lnTo>
                <a:lnTo>
                  <a:pt x="459" y="12"/>
                </a:lnTo>
                <a:lnTo>
                  <a:pt x="459" y="14"/>
                </a:lnTo>
                <a:lnTo>
                  <a:pt x="459" y="14"/>
                </a:lnTo>
                <a:lnTo>
                  <a:pt x="459" y="14"/>
                </a:lnTo>
                <a:lnTo>
                  <a:pt x="459" y="14"/>
                </a:lnTo>
                <a:lnTo>
                  <a:pt x="459" y="14"/>
                </a:lnTo>
                <a:lnTo>
                  <a:pt x="459" y="14"/>
                </a:lnTo>
                <a:lnTo>
                  <a:pt x="459" y="14"/>
                </a:lnTo>
                <a:lnTo>
                  <a:pt x="458" y="14"/>
                </a:lnTo>
                <a:lnTo>
                  <a:pt x="458" y="14"/>
                </a:lnTo>
                <a:lnTo>
                  <a:pt x="458" y="14"/>
                </a:lnTo>
                <a:lnTo>
                  <a:pt x="458" y="14"/>
                </a:lnTo>
                <a:lnTo>
                  <a:pt x="458" y="15"/>
                </a:lnTo>
                <a:lnTo>
                  <a:pt x="458" y="15"/>
                </a:lnTo>
                <a:lnTo>
                  <a:pt x="458" y="15"/>
                </a:lnTo>
                <a:lnTo>
                  <a:pt x="458" y="15"/>
                </a:lnTo>
                <a:lnTo>
                  <a:pt x="457" y="15"/>
                </a:lnTo>
                <a:lnTo>
                  <a:pt x="457" y="15"/>
                </a:lnTo>
                <a:lnTo>
                  <a:pt x="457" y="15"/>
                </a:lnTo>
                <a:lnTo>
                  <a:pt x="457" y="15"/>
                </a:lnTo>
                <a:lnTo>
                  <a:pt x="457" y="15"/>
                </a:lnTo>
                <a:lnTo>
                  <a:pt x="457" y="15"/>
                </a:lnTo>
                <a:lnTo>
                  <a:pt x="457" y="16"/>
                </a:lnTo>
                <a:lnTo>
                  <a:pt x="457" y="16"/>
                </a:lnTo>
                <a:lnTo>
                  <a:pt x="456" y="16"/>
                </a:lnTo>
                <a:lnTo>
                  <a:pt x="456" y="16"/>
                </a:lnTo>
                <a:lnTo>
                  <a:pt x="456" y="16"/>
                </a:lnTo>
                <a:lnTo>
                  <a:pt x="456" y="16"/>
                </a:lnTo>
                <a:lnTo>
                  <a:pt x="456" y="16"/>
                </a:lnTo>
                <a:lnTo>
                  <a:pt x="456" y="16"/>
                </a:lnTo>
                <a:lnTo>
                  <a:pt x="456" y="16"/>
                </a:lnTo>
                <a:lnTo>
                  <a:pt x="456" y="16"/>
                </a:lnTo>
                <a:lnTo>
                  <a:pt x="456" y="17"/>
                </a:lnTo>
                <a:lnTo>
                  <a:pt x="455" y="17"/>
                </a:lnTo>
                <a:lnTo>
                  <a:pt x="455" y="17"/>
                </a:lnTo>
                <a:lnTo>
                  <a:pt x="455" y="17"/>
                </a:lnTo>
                <a:lnTo>
                  <a:pt x="455" y="17"/>
                </a:lnTo>
                <a:lnTo>
                  <a:pt x="455" y="17"/>
                </a:lnTo>
                <a:lnTo>
                  <a:pt x="455" y="17"/>
                </a:lnTo>
                <a:lnTo>
                  <a:pt x="455" y="17"/>
                </a:lnTo>
                <a:lnTo>
                  <a:pt x="455" y="17"/>
                </a:lnTo>
                <a:lnTo>
                  <a:pt x="455" y="18"/>
                </a:lnTo>
                <a:lnTo>
                  <a:pt x="454" y="18"/>
                </a:lnTo>
                <a:lnTo>
                  <a:pt x="454" y="18"/>
                </a:lnTo>
                <a:lnTo>
                  <a:pt x="454" y="18"/>
                </a:lnTo>
                <a:lnTo>
                  <a:pt x="454" y="18"/>
                </a:lnTo>
                <a:lnTo>
                  <a:pt x="454" y="18"/>
                </a:lnTo>
                <a:lnTo>
                  <a:pt x="454" y="18"/>
                </a:lnTo>
                <a:lnTo>
                  <a:pt x="454" y="18"/>
                </a:lnTo>
                <a:lnTo>
                  <a:pt x="454" y="19"/>
                </a:lnTo>
                <a:lnTo>
                  <a:pt x="454" y="19"/>
                </a:lnTo>
                <a:lnTo>
                  <a:pt x="453" y="19"/>
                </a:lnTo>
                <a:lnTo>
                  <a:pt x="453" y="19"/>
                </a:lnTo>
                <a:lnTo>
                  <a:pt x="453" y="19"/>
                </a:lnTo>
                <a:lnTo>
                  <a:pt x="453" y="19"/>
                </a:lnTo>
                <a:lnTo>
                  <a:pt x="453" y="19"/>
                </a:lnTo>
                <a:lnTo>
                  <a:pt x="453" y="19"/>
                </a:lnTo>
                <a:lnTo>
                  <a:pt x="453" y="20"/>
                </a:lnTo>
                <a:lnTo>
                  <a:pt x="453" y="20"/>
                </a:lnTo>
                <a:lnTo>
                  <a:pt x="453" y="20"/>
                </a:lnTo>
                <a:lnTo>
                  <a:pt x="453" y="20"/>
                </a:lnTo>
                <a:lnTo>
                  <a:pt x="452" y="20"/>
                </a:lnTo>
                <a:lnTo>
                  <a:pt x="452" y="20"/>
                </a:lnTo>
                <a:lnTo>
                  <a:pt x="452" y="20"/>
                </a:lnTo>
                <a:lnTo>
                  <a:pt x="452" y="20"/>
                </a:lnTo>
                <a:lnTo>
                  <a:pt x="452" y="21"/>
                </a:lnTo>
                <a:lnTo>
                  <a:pt x="452" y="21"/>
                </a:lnTo>
                <a:lnTo>
                  <a:pt x="452" y="21"/>
                </a:lnTo>
                <a:lnTo>
                  <a:pt x="452" y="21"/>
                </a:lnTo>
                <a:lnTo>
                  <a:pt x="452" y="21"/>
                </a:lnTo>
                <a:lnTo>
                  <a:pt x="452" y="21"/>
                </a:lnTo>
                <a:lnTo>
                  <a:pt x="452" y="21"/>
                </a:lnTo>
                <a:lnTo>
                  <a:pt x="452" y="21"/>
                </a:lnTo>
                <a:lnTo>
                  <a:pt x="450" y="23"/>
                </a:lnTo>
                <a:lnTo>
                  <a:pt x="450" y="23"/>
                </a:lnTo>
                <a:lnTo>
                  <a:pt x="450" y="23"/>
                </a:lnTo>
                <a:lnTo>
                  <a:pt x="450" y="23"/>
                </a:lnTo>
                <a:lnTo>
                  <a:pt x="450" y="23"/>
                </a:lnTo>
                <a:lnTo>
                  <a:pt x="450" y="23"/>
                </a:lnTo>
                <a:lnTo>
                  <a:pt x="450" y="23"/>
                </a:lnTo>
                <a:lnTo>
                  <a:pt x="450" y="24"/>
                </a:lnTo>
                <a:lnTo>
                  <a:pt x="450" y="24"/>
                </a:lnTo>
                <a:lnTo>
                  <a:pt x="450" y="24"/>
                </a:lnTo>
                <a:lnTo>
                  <a:pt x="450" y="24"/>
                </a:lnTo>
                <a:lnTo>
                  <a:pt x="450" y="24"/>
                </a:lnTo>
                <a:lnTo>
                  <a:pt x="449" y="24"/>
                </a:lnTo>
                <a:lnTo>
                  <a:pt x="449" y="24"/>
                </a:lnTo>
                <a:lnTo>
                  <a:pt x="449" y="25"/>
                </a:lnTo>
                <a:lnTo>
                  <a:pt x="449" y="25"/>
                </a:lnTo>
                <a:lnTo>
                  <a:pt x="449" y="25"/>
                </a:lnTo>
                <a:lnTo>
                  <a:pt x="449" y="25"/>
                </a:lnTo>
                <a:lnTo>
                  <a:pt x="449" y="25"/>
                </a:lnTo>
                <a:lnTo>
                  <a:pt x="449" y="25"/>
                </a:lnTo>
                <a:lnTo>
                  <a:pt x="449" y="25"/>
                </a:lnTo>
                <a:lnTo>
                  <a:pt x="449" y="26"/>
                </a:lnTo>
                <a:lnTo>
                  <a:pt x="449" y="26"/>
                </a:lnTo>
                <a:lnTo>
                  <a:pt x="449" y="26"/>
                </a:lnTo>
                <a:lnTo>
                  <a:pt x="449" y="26"/>
                </a:lnTo>
                <a:lnTo>
                  <a:pt x="449" y="26"/>
                </a:lnTo>
                <a:lnTo>
                  <a:pt x="449" y="26"/>
                </a:lnTo>
                <a:lnTo>
                  <a:pt x="448" y="26"/>
                </a:lnTo>
                <a:lnTo>
                  <a:pt x="448" y="27"/>
                </a:lnTo>
                <a:lnTo>
                  <a:pt x="448" y="27"/>
                </a:lnTo>
                <a:lnTo>
                  <a:pt x="448" y="27"/>
                </a:lnTo>
                <a:lnTo>
                  <a:pt x="448" y="27"/>
                </a:lnTo>
                <a:lnTo>
                  <a:pt x="448" y="27"/>
                </a:lnTo>
                <a:lnTo>
                  <a:pt x="448" y="27"/>
                </a:lnTo>
                <a:lnTo>
                  <a:pt x="448" y="27"/>
                </a:lnTo>
                <a:lnTo>
                  <a:pt x="448" y="28"/>
                </a:lnTo>
                <a:lnTo>
                  <a:pt x="448" y="28"/>
                </a:lnTo>
                <a:lnTo>
                  <a:pt x="448" y="28"/>
                </a:lnTo>
                <a:lnTo>
                  <a:pt x="448" y="28"/>
                </a:lnTo>
                <a:lnTo>
                  <a:pt x="448" y="28"/>
                </a:lnTo>
                <a:lnTo>
                  <a:pt x="448" y="28"/>
                </a:lnTo>
                <a:lnTo>
                  <a:pt x="448" y="29"/>
                </a:lnTo>
                <a:lnTo>
                  <a:pt x="448" y="29"/>
                </a:lnTo>
                <a:lnTo>
                  <a:pt x="448" y="29"/>
                </a:lnTo>
                <a:lnTo>
                  <a:pt x="448" y="29"/>
                </a:lnTo>
                <a:lnTo>
                  <a:pt x="447" y="29"/>
                </a:lnTo>
                <a:lnTo>
                  <a:pt x="447" y="29"/>
                </a:lnTo>
                <a:lnTo>
                  <a:pt x="447" y="30"/>
                </a:lnTo>
                <a:lnTo>
                  <a:pt x="447" y="30"/>
                </a:lnTo>
                <a:lnTo>
                  <a:pt x="447" y="30"/>
                </a:lnTo>
                <a:lnTo>
                  <a:pt x="447" y="30"/>
                </a:lnTo>
                <a:lnTo>
                  <a:pt x="447" y="30"/>
                </a:lnTo>
                <a:lnTo>
                  <a:pt x="447" y="30"/>
                </a:lnTo>
                <a:lnTo>
                  <a:pt x="447" y="30"/>
                </a:lnTo>
                <a:lnTo>
                  <a:pt x="447" y="32"/>
                </a:lnTo>
                <a:lnTo>
                  <a:pt x="447" y="32"/>
                </a:lnTo>
                <a:lnTo>
                  <a:pt x="447" y="32"/>
                </a:lnTo>
                <a:lnTo>
                  <a:pt x="447" y="32"/>
                </a:lnTo>
                <a:lnTo>
                  <a:pt x="447" y="32"/>
                </a:lnTo>
                <a:lnTo>
                  <a:pt x="447" y="32"/>
                </a:lnTo>
                <a:lnTo>
                  <a:pt x="447" y="33"/>
                </a:lnTo>
                <a:lnTo>
                  <a:pt x="447" y="33"/>
                </a:lnTo>
                <a:lnTo>
                  <a:pt x="447" y="33"/>
                </a:lnTo>
                <a:lnTo>
                  <a:pt x="447" y="33"/>
                </a:lnTo>
                <a:lnTo>
                  <a:pt x="447" y="33"/>
                </a:lnTo>
                <a:lnTo>
                  <a:pt x="447" y="33"/>
                </a:lnTo>
                <a:lnTo>
                  <a:pt x="447" y="34"/>
                </a:lnTo>
                <a:lnTo>
                  <a:pt x="447" y="34"/>
                </a:lnTo>
                <a:lnTo>
                  <a:pt x="447" y="34"/>
                </a:lnTo>
                <a:lnTo>
                  <a:pt x="447" y="34"/>
                </a:lnTo>
                <a:lnTo>
                  <a:pt x="447" y="34"/>
                </a:lnTo>
                <a:lnTo>
                  <a:pt x="447" y="34"/>
                </a:lnTo>
                <a:lnTo>
                  <a:pt x="447" y="35"/>
                </a:lnTo>
                <a:lnTo>
                  <a:pt x="447" y="35"/>
                </a:lnTo>
                <a:lnTo>
                  <a:pt x="447" y="35"/>
                </a:lnTo>
                <a:lnTo>
                  <a:pt x="447" y="35"/>
                </a:lnTo>
                <a:lnTo>
                  <a:pt x="447" y="35"/>
                </a:lnTo>
                <a:lnTo>
                  <a:pt x="447" y="35"/>
                </a:lnTo>
                <a:lnTo>
                  <a:pt x="447" y="36"/>
                </a:lnTo>
                <a:lnTo>
                  <a:pt x="446" y="36"/>
                </a:lnTo>
                <a:lnTo>
                  <a:pt x="446" y="36"/>
                </a:lnTo>
                <a:lnTo>
                  <a:pt x="446" y="36"/>
                </a:lnTo>
                <a:lnTo>
                  <a:pt x="446" y="36"/>
                </a:lnTo>
                <a:lnTo>
                  <a:pt x="446" y="36"/>
                </a:lnTo>
                <a:lnTo>
                  <a:pt x="446" y="37"/>
                </a:lnTo>
                <a:lnTo>
                  <a:pt x="446" y="37"/>
                </a:lnTo>
                <a:lnTo>
                  <a:pt x="446" y="37"/>
                </a:lnTo>
                <a:lnTo>
                  <a:pt x="446" y="37"/>
                </a:lnTo>
                <a:lnTo>
                  <a:pt x="446" y="37"/>
                </a:lnTo>
                <a:lnTo>
                  <a:pt x="446" y="37"/>
                </a:lnTo>
                <a:lnTo>
                  <a:pt x="446" y="38"/>
                </a:lnTo>
                <a:lnTo>
                  <a:pt x="446" y="38"/>
                </a:lnTo>
                <a:lnTo>
                  <a:pt x="446" y="38"/>
                </a:lnTo>
                <a:lnTo>
                  <a:pt x="446" y="38"/>
                </a:lnTo>
                <a:lnTo>
                  <a:pt x="446" y="38"/>
                </a:lnTo>
                <a:lnTo>
                  <a:pt x="446" y="38"/>
                </a:lnTo>
                <a:lnTo>
                  <a:pt x="446" y="39"/>
                </a:lnTo>
                <a:lnTo>
                  <a:pt x="446" y="39"/>
                </a:lnTo>
                <a:lnTo>
                  <a:pt x="446" y="39"/>
                </a:lnTo>
                <a:lnTo>
                  <a:pt x="446" y="39"/>
                </a:lnTo>
                <a:lnTo>
                  <a:pt x="446" y="39"/>
                </a:lnTo>
                <a:lnTo>
                  <a:pt x="446" y="39"/>
                </a:lnTo>
                <a:lnTo>
                  <a:pt x="447" y="41"/>
                </a:lnTo>
                <a:lnTo>
                  <a:pt x="447" y="41"/>
                </a:lnTo>
                <a:lnTo>
                  <a:pt x="447" y="41"/>
                </a:lnTo>
                <a:lnTo>
                  <a:pt x="447" y="41"/>
                </a:lnTo>
                <a:lnTo>
                  <a:pt x="447" y="41"/>
                </a:lnTo>
                <a:lnTo>
                  <a:pt x="447" y="41"/>
                </a:lnTo>
                <a:lnTo>
                  <a:pt x="447" y="42"/>
                </a:lnTo>
                <a:lnTo>
                  <a:pt x="447" y="42"/>
                </a:lnTo>
                <a:lnTo>
                  <a:pt x="447" y="42"/>
                </a:lnTo>
                <a:lnTo>
                  <a:pt x="447" y="42"/>
                </a:lnTo>
                <a:lnTo>
                  <a:pt x="447" y="42"/>
                </a:lnTo>
                <a:lnTo>
                  <a:pt x="447" y="42"/>
                </a:lnTo>
                <a:lnTo>
                  <a:pt x="447" y="43"/>
                </a:lnTo>
                <a:lnTo>
                  <a:pt x="447" y="43"/>
                </a:lnTo>
                <a:lnTo>
                  <a:pt x="447" y="43"/>
                </a:lnTo>
                <a:lnTo>
                  <a:pt x="447" y="43"/>
                </a:lnTo>
                <a:lnTo>
                  <a:pt x="447" y="43"/>
                </a:lnTo>
                <a:lnTo>
                  <a:pt x="447" y="43"/>
                </a:lnTo>
                <a:lnTo>
                  <a:pt x="447" y="44"/>
                </a:lnTo>
                <a:lnTo>
                  <a:pt x="447" y="44"/>
                </a:lnTo>
                <a:lnTo>
                  <a:pt x="447" y="44"/>
                </a:lnTo>
                <a:lnTo>
                  <a:pt x="447" y="44"/>
                </a:lnTo>
                <a:lnTo>
                  <a:pt x="447" y="44"/>
                </a:lnTo>
                <a:lnTo>
                  <a:pt x="447" y="44"/>
                </a:lnTo>
                <a:lnTo>
                  <a:pt x="447" y="44"/>
                </a:lnTo>
                <a:lnTo>
                  <a:pt x="447" y="45"/>
                </a:lnTo>
                <a:lnTo>
                  <a:pt x="447" y="45"/>
                </a:lnTo>
                <a:lnTo>
                  <a:pt x="447" y="45"/>
                </a:lnTo>
                <a:lnTo>
                  <a:pt x="447" y="45"/>
                </a:lnTo>
                <a:lnTo>
                  <a:pt x="447" y="45"/>
                </a:lnTo>
                <a:lnTo>
                  <a:pt x="447" y="45"/>
                </a:lnTo>
                <a:lnTo>
                  <a:pt x="447" y="46"/>
                </a:lnTo>
                <a:lnTo>
                  <a:pt x="447" y="46"/>
                </a:lnTo>
                <a:lnTo>
                  <a:pt x="447" y="46"/>
                </a:lnTo>
                <a:lnTo>
                  <a:pt x="448" y="46"/>
                </a:lnTo>
                <a:lnTo>
                  <a:pt x="448" y="46"/>
                </a:lnTo>
                <a:lnTo>
                  <a:pt x="448" y="46"/>
                </a:lnTo>
                <a:lnTo>
                  <a:pt x="448" y="47"/>
                </a:lnTo>
                <a:lnTo>
                  <a:pt x="448" y="47"/>
                </a:lnTo>
                <a:lnTo>
                  <a:pt x="448" y="47"/>
                </a:lnTo>
                <a:lnTo>
                  <a:pt x="448" y="47"/>
                </a:lnTo>
                <a:lnTo>
                  <a:pt x="448" y="47"/>
                </a:lnTo>
                <a:lnTo>
                  <a:pt x="448" y="47"/>
                </a:lnTo>
                <a:lnTo>
                  <a:pt x="448" y="47"/>
                </a:lnTo>
                <a:lnTo>
                  <a:pt x="448" y="48"/>
                </a:lnTo>
                <a:lnTo>
                  <a:pt x="448" y="48"/>
                </a:lnTo>
                <a:lnTo>
                  <a:pt x="448" y="48"/>
                </a:lnTo>
                <a:lnTo>
                  <a:pt x="448" y="48"/>
                </a:lnTo>
                <a:lnTo>
                  <a:pt x="448" y="48"/>
                </a:lnTo>
                <a:lnTo>
                  <a:pt x="448" y="48"/>
                </a:lnTo>
                <a:lnTo>
                  <a:pt x="448" y="48"/>
                </a:lnTo>
                <a:lnTo>
                  <a:pt x="448" y="50"/>
                </a:lnTo>
                <a:lnTo>
                  <a:pt x="449" y="50"/>
                </a:lnTo>
                <a:lnTo>
                  <a:pt x="449" y="50"/>
                </a:lnTo>
                <a:lnTo>
                  <a:pt x="449" y="50"/>
                </a:lnTo>
                <a:lnTo>
                  <a:pt x="449" y="50"/>
                </a:lnTo>
                <a:lnTo>
                  <a:pt x="449" y="50"/>
                </a:lnTo>
                <a:lnTo>
                  <a:pt x="449" y="51"/>
                </a:lnTo>
                <a:lnTo>
                  <a:pt x="449" y="51"/>
                </a:lnTo>
                <a:lnTo>
                  <a:pt x="449" y="51"/>
                </a:lnTo>
                <a:lnTo>
                  <a:pt x="449" y="51"/>
                </a:lnTo>
                <a:lnTo>
                  <a:pt x="449" y="51"/>
                </a:lnTo>
                <a:lnTo>
                  <a:pt x="449" y="51"/>
                </a:lnTo>
                <a:lnTo>
                  <a:pt x="449" y="51"/>
                </a:lnTo>
                <a:lnTo>
                  <a:pt x="449" y="52"/>
                </a:lnTo>
                <a:lnTo>
                  <a:pt x="449" y="52"/>
                </a:lnTo>
                <a:lnTo>
                  <a:pt x="449" y="52"/>
                </a:lnTo>
                <a:lnTo>
                  <a:pt x="450" y="52"/>
                </a:lnTo>
                <a:lnTo>
                  <a:pt x="450" y="52"/>
                </a:lnTo>
                <a:lnTo>
                  <a:pt x="450" y="52"/>
                </a:lnTo>
                <a:lnTo>
                  <a:pt x="450" y="52"/>
                </a:lnTo>
                <a:lnTo>
                  <a:pt x="450" y="53"/>
                </a:lnTo>
                <a:lnTo>
                  <a:pt x="450" y="53"/>
                </a:lnTo>
                <a:lnTo>
                  <a:pt x="450" y="53"/>
                </a:lnTo>
                <a:lnTo>
                  <a:pt x="450" y="53"/>
                </a:lnTo>
                <a:lnTo>
                  <a:pt x="450" y="53"/>
                </a:lnTo>
                <a:lnTo>
                  <a:pt x="450" y="53"/>
                </a:lnTo>
                <a:lnTo>
                  <a:pt x="450" y="53"/>
                </a:lnTo>
                <a:lnTo>
                  <a:pt x="450" y="53"/>
                </a:lnTo>
                <a:lnTo>
                  <a:pt x="452" y="54"/>
                </a:lnTo>
                <a:lnTo>
                  <a:pt x="452" y="54"/>
                </a:lnTo>
                <a:lnTo>
                  <a:pt x="452" y="54"/>
                </a:lnTo>
                <a:lnTo>
                  <a:pt x="452" y="54"/>
                </a:lnTo>
                <a:lnTo>
                  <a:pt x="452" y="54"/>
                </a:lnTo>
                <a:lnTo>
                  <a:pt x="452" y="54"/>
                </a:lnTo>
                <a:lnTo>
                  <a:pt x="452" y="54"/>
                </a:lnTo>
                <a:lnTo>
                  <a:pt x="452" y="55"/>
                </a:lnTo>
                <a:lnTo>
                  <a:pt x="452" y="55"/>
                </a:lnTo>
                <a:lnTo>
                  <a:pt x="452" y="55"/>
                </a:lnTo>
                <a:lnTo>
                  <a:pt x="452" y="55"/>
                </a:lnTo>
                <a:lnTo>
                  <a:pt x="452" y="55"/>
                </a:lnTo>
                <a:lnTo>
                  <a:pt x="453" y="55"/>
                </a:lnTo>
                <a:lnTo>
                  <a:pt x="453" y="55"/>
                </a:lnTo>
                <a:lnTo>
                  <a:pt x="453" y="55"/>
                </a:lnTo>
                <a:lnTo>
                  <a:pt x="453" y="56"/>
                </a:lnTo>
                <a:lnTo>
                  <a:pt x="453" y="56"/>
                </a:lnTo>
                <a:lnTo>
                  <a:pt x="453" y="56"/>
                </a:lnTo>
                <a:lnTo>
                  <a:pt x="453" y="56"/>
                </a:lnTo>
                <a:lnTo>
                  <a:pt x="453" y="56"/>
                </a:lnTo>
                <a:lnTo>
                  <a:pt x="453" y="56"/>
                </a:lnTo>
                <a:lnTo>
                  <a:pt x="453" y="56"/>
                </a:lnTo>
                <a:lnTo>
                  <a:pt x="454" y="56"/>
                </a:lnTo>
                <a:lnTo>
                  <a:pt x="454" y="57"/>
                </a:lnTo>
                <a:lnTo>
                  <a:pt x="454" y="57"/>
                </a:lnTo>
                <a:lnTo>
                  <a:pt x="454" y="57"/>
                </a:lnTo>
                <a:lnTo>
                  <a:pt x="454" y="57"/>
                </a:lnTo>
                <a:lnTo>
                  <a:pt x="454" y="57"/>
                </a:lnTo>
                <a:lnTo>
                  <a:pt x="454" y="57"/>
                </a:lnTo>
                <a:lnTo>
                  <a:pt x="454" y="57"/>
                </a:lnTo>
                <a:lnTo>
                  <a:pt x="454" y="57"/>
                </a:lnTo>
                <a:lnTo>
                  <a:pt x="455" y="57"/>
                </a:lnTo>
                <a:lnTo>
                  <a:pt x="455" y="59"/>
                </a:lnTo>
                <a:lnTo>
                  <a:pt x="455" y="59"/>
                </a:lnTo>
                <a:lnTo>
                  <a:pt x="455" y="59"/>
                </a:lnTo>
                <a:lnTo>
                  <a:pt x="455" y="59"/>
                </a:lnTo>
                <a:lnTo>
                  <a:pt x="455" y="59"/>
                </a:lnTo>
                <a:lnTo>
                  <a:pt x="455" y="59"/>
                </a:lnTo>
                <a:lnTo>
                  <a:pt x="455" y="59"/>
                </a:lnTo>
                <a:lnTo>
                  <a:pt x="455" y="59"/>
                </a:lnTo>
                <a:lnTo>
                  <a:pt x="456" y="60"/>
                </a:lnTo>
                <a:lnTo>
                  <a:pt x="456" y="60"/>
                </a:lnTo>
                <a:lnTo>
                  <a:pt x="456" y="60"/>
                </a:lnTo>
                <a:lnTo>
                  <a:pt x="456" y="60"/>
                </a:lnTo>
                <a:lnTo>
                  <a:pt x="456" y="60"/>
                </a:lnTo>
                <a:lnTo>
                  <a:pt x="456" y="60"/>
                </a:lnTo>
                <a:lnTo>
                  <a:pt x="456" y="60"/>
                </a:lnTo>
                <a:lnTo>
                  <a:pt x="456" y="60"/>
                </a:lnTo>
                <a:lnTo>
                  <a:pt x="456" y="60"/>
                </a:lnTo>
                <a:lnTo>
                  <a:pt x="457" y="60"/>
                </a:lnTo>
                <a:lnTo>
                  <a:pt x="457" y="61"/>
                </a:lnTo>
                <a:lnTo>
                  <a:pt x="457" y="61"/>
                </a:lnTo>
                <a:lnTo>
                  <a:pt x="457" y="61"/>
                </a:lnTo>
                <a:lnTo>
                  <a:pt x="457" y="61"/>
                </a:lnTo>
                <a:lnTo>
                  <a:pt x="457" y="61"/>
                </a:lnTo>
                <a:lnTo>
                  <a:pt x="457" y="61"/>
                </a:lnTo>
                <a:lnTo>
                  <a:pt x="457" y="61"/>
                </a:lnTo>
                <a:lnTo>
                  <a:pt x="458" y="61"/>
                </a:lnTo>
                <a:lnTo>
                  <a:pt x="458" y="61"/>
                </a:lnTo>
                <a:lnTo>
                  <a:pt x="458" y="61"/>
                </a:lnTo>
                <a:lnTo>
                  <a:pt x="458" y="62"/>
                </a:lnTo>
                <a:lnTo>
                  <a:pt x="458" y="62"/>
                </a:lnTo>
                <a:lnTo>
                  <a:pt x="458" y="62"/>
                </a:lnTo>
                <a:lnTo>
                  <a:pt x="458" y="62"/>
                </a:lnTo>
                <a:lnTo>
                  <a:pt x="458" y="62"/>
                </a:lnTo>
                <a:lnTo>
                  <a:pt x="459" y="62"/>
                </a:lnTo>
                <a:lnTo>
                  <a:pt x="459" y="62"/>
                </a:lnTo>
                <a:lnTo>
                  <a:pt x="459" y="62"/>
                </a:lnTo>
                <a:lnTo>
                  <a:pt x="459" y="62"/>
                </a:lnTo>
                <a:lnTo>
                  <a:pt x="459" y="62"/>
                </a:lnTo>
                <a:lnTo>
                  <a:pt x="459" y="62"/>
                </a:lnTo>
                <a:lnTo>
                  <a:pt x="459" y="63"/>
                </a:lnTo>
                <a:lnTo>
                  <a:pt x="459" y="63"/>
                </a:lnTo>
                <a:lnTo>
                  <a:pt x="461" y="63"/>
                </a:lnTo>
                <a:lnTo>
                  <a:pt x="461" y="63"/>
                </a:lnTo>
                <a:lnTo>
                  <a:pt x="461" y="63"/>
                </a:lnTo>
                <a:lnTo>
                  <a:pt x="461" y="63"/>
                </a:lnTo>
                <a:lnTo>
                  <a:pt x="461" y="63"/>
                </a:lnTo>
                <a:lnTo>
                  <a:pt x="461" y="63"/>
                </a:lnTo>
                <a:lnTo>
                  <a:pt x="461" y="63"/>
                </a:lnTo>
                <a:lnTo>
                  <a:pt x="462" y="63"/>
                </a:lnTo>
                <a:lnTo>
                  <a:pt x="462" y="63"/>
                </a:lnTo>
                <a:lnTo>
                  <a:pt x="462" y="63"/>
                </a:lnTo>
                <a:lnTo>
                  <a:pt x="462" y="64"/>
                </a:lnTo>
                <a:lnTo>
                  <a:pt x="462" y="64"/>
                </a:lnTo>
                <a:lnTo>
                  <a:pt x="462" y="64"/>
                </a:lnTo>
                <a:lnTo>
                  <a:pt x="462" y="64"/>
                </a:lnTo>
                <a:lnTo>
                  <a:pt x="463" y="64"/>
                </a:lnTo>
                <a:lnTo>
                  <a:pt x="463" y="64"/>
                </a:lnTo>
                <a:lnTo>
                  <a:pt x="463" y="64"/>
                </a:lnTo>
                <a:lnTo>
                  <a:pt x="463" y="64"/>
                </a:lnTo>
                <a:lnTo>
                  <a:pt x="463" y="64"/>
                </a:lnTo>
                <a:lnTo>
                  <a:pt x="463" y="64"/>
                </a:lnTo>
                <a:lnTo>
                  <a:pt x="463" y="64"/>
                </a:lnTo>
                <a:lnTo>
                  <a:pt x="464" y="64"/>
                </a:lnTo>
                <a:lnTo>
                  <a:pt x="464" y="64"/>
                </a:lnTo>
                <a:lnTo>
                  <a:pt x="464" y="65"/>
                </a:lnTo>
                <a:lnTo>
                  <a:pt x="464" y="65"/>
                </a:lnTo>
                <a:lnTo>
                  <a:pt x="464" y="65"/>
                </a:lnTo>
                <a:lnTo>
                  <a:pt x="464" y="65"/>
                </a:lnTo>
                <a:lnTo>
                  <a:pt x="464" y="65"/>
                </a:lnTo>
                <a:lnTo>
                  <a:pt x="465" y="65"/>
                </a:lnTo>
                <a:lnTo>
                  <a:pt x="465" y="65"/>
                </a:lnTo>
                <a:lnTo>
                  <a:pt x="465" y="65"/>
                </a:lnTo>
                <a:lnTo>
                  <a:pt x="465" y="65"/>
                </a:lnTo>
                <a:lnTo>
                  <a:pt x="465" y="65"/>
                </a:lnTo>
                <a:lnTo>
                  <a:pt x="465" y="65"/>
                </a:lnTo>
                <a:lnTo>
                  <a:pt x="465" y="65"/>
                </a:lnTo>
                <a:lnTo>
                  <a:pt x="466" y="65"/>
                </a:lnTo>
                <a:lnTo>
                  <a:pt x="466" y="65"/>
                </a:lnTo>
                <a:lnTo>
                  <a:pt x="466" y="65"/>
                </a:lnTo>
                <a:lnTo>
                  <a:pt x="466" y="65"/>
                </a:lnTo>
                <a:lnTo>
                  <a:pt x="466" y="65"/>
                </a:lnTo>
                <a:lnTo>
                  <a:pt x="466" y="66"/>
                </a:lnTo>
                <a:lnTo>
                  <a:pt x="467" y="66"/>
                </a:lnTo>
                <a:lnTo>
                  <a:pt x="467" y="66"/>
                </a:lnTo>
                <a:lnTo>
                  <a:pt x="467" y="66"/>
                </a:lnTo>
                <a:lnTo>
                  <a:pt x="467" y="66"/>
                </a:lnTo>
                <a:lnTo>
                  <a:pt x="467" y="66"/>
                </a:lnTo>
                <a:lnTo>
                  <a:pt x="467" y="66"/>
                </a:lnTo>
                <a:lnTo>
                  <a:pt x="467" y="66"/>
                </a:lnTo>
                <a:lnTo>
                  <a:pt x="469" y="66"/>
                </a:lnTo>
                <a:lnTo>
                  <a:pt x="469" y="66"/>
                </a:lnTo>
                <a:lnTo>
                  <a:pt x="469" y="66"/>
                </a:lnTo>
                <a:lnTo>
                  <a:pt x="469" y="66"/>
                </a:lnTo>
                <a:lnTo>
                  <a:pt x="469" y="66"/>
                </a:lnTo>
                <a:lnTo>
                  <a:pt x="469" y="66"/>
                </a:lnTo>
                <a:lnTo>
                  <a:pt x="470" y="66"/>
                </a:lnTo>
                <a:lnTo>
                  <a:pt x="470" y="66"/>
                </a:lnTo>
                <a:lnTo>
                  <a:pt x="470" y="66"/>
                </a:lnTo>
                <a:lnTo>
                  <a:pt x="470" y="66"/>
                </a:lnTo>
                <a:lnTo>
                  <a:pt x="470" y="66"/>
                </a:lnTo>
                <a:lnTo>
                  <a:pt x="470" y="66"/>
                </a:lnTo>
                <a:lnTo>
                  <a:pt x="470" y="66"/>
                </a:lnTo>
                <a:lnTo>
                  <a:pt x="471" y="66"/>
                </a:lnTo>
                <a:lnTo>
                  <a:pt x="471" y="66"/>
                </a:lnTo>
                <a:lnTo>
                  <a:pt x="471" y="66"/>
                </a:lnTo>
                <a:lnTo>
                  <a:pt x="471" y="68"/>
                </a:lnTo>
                <a:lnTo>
                  <a:pt x="471" y="68"/>
                </a:lnTo>
                <a:lnTo>
                  <a:pt x="471" y="68"/>
                </a:lnTo>
                <a:lnTo>
                  <a:pt x="472" y="68"/>
                </a:lnTo>
                <a:lnTo>
                  <a:pt x="472" y="68"/>
                </a:lnTo>
                <a:lnTo>
                  <a:pt x="472" y="68"/>
                </a:lnTo>
                <a:lnTo>
                  <a:pt x="472" y="68"/>
                </a:lnTo>
                <a:lnTo>
                  <a:pt x="472" y="68"/>
                </a:lnTo>
                <a:lnTo>
                  <a:pt x="472" y="68"/>
                </a:lnTo>
                <a:lnTo>
                  <a:pt x="473" y="68"/>
                </a:lnTo>
                <a:lnTo>
                  <a:pt x="473" y="68"/>
                </a:lnTo>
                <a:lnTo>
                  <a:pt x="473" y="68"/>
                </a:lnTo>
                <a:lnTo>
                  <a:pt x="473" y="68"/>
                </a:lnTo>
                <a:lnTo>
                  <a:pt x="473" y="68"/>
                </a:lnTo>
                <a:lnTo>
                  <a:pt x="473" y="68"/>
                </a:lnTo>
                <a:lnTo>
                  <a:pt x="474" y="68"/>
                </a:lnTo>
                <a:lnTo>
                  <a:pt x="474" y="68"/>
                </a:lnTo>
                <a:lnTo>
                  <a:pt x="474" y="68"/>
                </a:lnTo>
                <a:lnTo>
                  <a:pt x="474" y="68"/>
                </a:lnTo>
                <a:lnTo>
                  <a:pt x="474" y="68"/>
                </a:lnTo>
                <a:lnTo>
                  <a:pt x="474" y="68"/>
                </a:lnTo>
                <a:lnTo>
                  <a:pt x="475" y="68"/>
                </a:lnTo>
                <a:lnTo>
                  <a:pt x="475" y="68"/>
                </a:lnTo>
                <a:lnTo>
                  <a:pt x="475" y="68"/>
                </a:lnTo>
                <a:lnTo>
                  <a:pt x="475" y="68"/>
                </a:lnTo>
                <a:lnTo>
                  <a:pt x="475" y="68"/>
                </a:lnTo>
                <a:lnTo>
                  <a:pt x="475" y="68"/>
                </a:lnTo>
                <a:lnTo>
                  <a:pt x="476" y="68"/>
                </a:lnTo>
                <a:lnTo>
                  <a:pt x="476" y="68"/>
                </a:lnTo>
                <a:lnTo>
                  <a:pt x="476" y="68"/>
                </a:lnTo>
                <a:lnTo>
                  <a:pt x="476" y="68"/>
                </a:lnTo>
                <a:lnTo>
                  <a:pt x="476" y="68"/>
                </a:lnTo>
                <a:lnTo>
                  <a:pt x="476" y="68"/>
                </a:lnTo>
                <a:lnTo>
                  <a:pt x="478" y="68"/>
                </a:lnTo>
                <a:lnTo>
                  <a:pt x="478" y="68"/>
                </a:lnTo>
                <a:lnTo>
                  <a:pt x="478" y="68"/>
                </a:lnTo>
                <a:lnTo>
                  <a:pt x="478" y="68"/>
                </a:lnTo>
                <a:lnTo>
                  <a:pt x="478" y="68"/>
                </a:lnTo>
                <a:lnTo>
                  <a:pt x="478" y="68"/>
                </a:lnTo>
                <a:lnTo>
                  <a:pt x="479" y="68"/>
                </a:lnTo>
                <a:lnTo>
                  <a:pt x="479" y="68"/>
                </a:lnTo>
                <a:lnTo>
                  <a:pt x="479" y="68"/>
                </a:lnTo>
                <a:lnTo>
                  <a:pt x="479" y="68"/>
                </a:lnTo>
                <a:lnTo>
                  <a:pt x="479" y="68"/>
                </a:lnTo>
                <a:lnTo>
                  <a:pt x="479" y="68"/>
                </a:lnTo>
                <a:lnTo>
                  <a:pt x="480" y="68"/>
                </a:lnTo>
                <a:lnTo>
                  <a:pt x="480" y="68"/>
                </a:lnTo>
                <a:lnTo>
                  <a:pt x="480" y="68"/>
                </a:lnTo>
                <a:lnTo>
                  <a:pt x="480" y="68"/>
                </a:lnTo>
                <a:lnTo>
                  <a:pt x="480" y="68"/>
                </a:lnTo>
                <a:lnTo>
                  <a:pt x="480" y="68"/>
                </a:lnTo>
                <a:lnTo>
                  <a:pt x="481" y="68"/>
                </a:lnTo>
                <a:lnTo>
                  <a:pt x="481" y="68"/>
                </a:lnTo>
                <a:lnTo>
                  <a:pt x="481" y="68"/>
                </a:lnTo>
                <a:lnTo>
                  <a:pt x="481" y="68"/>
                </a:lnTo>
                <a:lnTo>
                  <a:pt x="481" y="68"/>
                </a:lnTo>
                <a:lnTo>
                  <a:pt x="481" y="68"/>
                </a:lnTo>
                <a:lnTo>
                  <a:pt x="482" y="66"/>
                </a:lnTo>
                <a:lnTo>
                  <a:pt x="482" y="66"/>
                </a:lnTo>
                <a:lnTo>
                  <a:pt x="482" y="66"/>
                </a:lnTo>
                <a:lnTo>
                  <a:pt x="482" y="66"/>
                </a:lnTo>
                <a:lnTo>
                  <a:pt x="482" y="66"/>
                </a:lnTo>
                <a:lnTo>
                  <a:pt x="482" y="66"/>
                </a:lnTo>
                <a:lnTo>
                  <a:pt x="483" y="66"/>
                </a:lnTo>
                <a:lnTo>
                  <a:pt x="483" y="66"/>
                </a:lnTo>
                <a:lnTo>
                  <a:pt x="483" y="66"/>
                </a:lnTo>
                <a:lnTo>
                  <a:pt x="483" y="66"/>
                </a:lnTo>
                <a:lnTo>
                  <a:pt x="483" y="66"/>
                </a:lnTo>
                <a:lnTo>
                  <a:pt x="483" y="66"/>
                </a:lnTo>
                <a:lnTo>
                  <a:pt x="484" y="66"/>
                </a:lnTo>
                <a:lnTo>
                  <a:pt x="484" y="66"/>
                </a:lnTo>
                <a:lnTo>
                  <a:pt x="484" y="66"/>
                </a:lnTo>
                <a:lnTo>
                  <a:pt x="484" y="66"/>
                </a:lnTo>
                <a:lnTo>
                  <a:pt x="484" y="66"/>
                </a:lnTo>
                <a:lnTo>
                  <a:pt x="484" y="66"/>
                </a:lnTo>
                <a:lnTo>
                  <a:pt x="484" y="66"/>
                </a:lnTo>
                <a:lnTo>
                  <a:pt x="485" y="66"/>
                </a:lnTo>
                <a:lnTo>
                  <a:pt x="485" y="66"/>
                </a:lnTo>
                <a:lnTo>
                  <a:pt x="485" y="66"/>
                </a:lnTo>
                <a:lnTo>
                  <a:pt x="485" y="66"/>
                </a:lnTo>
                <a:lnTo>
                  <a:pt x="485" y="66"/>
                </a:lnTo>
                <a:lnTo>
                  <a:pt x="485" y="65"/>
                </a:lnTo>
                <a:lnTo>
                  <a:pt x="487" y="65"/>
                </a:lnTo>
                <a:lnTo>
                  <a:pt x="487" y="65"/>
                </a:lnTo>
                <a:lnTo>
                  <a:pt x="487" y="65"/>
                </a:lnTo>
                <a:lnTo>
                  <a:pt x="487" y="65"/>
                </a:lnTo>
                <a:lnTo>
                  <a:pt x="487" y="65"/>
                </a:lnTo>
                <a:lnTo>
                  <a:pt x="487" y="65"/>
                </a:lnTo>
                <a:lnTo>
                  <a:pt x="487" y="65"/>
                </a:lnTo>
                <a:lnTo>
                  <a:pt x="488" y="65"/>
                </a:lnTo>
                <a:lnTo>
                  <a:pt x="488" y="65"/>
                </a:lnTo>
                <a:lnTo>
                  <a:pt x="488" y="65"/>
                </a:lnTo>
                <a:lnTo>
                  <a:pt x="488" y="65"/>
                </a:lnTo>
                <a:lnTo>
                  <a:pt x="488" y="65"/>
                </a:lnTo>
                <a:lnTo>
                  <a:pt x="488" y="65"/>
                </a:lnTo>
                <a:lnTo>
                  <a:pt x="488" y="65"/>
                </a:lnTo>
                <a:lnTo>
                  <a:pt x="489" y="65"/>
                </a:lnTo>
                <a:lnTo>
                  <a:pt x="489" y="65"/>
                </a:lnTo>
                <a:lnTo>
                  <a:pt x="489" y="64"/>
                </a:lnTo>
                <a:lnTo>
                  <a:pt x="489" y="64"/>
                </a:lnTo>
                <a:lnTo>
                  <a:pt x="489" y="64"/>
                </a:lnTo>
                <a:lnTo>
                  <a:pt x="489" y="64"/>
                </a:lnTo>
                <a:lnTo>
                  <a:pt x="489" y="64"/>
                </a:lnTo>
                <a:lnTo>
                  <a:pt x="490" y="64"/>
                </a:lnTo>
                <a:lnTo>
                  <a:pt x="490" y="64"/>
                </a:lnTo>
                <a:lnTo>
                  <a:pt x="490" y="64"/>
                </a:lnTo>
                <a:lnTo>
                  <a:pt x="490" y="64"/>
                </a:lnTo>
                <a:lnTo>
                  <a:pt x="490" y="64"/>
                </a:lnTo>
                <a:lnTo>
                  <a:pt x="490" y="64"/>
                </a:lnTo>
                <a:lnTo>
                  <a:pt x="490" y="64"/>
                </a:lnTo>
                <a:lnTo>
                  <a:pt x="491" y="64"/>
                </a:lnTo>
                <a:lnTo>
                  <a:pt x="491" y="63"/>
                </a:lnTo>
                <a:lnTo>
                  <a:pt x="491" y="63"/>
                </a:lnTo>
                <a:lnTo>
                  <a:pt x="491" y="63"/>
                </a:lnTo>
                <a:lnTo>
                  <a:pt x="491" y="63"/>
                </a:lnTo>
                <a:lnTo>
                  <a:pt x="491" y="63"/>
                </a:lnTo>
                <a:lnTo>
                  <a:pt x="491" y="63"/>
                </a:lnTo>
                <a:lnTo>
                  <a:pt x="492" y="63"/>
                </a:lnTo>
                <a:lnTo>
                  <a:pt x="492" y="63"/>
                </a:lnTo>
                <a:lnTo>
                  <a:pt x="492" y="63"/>
                </a:lnTo>
                <a:lnTo>
                  <a:pt x="492" y="63"/>
                </a:lnTo>
                <a:lnTo>
                  <a:pt x="492" y="63"/>
                </a:lnTo>
                <a:lnTo>
                  <a:pt x="492" y="63"/>
                </a:lnTo>
                <a:lnTo>
                  <a:pt x="492" y="62"/>
                </a:lnTo>
                <a:lnTo>
                  <a:pt x="493" y="62"/>
                </a:lnTo>
                <a:lnTo>
                  <a:pt x="493" y="62"/>
                </a:lnTo>
                <a:lnTo>
                  <a:pt x="493" y="62"/>
                </a:lnTo>
                <a:lnTo>
                  <a:pt x="493" y="62"/>
                </a:lnTo>
                <a:lnTo>
                  <a:pt x="493" y="62"/>
                </a:lnTo>
                <a:lnTo>
                  <a:pt x="493" y="62"/>
                </a:lnTo>
                <a:lnTo>
                  <a:pt x="493" y="62"/>
                </a:lnTo>
                <a:lnTo>
                  <a:pt x="493" y="62"/>
                </a:lnTo>
                <a:lnTo>
                  <a:pt x="494" y="62"/>
                </a:lnTo>
                <a:lnTo>
                  <a:pt x="494" y="62"/>
                </a:lnTo>
                <a:lnTo>
                  <a:pt x="494" y="61"/>
                </a:lnTo>
                <a:lnTo>
                  <a:pt x="494" y="61"/>
                </a:lnTo>
                <a:lnTo>
                  <a:pt x="494" y="61"/>
                </a:lnTo>
                <a:lnTo>
                  <a:pt x="494" y="61"/>
                </a:lnTo>
                <a:lnTo>
                  <a:pt x="494" y="61"/>
                </a:lnTo>
                <a:lnTo>
                  <a:pt x="494" y="61"/>
                </a:lnTo>
                <a:lnTo>
                  <a:pt x="496" y="61"/>
                </a:lnTo>
                <a:lnTo>
                  <a:pt x="496" y="61"/>
                </a:lnTo>
                <a:lnTo>
                  <a:pt x="496" y="61"/>
                </a:lnTo>
                <a:lnTo>
                  <a:pt x="496" y="61"/>
                </a:lnTo>
                <a:lnTo>
                  <a:pt x="496" y="60"/>
                </a:lnTo>
                <a:lnTo>
                  <a:pt x="496" y="60"/>
                </a:lnTo>
                <a:lnTo>
                  <a:pt x="496" y="60"/>
                </a:lnTo>
                <a:lnTo>
                  <a:pt x="496" y="60"/>
                </a:lnTo>
                <a:lnTo>
                  <a:pt x="497" y="60"/>
                </a:lnTo>
                <a:lnTo>
                  <a:pt x="497" y="60"/>
                </a:lnTo>
                <a:lnTo>
                  <a:pt x="497" y="60"/>
                </a:lnTo>
                <a:lnTo>
                  <a:pt x="497" y="60"/>
                </a:lnTo>
                <a:lnTo>
                  <a:pt x="497" y="60"/>
                </a:lnTo>
                <a:lnTo>
                  <a:pt x="497" y="60"/>
                </a:lnTo>
                <a:lnTo>
                  <a:pt x="497" y="59"/>
                </a:lnTo>
                <a:lnTo>
                  <a:pt x="497" y="59"/>
                </a:lnTo>
                <a:lnTo>
                  <a:pt x="497" y="59"/>
                </a:lnTo>
                <a:lnTo>
                  <a:pt x="498" y="59"/>
                </a:lnTo>
                <a:lnTo>
                  <a:pt x="498" y="59"/>
                </a:lnTo>
                <a:lnTo>
                  <a:pt x="498" y="59"/>
                </a:lnTo>
                <a:lnTo>
                  <a:pt x="498" y="59"/>
                </a:lnTo>
                <a:lnTo>
                  <a:pt x="498" y="59"/>
                </a:lnTo>
                <a:lnTo>
                  <a:pt x="498" y="57"/>
                </a:lnTo>
                <a:lnTo>
                  <a:pt x="498" y="57"/>
                </a:lnTo>
                <a:lnTo>
                  <a:pt x="498" y="57"/>
                </a:lnTo>
                <a:lnTo>
                  <a:pt x="498" y="57"/>
                </a:lnTo>
                <a:lnTo>
                  <a:pt x="499" y="57"/>
                </a:lnTo>
                <a:lnTo>
                  <a:pt x="499" y="57"/>
                </a:lnTo>
                <a:lnTo>
                  <a:pt x="499" y="57"/>
                </a:lnTo>
                <a:lnTo>
                  <a:pt x="499" y="57"/>
                </a:lnTo>
                <a:lnTo>
                  <a:pt x="499" y="57"/>
                </a:lnTo>
                <a:lnTo>
                  <a:pt x="499" y="56"/>
                </a:lnTo>
                <a:lnTo>
                  <a:pt x="499" y="56"/>
                </a:lnTo>
                <a:lnTo>
                  <a:pt x="499" y="56"/>
                </a:lnTo>
                <a:lnTo>
                  <a:pt x="499" y="56"/>
                </a:lnTo>
                <a:lnTo>
                  <a:pt x="499" y="56"/>
                </a:lnTo>
                <a:lnTo>
                  <a:pt x="500" y="56"/>
                </a:lnTo>
                <a:lnTo>
                  <a:pt x="500" y="56"/>
                </a:lnTo>
                <a:lnTo>
                  <a:pt x="500" y="56"/>
                </a:lnTo>
                <a:lnTo>
                  <a:pt x="500" y="55"/>
                </a:lnTo>
                <a:lnTo>
                  <a:pt x="500" y="55"/>
                </a:lnTo>
                <a:lnTo>
                  <a:pt x="500" y="55"/>
                </a:lnTo>
                <a:lnTo>
                  <a:pt x="500" y="55"/>
                </a:lnTo>
                <a:lnTo>
                  <a:pt x="500" y="55"/>
                </a:lnTo>
                <a:lnTo>
                  <a:pt x="500" y="55"/>
                </a:lnTo>
                <a:lnTo>
                  <a:pt x="500" y="55"/>
                </a:lnTo>
                <a:lnTo>
                  <a:pt x="500" y="55"/>
                </a:lnTo>
                <a:lnTo>
                  <a:pt x="501" y="54"/>
                </a:lnTo>
                <a:lnTo>
                  <a:pt x="501" y="54"/>
                </a:lnTo>
                <a:lnTo>
                  <a:pt x="501" y="54"/>
                </a:lnTo>
                <a:lnTo>
                  <a:pt x="501" y="54"/>
                </a:lnTo>
                <a:lnTo>
                  <a:pt x="501" y="54"/>
                </a:lnTo>
                <a:lnTo>
                  <a:pt x="501" y="54"/>
                </a:lnTo>
                <a:lnTo>
                  <a:pt x="501" y="54"/>
                </a:lnTo>
                <a:lnTo>
                  <a:pt x="501" y="53"/>
                </a:lnTo>
                <a:lnTo>
                  <a:pt x="501" y="53"/>
                </a:lnTo>
                <a:lnTo>
                  <a:pt x="501" y="53"/>
                </a:lnTo>
                <a:lnTo>
                  <a:pt x="501" y="53"/>
                </a:lnTo>
                <a:lnTo>
                  <a:pt x="502" y="53"/>
                </a:lnTo>
                <a:lnTo>
                  <a:pt x="502" y="53"/>
                </a:lnTo>
                <a:lnTo>
                  <a:pt x="502" y="53"/>
                </a:lnTo>
                <a:lnTo>
                  <a:pt x="502" y="53"/>
                </a:lnTo>
                <a:lnTo>
                  <a:pt x="502" y="52"/>
                </a:lnTo>
                <a:lnTo>
                  <a:pt x="502" y="52"/>
                </a:lnTo>
                <a:lnTo>
                  <a:pt x="502" y="52"/>
                </a:lnTo>
                <a:lnTo>
                  <a:pt x="502" y="52"/>
                </a:lnTo>
                <a:lnTo>
                  <a:pt x="502" y="52"/>
                </a:lnTo>
                <a:lnTo>
                  <a:pt x="502" y="52"/>
                </a:lnTo>
                <a:lnTo>
                  <a:pt x="502" y="52"/>
                </a:lnTo>
                <a:lnTo>
                  <a:pt x="502" y="51"/>
                </a:lnTo>
                <a:lnTo>
                  <a:pt x="502" y="51"/>
                </a:lnTo>
                <a:lnTo>
                  <a:pt x="502" y="51"/>
                </a:lnTo>
                <a:lnTo>
                  <a:pt x="503" y="51"/>
                </a:lnTo>
                <a:lnTo>
                  <a:pt x="503" y="51"/>
                </a:lnTo>
                <a:lnTo>
                  <a:pt x="503" y="51"/>
                </a:lnTo>
                <a:lnTo>
                  <a:pt x="503" y="51"/>
                </a:lnTo>
                <a:lnTo>
                  <a:pt x="503" y="50"/>
                </a:lnTo>
                <a:lnTo>
                  <a:pt x="503" y="50"/>
                </a:lnTo>
                <a:lnTo>
                  <a:pt x="503" y="50"/>
                </a:lnTo>
                <a:lnTo>
                  <a:pt x="503" y="50"/>
                </a:lnTo>
                <a:lnTo>
                  <a:pt x="503" y="50"/>
                </a:lnTo>
                <a:lnTo>
                  <a:pt x="503" y="50"/>
                </a:lnTo>
                <a:lnTo>
                  <a:pt x="503" y="48"/>
                </a:lnTo>
                <a:lnTo>
                  <a:pt x="503" y="48"/>
                </a:lnTo>
                <a:lnTo>
                  <a:pt x="503" y="48"/>
                </a:lnTo>
                <a:lnTo>
                  <a:pt x="503" y="48"/>
                </a:lnTo>
                <a:lnTo>
                  <a:pt x="503" y="48"/>
                </a:lnTo>
                <a:lnTo>
                  <a:pt x="505" y="48"/>
                </a:lnTo>
                <a:lnTo>
                  <a:pt x="505" y="48"/>
                </a:lnTo>
                <a:lnTo>
                  <a:pt x="505" y="47"/>
                </a:lnTo>
                <a:lnTo>
                  <a:pt x="505" y="47"/>
                </a:lnTo>
                <a:lnTo>
                  <a:pt x="505" y="47"/>
                </a:lnTo>
                <a:lnTo>
                  <a:pt x="505" y="47"/>
                </a:lnTo>
                <a:lnTo>
                  <a:pt x="505" y="47"/>
                </a:lnTo>
                <a:lnTo>
                  <a:pt x="505" y="47"/>
                </a:lnTo>
                <a:lnTo>
                  <a:pt x="505" y="47"/>
                </a:lnTo>
                <a:lnTo>
                  <a:pt x="505" y="46"/>
                </a:lnTo>
                <a:lnTo>
                  <a:pt x="505" y="46"/>
                </a:lnTo>
                <a:lnTo>
                  <a:pt x="505" y="46"/>
                </a:lnTo>
                <a:lnTo>
                  <a:pt x="505" y="46"/>
                </a:lnTo>
                <a:lnTo>
                  <a:pt x="505" y="46"/>
                </a:lnTo>
                <a:lnTo>
                  <a:pt x="505" y="46"/>
                </a:lnTo>
                <a:lnTo>
                  <a:pt x="505" y="45"/>
                </a:lnTo>
                <a:lnTo>
                  <a:pt x="505" y="45"/>
                </a:lnTo>
                <a:lnTo>
                  <a:pt x="505" y="45"/>
                </a:lnTo>
                <a:lnTo>
                  <a:pt x="505" y="45"/>
                </a:lnTo>
                <a:lnTo>
                  <a:pt x="505" y="45"/>
                </a:lnTo>
                <a:lnTo>
                  <a:pt x="505" y="45"/>
                </a:lnTo>
                <a:lnTo>
                  <a:pt x="505" y="44"/>
                </a:lnTo>
                <a:lnTo>
                  <a:pt x="506" y="44"/>
                </a:lnTo>
                <a:lnTo>
                  <a:pt x="506" y="44"/>
                </a:lnTo>
                <a:lnTo>
                  <a:pt x="506" y="44"/>
                </a:lnTo>
                <a:lnTo>
                  <a:pt x="506" y="44"/>
                </a:lnTo>
                <a:lnTo>
                  <a:pt x="506" y="44"/>
                </a:lnTo>
                <a:lnTo>
                  <a:pt x="506" y="44"/>
                </a:lnTo>
                <a:lnTo>
                  <a:pt x="506" y="43"/>
                </a:lnTo>
                <a:lnTo>
                  <a:pt x="506" y="43"/>
                </a:lnTo>
                <a:lnTo>
                  <a:pt x="506" y="43"/>
                </a:lnTo>
                <a:lnTo>
                  <a:pt x="506" y="43"/>
                </a:lnTo>
                <a:lnTo>
                  <a:pt x="506" y="43"/>
                </a:lnTo>
                <a:lnTo>
                  <a:pt x="506" y="43"/>
                </a:lnTo>
                <a:lnTo>
                  <a:pt x="506" y="42"/>
                </a:lnTo>
                <a:lnTo>
                  <a:pt x="506" y="42"/>
                </a:lnTo>
                <a:lnTo>
                  <a:pt x="506" y="42"/>
                </a:lnTo>
                <a:lnTo>
                  <a:pt x="506" y="42"/>
                </a:lnTo>
                <a:lnTo>
                  <a:pt x="506" y="42"/>
                </a:lnTo>
                <a:lnTo>
                  <a:pt x="506" y="42"/>
                </a:lnTo>
                <a:lnTo>
                  <a:pt x="506" y="41"/>
                </a:lnTo>
                <a:lnTo>
                  <a:pt x="506" y="41"/>
                </a:lnTo>
                <a:lnTo>
                  <a:pt x="506" y="41"/>
                </a:lnTo>
                <a:lnTo>
                  <a:pt x="506" y="41"/>
                </a:lnTo>
                <a:lnTo>
                  <a:pt x="506" y="41"/>
                </a:lnTo>
                <a:lnTo>
                  <a:pt x="506" y="41"/>
                </a:lnTo>
                <a:lnTo>
                  <a:pt x="506" y="39"/>
                </a:lnTo>
                <a:lnTo>
                  <a:pt x="506" y="39"/>
                </a:lnTo>
                <a:lnTo>
                  <a:pt x="506" y="39"/>
                </a:lnTo>
                <a:lnTo>
                  <a:pt x="506" y="39"/>
                </a:lnTo>
                <a:lnTo>
                  <a:pt x="506" y="39"/>
                </a:lnTo>
                <a:lnTo>
                  <a:pt x="506" y="39"/>
                </a:lnTo>
                <a:lnTo>
                  <a:pt x="506" y="38"/>
                </a:lnTo>
                <a:lnTo>
                  <a:pt x="506" y="38"/>
                </a:lnTo>
                <a:lnTo>
                  <a:pt x="506" y="38"/>
                </a:lnTo>
                <a:lnTo>
                  <a:pt x="506" y="38"/>
                </a:lnTo>
                <a:lnTo>
                  <a:pt x="506" y="38"/>
                </a:lnTo>
                <a:lnTo>
                  <a:pt x="506" y="38"/>
                </a:lnTo>
                <a:lnTo>
                  <a:pt x="506" y="37"/>
                </a:lnTo>
                <a:lnTo>
                  <a:pt x="506" y="37"/>
                </a:lnTo>
                <a:lnTo>
                  <a:pt x="506" y="37"/>
                </a:lnTo>
                <a:lnTo>
                  <a:pt x="506" y="37"/>
                </a:lnTo>
                <a:lnTo>
                  <a:pt x="506" y="37"/>
                </a:lnTo>
                <a:lnTo>
                  <a:pt x="506" y="37"/>
                </a:lnTo>
                <a:lnTo>
                  <a:pt x="506" y="36"/>
                </a:lnTo>
                <a:lnTo>
                  <a:pt x="506" y="36"/>
                </a:lnTo>
                <a:lnTo>
                  <a:pt x="506" y="36"/>
                </a:lnTo>
                <a:lnTo>
                  <a:pt x="506" y="36"/>
                </a:lnTo>
                <a:lnTo>
                  <a:pt x="506" y="36"/>
                </a:lnTo>
                <a:lnTo>
                  <a:pt x="506" y="36"/>
                </a:lnTo>
                <a:lnTo>
                  <a:pt x="506" y="35"/>
                </a:lnTo>
                <a:lnTo>
                  <a:pt x="506" y="35"/>
                </a:lnTo>
                <a:lnTo>
                  <a:pt x="506" y="35"/>
                </a:lnTo>
                <a:lnTo>
                  <a:pt x="506" y="35"/>
                </a:lnTo>
                <a:lnTo>
                  <a:pt x="506" y="35"/>
                </a:lnTo>
                <a:lnTo>
                  <a:pt x="506" y="35"/>
                </a:lnTo>
                <a:lnTo>
                  <a:pt x="506" y="34"/>
                </a:lnTo>
                <a:lnTo>
                  <a:pt x="506" y="34"/>
                </a:lnTo>
                <a:lnTo>
                  <a:pt x="506" y="34"/>
                </a:lnTo>
                <a:lnTo>
                  <a:pt x="506" y="34"/>
                </a:lnTo>
                <a:lnTo>
                  <a:pt x="506" y="34"/>
                </a:lnTo>
                <a:lnTo>
                  <a:pt x="506" y="34"/>
                </a:lnTo>
                <a:lnTo>
                  <a:pt x="506" y="33"/>
                </a:lnTo>
                <a:lnTo>
                  <a:pt x="506" y="33"/>
                </a:lnTo>
                <a:lnTo>
                  <a:pt x="506" y="33"/>
                </a:lnTo>
                <a:lnTo>
                  <a:pt x="506" y="33"/>
                </a:lnTo>
                <a:lnTo>
                  <a:pt x="506" y="33"/>
                </a:lnTo>
                <a:lnTo>
                  <a:pt x="506" y="33"/>
                </a:lnTo>
                <a:lnTo>
                  <a:pt x="506" y="32"/>
                </a:lnTo>
                <a:lnTo>
                  <a:pt x="506" y="32"/>
                </a:lnTo>
                <a:lnTo>
                  <a:pt x="506" y="32"/>
                </a:lnTo>
                <a:lnTo>
                  <a:pt x="506" y="32"/>
                </a:lnTo>
                <a:lnTo>
                  <a:pt x="506" y="32"/>
                </a:lnTo>
                <a:lnTo>
                  <a:pt x="505" y="32"/>
                </a:lnTo>
                <a:lnTo>
                  <a:pt x="505" y="30"/>
                </a:lnTo>
                <a:lnTo>
                  <a:pt x="505" y="30"/>
                </a:lnTo>
                <a:lnTo>
                  <a:pt x="505" y="30"/>
                </a:lnTo>
                <a:lnTo>
                  <a:pt x="505" y="30"/>
                </a:lnTo>
                <a:lnTo>
                  <a:pt x="505" y="30"/>
                </a:lnTo>
                <a:lnTo>
                  <a:pt x="505" y="30"/>
                </a:lnTo>
                <a:lnTo>
                  <a:pt x="505" y="30"/>
                </a:lnTo>
                <a:lnTo>
                  <a:pt x="505" y="29"/>
                </a:lnTo>
                <a:lnTo>
                  <a:pt x="505" y="29"/>
                </a:lnTo>
                <a:lnTo>
                  <a:pt x="505" y="29"/>
                </a:lnTo>
                <a:lnTo>
                  <a:pt x="505" y="29"/>
                </a:lnTo>
                <a:lnTo>
                  <a:pt x="505" y="29"/>
                </a:lnTo>
                <a:lnTo>
                  <a:pt x="505" y="29"/>
                </a:lnTo>
                <a:lnTo>
                  <a:pt x="505" y="28"/>
                </a:lnTo>
                <a:lnTo>
                  <a:pt x="505" y="28"/>
                </a:lnTo>
                <a:lnTo>
                  <a:pt x="505" y="28"/>
                </a:lnTo>
                <a:lnTo>
                  <a:pt x="505" y="28"/>
                </a:lnTo>
                <a:lnTo>
                  <a:pt x="505" y="28"/>
                </a:lnTo>
                <a:lnTo>
                  <a:pt x="505" y="28"/>
                </a:lnTo>
                <a:lnTo>
                  <a:pt x="505" y="27"/>
                </a:lnTo>
                <a:lnTo>
                  <a:pt x="505" y="27"/>
                </a:lnTo>
                <a:lnTo>
                  <a:pt x="503" y="27"/>
                </a:lnTo>
                <a:lnTo>
                  <a:pt x="503" y="27"/>
                </a:lnTo>
                <a:lnTo>
                  <a:pt x="503" y="27"/>
                </a:lnTo>
                <a:lnTo>
                  <a:pt x="503" y="27"/>
                </a:lnTo>
                <a:lnTo>
                  <a:pt x="503" y="27"/>
                </a:lnTo>
                <a:lnTo>
                  <a:pt x="503" y="26"/>
                </a:lnTo>
                <a:lnTo>
                  <a:pt x="503" y="26"/>
                </a:lnTo>
                <a:lnTo>
                  <a:pt x="503" y="26"/>
                </a:lnTo>
                <a:lnTo>
                  <a:pt x="503" y="26"/>
                </a:lnTo>
                <a:lnTo>
                  <a:pt x="503" y="26"/>
                </a:lnTo>
                <a:lnTo>
                  <a:pt x="503" y="26"/>
                </a:lnTo>
                <a:lnTo>
                  <a:pt x="503" y="26"/>
                </a:lnTo>
                <a:lnTo>
                  <a:pt x="503" y="25"/>
                </a:lnTo>
                <a:lnTo>
                  <a:pt x="503" y="25"/>
                </a:lnTo>
                <a:lnTo>
                  <a:pt x="503" y="25"/>
                </a:lnTo>
                <a:lnTo>
                  <a:pt x="502" y="25"/>
                </a:lnTo>
                <a:lnTo>
                  <a:pt x="502" y="25"/>
                </a:lnTo>
                <a:lnTo>
                  <a:pt x="502" y="25"/>
                </a:lnTo>
                <a:lnTo>
                  <a:pt x="502" y="25"/>
                </a:lnTo>
                <a:lnTo>
                  <a:pt x="502" y="24"/>
                </a:lnTo>
                <a:lnTo>
                  <a:pt x="502" y="24"/>
                </a:lnTo>
                <a:lnTo>
                  <a:pt x="502" y="24"/>
                </a:lnTo>
                <a:lnTo>
                  <a:pt x="502" y="24"/>
                </a:lnTo>
                <a:lnTo>
                  <a:pt x="502" y="24"/>
                </a:lnTo>
                <a:lnTo>
                  <a:pt x="502" y="24"/>
                </a:lnTo>
                <a:lnTo>
                  <a:pt x="502" y="24"/>
                </a:lnTo>
                <a:lnTo>
                  <a:pt x="502" y="23"/>
                </a:lnTo>
                <a:lnTo>
                  <a:pt x="502" y="23"/>
                </a:lnTo>
                <a:lnTo>
                  <a:pt x="502" y="23"/>
                </a:lnTo>
                <a:lnTo>
                  <a:pt x="501" y="23"/>
                </a:lnTo>
                <a:lnTo>
                  <a:pt x="501" y="23"/>
                </a:lnTo>
                <a:lnTo>
                  <a:pt x="501" y="23"/>
                </a:lnTo>
                <a:lnTo>
                  <a:pt x="501" y="23"/>
                </a:lnTo>
                <a:lnTo>
                  <a:pt x="501" y="21"/>
                </a:lnTo>
                <a:lnTo>
                  <a:pt x="501" y="21"/>
                </a:lnTo>
                <a:lnTo>
                  <a:pt x="501" y="21"/>
                </a:lnTo>
                <a:lnTo>
                  <a:pt x="501" y="21"/>
                </a:lnTo>
                <a:lnTo>
                  <a:pt x="501" y="21"/>
                </a:lnTo>
                <a:lnTo>
                  <a:pt x="501" y="21"/>
                </a:lnTo>
                <a:lnTo>
                  <a:pt x="501" y="21"/>
                </a:lnTo>
                <a:lnTo>
                  <a:pt x="500" y="21"/>
                </a:lnTo>
                <a:lnTo>
                  <a:pt x="500" y="20"/>
                </a:lnTo>
                <a:lnTo>
                  <a:pt x="500" y="20"/>
                </a:lnTo>
                <a:lnTo>
                  <a:pt x="500" y="20"/>
                </a:lnTo>
                <a:lnTo>
                  <a:pt x="500" y="20"/>
                </a:lnTo>
                <a:lnTo>
                  <a:pt x="500" y="20"/>
                </a:lnTo>
                <a:lnTo>
                  <a:pt x="500" y="20"/>
                </a:lnTo>
                <a:lnTo>
                  <a:pt x="500" y="20"/>
                </a:lnTo>
                <a:lnTo>
                  <a:pt x="500" y="20"/>
                </a:lnTo>
                <a:lnTo>
                  <a:pt x="500" y="19"/>
                </a:lnTo>
                <a:lnTo>
                  <a:pt x="500" y="19"/>
                </a:lnTo>
                <a:lnTo>
                  <a:pt x="499" y="19"/>
                </a:lnTo>
                <a:lnTo>
                  <a:pt x="499" y="19"/>
                </a:lnTo>
                <a:lnTo>
                  <a:pt x="499" y="19"/>
                </a:lnTo>
                <a:lnTo>
                  <a:pt x="499" y="19"/>
                </a:lnTo>
                <a:lnTo>
                  <a:pt x="499" y="19"/>
                </a:lnTo>
                <a:lnTo>
                  <a:pt x="499" y="19"/>
                </a:lnTo>
                <a:lnTo>
                  <a:pt x="499" y="18"/>
                </a:lnTo>
                <a:lnTo>
                  <a:pt x="499" y="18"/>
                </a:lnTo>
                <a:lnTo>
                  <a:pt x="499" y="18"/>
                </a:lnTo>
                <a:lnTo>
                  <a:pt x="499" y="18"/>
                </a:lnTo>
                <a:lnTo>
                  <a:pt x="498" y="18"/>
                </a:lnTo>
                <a:lnTo>
                  <a:pt x="498" y="18"/>
                </a:lnTo>
                <a:lnTo>
                  <a:pt x="498" y="18"/>
                </a:lnTo>
                <a:lnTo>
                  <a:pt x="498" y="18"/>
                </a:lnTo>
                <a:lnTo>
                  <a:pt x="498" y="17"/>
                </a:lnTo>
                <a:lnTo>
                  <a:pt x="498" y="17"/>
                </a:lnTo>
                <a:lnTo>
                  <a:pt x="498" y="17"/>
                </a:lnTo>
                <a:lnTo>
                  <a:pt x="498" y="17"/>
                </a:lnTo>
                <a:lnTo>
                  <a:pt x="498" y="17"/>
                </a:lnTo>
                <a:lnTo>
                  <a:pt x="497" y="17"/>
                </a:lnTo>
                <a:lnTo>
                  <a:pt x="497" y="17"/>
                </a:lnTo>
                <a:lnTo>
                  <a:pt x="497" y="17"/>
                </a:lnTo>
                <a:lnTo>
                  <a:pt x="497" y="17"/>
                </a:lnTo>
                <a:lnTo>
                  <a:pt x="497" y="16"/>
                </a:lnTo>
                <a:lnTo>
                  <a:pt x="497" y="16"/>
                </a:lnTo>
                <a:lnTo>
                  <a:pt x="497" y="16"/>
                </a:lnTo>
                <a:lnTo>
                  <a:pt x="497" y="16"/>
                </a:lnTo>
                <a:lnTo>
                  <a:pt x="497" y="16"/>
                </a:lnTo>
                <a:lnTo>
                  <a:pt x="496" y="16"/>
                </a:lnTo>
                <a:lnTo>
                  <a:pt x="496" y="16"/>
                </a:lnTo>
                <a:lnTo>
                  <a:pt x="496" y="16"/>
                </a:lnTo>
                <a:lnTo>
                  <a:pt x="496" y="16"/>
                </a:lnTo>
                <a:lnTo>
                  <a:pt x="496" y="16"/>
                </a:lnTo>
                <a:lnTo>
                  <a:pt x="496" y="15"/>
                </a:lnTo>
                <a:lnTo>
                  <a:pt x="496" y="15"/>
                </a:lnTo>
                <a:lnTo>
                  <a:pt x="496" y="15"/>
                </a:lnTo>
                <a:lnTo>
                  <a:pt x="494" y="15"/>
                </a:lnTo>
                <a:lnTo>
                  <a:pt x="494" y="15"/>
                </a:lnTo>
                <a:lnTo>
                  <a:pt x="494" y="15"/>
                </a:lnTo>
                <a:lnTo>
                  <a:pt x="494" y="15"/>
                </a:lnTo>
                <a:lnTo>
                  <a:pt x="494" y="15"/>
                </a:lnTo>
                <a:lnTo>
                  <a:pt x="494" y="15"/>
                </a:lnTo>
                <a:lnTo>
                  <a:pt x="494" y="15"/>
                </a:lnTo>
                <a:lnTo>
                  <a:pt x="494" y="14"/>
                </a:lnTo>
                <a:lnTo>
                  <a:pt x="493" y="14"/>
                </a:lnTo>
                <a:lnTo>
                  <a:pt x="493" y="14"/>
                </a:lnTo>
                <a:lnTo>
                  <a:pt x="493" y="14"/>
                </a:lnTo>
                <a:lnTo>
                  <a:pt x="493" y="14"/>
                </a:lnTo>
                <a:lnTo>
                  <a:pt x="493" y="14"/>
                </a:lnTo>
                <a:lnTo>
                  <a:pt x="493" y="14"/>
                </a:lnTo>
                <a:lnTo>
                  <a:pt x="493" y="14"/>
                </a:lnTo>
                <a:lnTo>
                  <a:pt x="493" y="14"/>
                </a:lnTo>
                <a:lnTo>
                  <a:pt x="492" y="14"/>
                </a:lnTo>
                <a:lnTo>
                  <a:pt x="492" y="14"/>
                </a:lnTo>
                <a:lnTo>
                  <a:pt x="492" y="12"/>
                </a:lnTo>
                <a:lnTo>
                  <a:pt x="492" y="12"/>
                </a:lnTo>
                <a:lnTo>
                  <a:pt x="492" y="12"/>
                </a:lnTo>
                <a:lnTo>
                  <a:pt x="492" y="12"/>
                </a:lnTo>
                <a:lnTo>
                  <a:pt x="492" y="12"/>
                </a:lnTo>
                <a:lnTo>
                  <a:pt x="491" y="12"/>
                </a:lnTo>
                <a:lnTo>
                  <a:pt x="491" y="12"/>
                </a:lnTo>
                <a:lnTo>
                  <a:pt x="491" y="12"/>
                </a:lnTo>
                <a:lnTo>
                  <a:pt x="491" y="12"/>
                </a:lnTo>
                <a:lnTo>
                  <a:pt x="491" y="12"/>
                </a:lnTo>
                <a:lnTo>
                  <a:pt x="491" y="12"/>
                </a:lnTo>
                <a:lnTo>
                  <a:pt x="491" y="12"/>
                </a:lnTo>
                <a:lnTo>
                  <a:pt x="490" y="11"/>
                </a:lnTo>
                <a:lnTo>
                  <a:pt x="490" y="11"/>
                </a:lnTo>
                <a:lnTo>
                  <a:pt x="490" y="11"/>
                </a:lnTo>
                <a:lnTo>
                  <a:pt x="490" y="11"/>
                </a:lnTo>
                <a:lnTo>
                  <a:pt x="490" y="11"/>
                </a:lnTo>
                <a:lnTo>
                  <a:pt x="490" y="11"/>
                </a:lnTo>
                <a:lnTo>
                  <a:pt x="490" y="11"/>
                </a:lnTo>
                <a:lnTo>
                  <a:pt x="489" y="11"/>
                </a:lnTo>
                <a:lnTo>
                  <a:pt x="489" y="11"/>
                </a:lnTo>
                <a:lnTo>
                  <a:pt x="489" y="11"/>
                </a:lnTo>
                <a:lnTo>
                  <a:pt x="489" y="11"/>
                </a:lnTo>
                <a:lnTo>
                  <a:pt x="489" y="11"/>
                </a:lnTo>
                <a:lnTo>
                  <a:pt x="489" y="11"/>
                </a:lnTo>
                <a:lnTo>
                  <a:pt x="489" y="11"/>
                </a:lnTo>
                <a:lnTo>
                  <a:pt x="488" y="10"/>
                </a:lnTo>
                <a:lnTo>
                  <a:pt x="488" y="10"/>
                </a:lnTo>
                <a:lnTo>
                  <a:pt x="488" y="10"/>
                </a:lnTo>
                <a:lnTo>
                  <a:pt x="488" y="10"/>
                </a:lnTo>
                <a:lnTo>
                  <a:pt x="488" y="10"/>
                </a:lnTo>
                <a:lnTo>
                  <a:pt x="488" y="10"/>
                </a:lnTo>
                <a:lnTo>
                  <a:pt x="488" y="10"/>
                </a:lnTo>
                <a:lnTo>
                  <a:pt x="487" y="10"/>
                </a:lnTo>
                <a:lnTo>
                  <a:pt x="487" y="10"/>
                </a:lnTo>
                <a:lnTo>
                  <a:pt x="487" y="10"/>
                </a:lnTo>
                <a:lnTo>
                  <a:pt x="487" y="10"/>
                </a:lnTo>
                <a:lnTo>
                  <a:pt x="487" y="10"/>
                </a:lnTo>
                <a:lnTo>
                  <a:pt x="487" y="10"/>
                </a:lnTo>
                <a:lnTo>
                  <a:pt x="487" y="10"/>
                </a:lnTo>
                <a:lnTo>
                  <a:pt x="485" y="10"/>
                </a:lnTo>
                <a:lnTo>
                  <a:pt x="485" y="10"/>
                </a:lnTo>
                <a:lnTo>
                  <a:pt x="485" y="10"/>
                </a:lnTo>
                <a:lnTo>
                  <a:pt x="485" y="9"/>
                </a:lnTo>
                <a:lnTo>
                  <a:pt x="485" y="9"/>
                </a:lnTo>
                <a:lnTo>
                  <a:pt x="485" y="9"/>
                </a:lnTo>
                <a:lnTo>
                  <a:pt x="484" y="9"/>
                </a:lnTo>
                <a:lnTo>
                  <a:pt x="484" y="9"/>
                </a:lnTo>
                <a:lnTo>
                  <a:pt x="484" y="9"/>
                </a:lnTo>
                <a:lnTo>
                  <a:pt x="484" y="9"/>
                </a:lnTo>
                <a:lnTo>
                  <a:pt x="484" y="9"/>
                </a:lnTo>
                <a:lnTo>
                  <a:pt x="484" y="9"/>
                </a:lnTo>
                <a:lnTo>
                  <a:pt x="484" y="9"/>
                </a:lnTo>
                <a:lnTo>
                  <a:pt x="483" y="9"/>
                </a:lnTo>
                <a:lnTo>
                  <a:pt x="483" y="9"/>
                </a:lnTo>
                <a:lnTo>
                  <a:pt x="483" y="9"/>
                </a:lnTo>
                <a:lnTo>
                  <a:pt x="483" y="9"/>
                </a:lnTo>
                <a:lnTo>
                  <a:pt x="483" y="9"/>
                </a:lnTo>
                <a:lnTo>
                  <a:pt x="483" y="9"/>
                </a:lnTo>
                <a:lnTo>
                  <a:pt x="482" y="9"/>
                </a:lnTo>
                <a:lnTo>
                  <a:pt x="482" y="9"/>
                </a:lnTo>
                <a:lnTo>
                  <a:pt x="482" y="9"/>
                </a:lnTo>
                <a:lnTo>
                  <a:pt x="482" y="9"/>
                </a:lnTo>
                <a:lnTo>
                  <a:pt x="482" y="9"/>
                </a:lnTo>
                <a:lnTo>
                  <a:pt x="482" y="9"/>
                </a:lnTo>
                <a:lnTo>
                  <a:pt x="481" y="9"/>
                </a:lnTo>
                <a:lnTo>
                  <a:pt x="481" y="9"/>
                </a:lnTo>
                <a:lnTo>
                  <a:pt x="481" y="9"/>
                </a:lnTo>
                <a:lnTo>
                  <a:pt x="481" y="9"/>
                </a:lnTo>
                <a:lnTo>
                  <a:pt x="481" y="8"/>
                </a:lnTo>
                <a:lnTo>
                  <a:pt x="481" y="8"/>
                </a:lnTo>
                <a:lnTo>
                  <a:pt x="480" y="8"/>
                </a:lnTo>
                <a:lnTo>
                  <a:pt x="480" y="8"/>
                </a:lnTo>
                <a:lnTo>
                  <a:pt x="480" y="8"/>
                </a:lnTo>
                <a:lnTo>
                  <a:pt x="480" y="8"/>
                </a:lnTo>
                <a:lnTo>
                  <a:pt x="480" y="8"/>
                </a:lnTo>
                <a:lnTo>
                  <a:pt x="480" y="8"/>
                </a:lnTo>
                <a:lnTo>
                  <a:pt x="479" y="8"/>
                </a:lnTo>
                <a:lnTo>
                  <a:pt x="479" y="8"/>
                </a:lnTo>
                <a:lnTo>
                  <a:pt x="479" y="8"/>
                </a:lnTo>
                <a:lnTo>
                  <a:pt x="479" y="8"/>
                </a:lnTo>
                <a:lnTo>
                  <a:pt x="479" y="8"/>
                </a:lnTo>
                <a:lnTo>
                  <a:pt x="479" y="8"/>
                </a:lnTo>
                <a:lnTo>
                  <a:pt x="478" y="8"/>
                </a:lnTo>
                <a:lnTo>
                  <a:pt x="478" y="8"/>
                </a:lnTo>
                <a:lnTo>
                  <a:pt x="478" y="8"/>
                </a:lnTo>
                <a:lnTo>
                  <a:pt x="478" y="8"/>
                </a:lnTo>
                <a:lnTo>
                  <a:pt x="478" y="8"/>
                </a:lnTo>
                <a:lnTo>
                  <a:pt x="478" y="8"/>
                </a:lnTo>
                <a:lnTo>
                  <a:pt x="476" y="8"/>
                </a:lnTo>
                <a:lnTo>
                  <a:pt x="476" y="8"/>
                </a:lnTo>
                <a:lnTo>
                  <a:pt x="476" y="8"/>
                </a:lnTo>
                <a:lnTo>
                  <a:pt x="476" y="8"/>
                </a:lnTo>
                <a:lnTo>
                  <a:pt x="476" y="8"/>
                </a:lnTo>
                <a:lnTo>
                  <a:pt x="476" y="8"/>
                </a:lnTo>
                <a:close/>
                <a:moveTo>
                  <a:pt x="439" y="34"/>
                </a:moveTo>
                <a:lnTo>
                  <a:pt x="439" y="34"/>
                </a:lnTo>
                <a:lnTo>
                  <a:pt x="439" y="34"/>
                </a:lnTo>
                <a:lnTo>
                  <a:pt x="439" y="34"/>
                </a:lnTo>
                <a:lnTo>
                  <a:pt x="439" y="33"/>
                </a:lnTo>
                <a:lnTo>
                  <a:pt x="439" y="33"/>
                </a:lnTo>
                <a:lnTo>
                  <a:pt x="439" y="33"/>
                </a:lnTo>
                <a:lnTo>
                  <a:pt x="439" y="33"/>
                </a:lnTo>
                <a:lnTo>
                  <a:pt x="439" y="32"/>
                </a:lnTo>
                <a:lnTo>
                  <a:pt x="439" y="32"/>
                </a:lnTo>
                <a:lnTo>
                  <a:pt x="439" y="32"/>
                </a:lnTo>
                <a:lnTo>
                  <a:pt x="439" y="32"/>
                </a:lnTo>
                <a:lnTo>
                  <a:pt x="439" y="32"/>
                </a:lnTo>
                <a:lnTo>
                  <a:pt x="439" y="30"/>
                </a:lnTo>
                <a:lnTo>
                  <a:pt x="439" y="30"/>
                </a:lnTo>
                <a:lnTo>
                  <a:pt x="439" y="30"/>
                </a:lnTo>
                <a:lnTo>
                  <a:pt x="439" y="30"/>
                </a:lnTo>
                <a:lnTo>
                  <a:pt x="439" y="30"/>
                </a:lnTo>
                <a:lnTo>
                  <a:pt x="439" y="29"/>
                </a:lnTo>
                <a:lnTo>
                  <a:pt x="439" y="29"/>
                </a:lnTo>
                <a:lnTo>
                  <a:pt x="439" y="29"/>
                </a:lnTo>
                <a:lnTo>
                  <a:pt x="439" y="29"/>
                </a:lnTo>
                <a:lnTo>
                  <a:pt x="439" y="29"/>
                </a:lnTo>
                <a:lnTo>
                  <a:pt x="439" y="28"/>
                </a:lnTo>
                <a:lnTo>
                  <a:pt x="439" y="28"/>
                </a:lnTo>
                <a:lnTo>
                  <a:pt x="440" y="28"/>
                </a:lnTo>
                <a:lnTo>
                  <a:pt x="440" y="28"/>
                </a:lnTo>
                <a:lnTo>
                  <a:pt x="440" y="28"/>
                </a:lnTo>
                <a:lnTo>
                  <a:pt x="440" y="27"/>
                </a:lnTo>
                <a:lnTo>
                  <a:pt x="440" y="27"/>
                </a:lnTo>
                <a:lnTo>
                  <a:pt x="440" y="27"/>
                </a:lnTo>
                <a:lnTo>
                  <a:pt x="440" y="27"/>
                </a:lnTo>
                <a:lnTo>
                  <a:pt x="440" y="27"/>
                </a:lnTo>
                <a:lnTo>
                  <a:pt x="440" y="26"/>
                </a:lnTo>
                <a:lnTo>
                  <a:pt x="440" y="26"/>
                </a:lnTo>
                <a:lnTo>
                  <a:pt x="440" y="26"/>
                </a:lnTo>
                <a:lnTo>
                  <a:pt x="440" y="26"/>
                </a:lnTo>
                <a:lnTo>
                  <a:pt x="440" y="26"/>
                </a:lnTo>
                <a:lnTo>
                  <a:pt x="440" y="25"/>
                </a:lnTo>
                <a:lnTo>
                  <a:pt x="440" y="25"/>
                </a:lnTo>
                <a:lnTo>
                  <a:pt x="440" y="25"/>
                </a:lnTo>
                <a:lnTo>
                  <a:pt x="441" y="25"/>
                </a:lnTo>
                <a:lnTo>
                  <a:pt x="441" y="25"/>
                </a:lnTo>
                <a:lnTo>
                  <a:pt x="441" y="24"/>
                </a:lnTo>
                <a:lnTo>
                  <a:pt x="441" y="24"/>
                </a:lnTo>
                <a:lnTo>
                  <a:pt x="441" y="24"/>
                </a:lnTo>
                <a:lnTo>
                  <a:pt x="441" y="24"/>
                </a:lnTo>
                <a:lnTo>
                  <a:pt x="441" y="24"/>
                </a:lnTo>
                <a:lnTo>
                  <a:pt x="441" y="24"/>
                </a:lnTo>
                <a:lnTo>
                  <a:pt x="441" y="23"/>
                </a:lnTo>
                <a:lnTo>
                  <a:pt x="441" y="23"/>
                </a:lnTo>
                <a:lnTo>
                  <a:pt x="441" y="23"/>
                </a:lnTo>
                <a:lnTo>
                  <a:pt x="441" y="23"/>
                </a:lnTo>
                <a:lnTo>
                  <a:pt x="441" y="23"/>
                </a:lnTo>
                <a:lnTo>
                  <a:pt x="443" y="21"/>
                </a:lnTo>
                <a:lnTo>
                  <a:pt x="443" y="21"/>
                </a:lnTo>
                <a:lnTo>
                  <a:pt x="443" y="21"/>
                </a:lnTo>
                <a:lnTo>
                  <a:pt x="443" y="21"/>
                </a:lnTo>
                <a:lnTo>
                  <a:pt x="443" y="21"/>
                </a:lnTo>
                <a:lnTo>
                  <a:pt x="443" y="21"/>
                </a:lnTo>
                <a:lnTo>
                  <a:pt x="443" y="20"/>
                </a:lnTo>
                <a:lnTo>
                  <a:pt x="443" y="20"/>
                </a:lnTo>
                <a:lnTo>
                  <a:pt x="443" y="20"/>
                </a:lnTo>
                <a:lnTo>
                  <a:pt x="443" y="20"/>
                </a:lnTo>
                <a:lnTo>
                  <a:pt x="443" y="20"/>
                </a:lnTo>
                <a:lnTo>
                  <a:pt x="444" y="19"/>
                </a:lnTo>
                <a:lnTo>
                  <a:pt x="444" y="19"/>
                </a:lnTo>
                <a:lnTo>
                  <a:pt x="444" y="19"/>
                </a:lnTo>
                <a:lnTo>
                  <a:pt x="444" y="19"/>
                </a:lnTo>
                <a:lnTo>
                  <a:pt x="444" y="19"/>
                </a:lnTo>
                <a:lnTo>
                  <a:pt x="444" y="19"/>
                </a:lnTo>
                <a:lnTo>
                  <a:pt x="444" y="18"/>
                </a:lnTo>
                <a:lnTo>
                  <a:pt x="444" y="18"/>
                </a:lnTo>
                <a:lnTo>
                  <a:pt x="444" y="18"/>
                </a:lnTo>
                <a:lnTo>
                  <a:pt x="444" y="18"/>
                </a:lnTo>
                <a:lnTo>
                  <a:pt x="445" y="18"/>
                </a:lnTo>
                <a:lnTo>
                  <a:pt x="445" y="18"/>
                </a:lnTo>
                <a:lnTo>
                  <a:pt x="445" y="17"/>
                </a:lnTo>
                <a:lnTo>
                  <a:pt x="445" y="17"/>
                </a:lnTo>
                <a:lnTo>
                  <a:pt x="445" y="17"/>
                </a:lnTo>
                <a:lnTo>
                  <a:pt x="445" y="17"/>
                </a:lnTo>
                <a:lnTo>
                  <a:pt x="445" y="17"/>
                </a:lnTo>
                <a:lnTo>
                  <a:pt x="445" y="17"/>
                </a:lnTo>
                <a:lnTo>
                  <a:pt x="445" y="16"/>
                </a:lnTo>
                <a:lnTo>
                  <a:pt x="446" y="16"/>
                </a:lnTo>
                <a:lnTo>
                  <a:pt x="446" y="16"/>
                </a:lnTo>
                <a:lnTo>
                  <a:pt x="446" y="16"/>
                </a:lnTo>
                <a:lnTo>
                  <a:pt x="446" y="16"/>
                </a:lnTo>
                <a:lnTo>
                  <a:pt x="446" y="16"/>
                </a:lnTo>
                <a:lnTo>
                  <a:pt x="446" y="15"/>
                </a:lnTo>
                <a:lnTo>
                  <a:pt x="446" y="15"/>
                </a:lnTo>
                <a:lnTo>
                  <a:pt x="446" y="15"/>
                </a:lnTo>
                <a:lnTo>
                  <a:pt x="447" y="15"/>
                </a:lnTo>
                <a:lnTo>
                  <a:pt x="447" y="15"/>
                </a:lnTo>
                <a:lnTo>
                  <a:pt x="447" y="15"/>
                </a:lnTo>
                <a:lnTo>
                  <a:pt x="447" y="14"/>
                </a:lnTo>
                <a:lnTo>
                  <a:pt x="447" y="14"/>
                </a:lnTo>
                <a:lnTo>
                  <a:pt x="447" y="14"/>
                </a:lnTo>
                <a:lnTo>
                  <a:pt x="447" y="14"/>
                </a:lnTo>
                <a:lnTo>
                  <a:pt x="447" y="14"/>
                </a:lnTo>
                <a:lnTo>
                  <a:pt x="448" y="14"/>
                </a:lnTo>
                <a:lnTo>
                  <a:pt x="448" y="14"/>
                </a:lnTo>
                <a:lnTo>
                  <a:pt x="448" y="12"/>
                </a:lnTo>
                <a:lnTo>
                  <a:pt x="448" y="12"/>
                </a:lnTo>
                <a:lnTo>
                  <a:pt x="448" y="12"/>
                </a:lnTo>
                <a:lnTo>
                  <a:pt x="448" y="12"/>
                </a:lnTo>
                <a:lnTo>
                  <a:pt x="448" y="12"/>
                </a:lnTo>
                <a:lnTo>
                  <a:pt x="448" y="12"/>
                </a:lnTo>
                <a:lnTo>
                  <a:pt x="449" y="12"/>
                </a:lnTo>
                <a:lnTo>
                  <a:pt x="449" y="11"/>
                </a:lnTo>
                <a:lnTo>
                  <a:pt x="449" y="11"/>
                </a:lnTo>
                <a:lnTo>
                  <a:pt x="449" y="11"/>
                </a:lnTo>
                <a:lnTo>
                  <a:pt x="449" y="11"/>
                </a:lnTo>
                <a:lnTo>
                  <a:pt x="449" y="11"/>
                </a:lnTo>
                <a:lnTo>
                  <a:pt x="449" y="11"/>
                </a:lnTo>
                <a:lnTo>
                  <a:pt x="450" y="11"/>
                </a:lnTo>
                <a:lnTo>
                  <a:pt x="450" y="10"/>
                </a:lnTo>
                <a:lnTo>
                  <a:pt x="450" y="10"/>
                </a:lnTo>
                <a:lnTo>
                  <a:pt x="450" y="10"/>
                </a:lnTo>
                <a:lnTo>
                  <a:pt x="450" y="10"/>
                </a:lnTo>
                <a:lnTo>
                  <a:pt x="450" y="10"/>
                </a:lnTo>
                <a:lnTo>
                  <a:pt x="452" y="10"/>
                </a:lnTo>
                <a:lnTo>
                  <a:pt x="452" y="10"/>
                </a:lnTo>
                <a:lnTo>
                  <a:pt x="452" y="9"/>
                </a:lnTo>
                <a:lnTo>
                  <a:pt x="452" y="9"/>
                </a:lnTo>
                <a:lnTo>
                  <a:pt x="452" y="9"/>
                </a:lnTo>
                <a:lnTo>
                  <a:pt x="452" y="9"/>
                </a:lnTo>
                <a:lnTo>
                  <a:pt x="452" y="9"/>
                </a:lnTo>
                <a:lnTo>
                  <a:pt x="453" y="9"/>
                </a:lnTo>
                <a:lnTo>
                  <a:pt x="453" y="9"/>
                </a:lnTo>
                <a:lnTo>
                  <a:pt x="453" y="9"/>
                </a:lnTo>
                <a:lnTo>
                  <a:pt x="453" y="8"/>
                </a:lnTo>
                <a:lnTo>
                  <a:pt x="453" y="8"/>
                </a:lnTo>
                <a:lnTo>
                  <a:pt x="453" y="8"/>
                </a:lnTo>
                <a:lnTo>
                  <a:pt x="454" y="8"/>
                </a:lnTo>
                <a:lnTo>
                  <a:pt x="454" y="8"/>
                </a:lnTo>
                <a:lnTo>
                  <a:pt x="454" y="8"/>
                </a:lnTo>
                <a:lnTo>
                  <a:pt x="454" y="8"/>
                </a:lnTo>
                <a:lnTo>
                  <a:pt x="454" y="8"/>
                </a:lnTo>
                <a:lnTo>
                  <a:pt x="454" y="7"/>
                </a:lnTo>
                <a:lnTo>
                  <a:pt x="454" y="7"/>
                </a:lnTo>
                <a:lnTo>
                  <a:pt x="455" y="7"/>
                </a:lnTo>
                <a:lnTo>
                  <a:pt x="455" y="7"/>
                </a:lnTo>
                <a:lnTo>
                  <a:pt x="455" y="7"/>
                </a:lnTo>
                <a:lnTo>
                  <a:pt x="455" y="7"/>
                </a:lnTo>
                <a:lnTo>
                  <a:pt x="455" y="7"/>
                </a:lnTo>
                <a:lnTo>
                  <a:pt x="455" y="7"/>
                </a:lnTo>
                <a:lnTo>
                  <a:pt x="456" y="7"/>
                </a:lnTo>
                <a:lnTo>
                  <a:pt x="456" y="6"/>
                </a:lnTo>
                <a:lnTo>
                  <a:pt x="456" y="6"/>
                </a:lnTo>
                <a:lnTo>
                  <a:pt x="456" y="6"/>
                </a:lnTo>
                <a:lnTo>
                  <a:pt x="456" y="6"/>
                </a:lnTo>
                <a:lnTo>
                  <a:pt x="456" y="6"/>
                </a:lnTo>
                <a:lnTo>
                  <a:pt x="457" y="6"/>
                </a:lnTo>
                <a:lnTo>
                  <a:pt x="457" y="6"/>
                </a:lnTo>
                <a:lnTo>
                  <a:pt x="457" y="6"/>
                </a:lnTo>
                <a:lnTo>
                  <a:pt x="457" y="6"/>
                </a:lnTo>
                <a:lnTo>
                  <a:pt x="457" y="5"/>
                </a:lnTo>
                <a:lnTo>
                  <a:pt x="458" y="5"/>
                </a:lnTo>
                <a:lnTo>
                  <a:pt x="458" y="5"/>
                </a:lnTo>
                <a:lnTo>
                  <a:pt x="458" y="5"/>
                </a:lnTo>
                <a:lnTo>
                  <a:pt x="458" y="5"/>
                </a:lnTo>
                <a:lnTo>
                  <a:pt x="458" y="5"/>
                </a:lnTo>
                <a:lnTo>
                  <a:pt x="458" y="5"/>
                </a:lnTo>
                <a:lnTo>
                  <a:pt x="459" y="5"/>
                </a:lnTo>
                <a:lnTo>
                  <a:pt x="459" y="5"/>
                </a:lnTo>
                <a:lnTo>
                  <a:pt x="459" y="5"/>
                </a:lnTo>
                <a:lnTo>
                  <a:pt x="459" y="5"/>
                </a:lnTo>
                <a:lnTo>
                  <a:pt x="459" y="3"/>
                </a:lnTo>
                <a:lnTo>
                  <a:pt x="461" y="3"/>
                </a:lnTo>
                <a:lnTo>
                  <a:pt x="461" y="3"/>
                </a:lnTo>
                <a:lnTo>
                  <a:pt x="461" y="3"/>
                </a:lnTo>
                <a:lnTo>
                  <a:pt x="461" y="3"/>
                </a:lnTo>
                <a:lnTo>
                  <a:pt x="461" y="3"/>
                </a:lnTo>
                <a:lnTo>
                  <a:pt x="461" y="3"/>
                </a:lnTo>
                <a:lnTo>
                  <a:pt x="462" y="3"/>
                </a:lnTo>
                <a:lnTo>
                  <a:pt x="462" y="3"/>
                </a:lnTo>
                <a:lnTo>
                  <a:pt x="462" y="3"/>
                </a:lnTo>
                <a:lnTo>
                  <a:pt x="462" y="3"/>
                </a:lnTo>
                <a:lnTo>
                  <a:pt x="462" y="3"/>
                </a:lnTo>
                <a:lnTo>
                  <a:pt x="463" y="2"/>
                </a:lnTo>
                <a:lnTo>
                  <a:pt x="463" y="2"/>
                </a:lnTo>
                <a:lnTo>
                  <a:pt x="463" y="2"/>
                </a:lnTo>
                <a:lnTo>
                  <a:pt x="463" y="2"/>
                </a:lnTo>
                <a:lnTo>
                  <a:pt x="463" y="2"/>
                </a:lnTo>
                <a:lnTo>
                  <a:pt x="464" y="2"/>
                </a:lnTo>
                <a:lnTo>
                  <a:pt x="464" y="2"/>
                </a:lnTo>
                <a:lnTo>
                  <a:pt x="464" y="2"/>
                </a:lnTo>
                <a:lnTo>
                  <a:pt x="464" y="2"/>
                </a:lnTo>
                <a:lnTo>
                  <a:pt x="464" y="2"/>
                </a:lnTo>
                <a:lnTo>
                  <a:pt x="464" y="2"/>
                </a:lnTo>
                <a:lnTo>
                  <a:pt x="465" y="2"/>
                </a:lnTo>
                <a:lnTo>
                  <a:pt x="465" y="2"/>
                </a:lnTo>
                <a:lnTo>
                  <a:pt x="465" y="2"/>
                </a:lnTo>
                <a:lnTo>
                  <a:pt x="465" y="2"/>
                </a:lnTo>
                <a:lnTo>
                  <a:pt x="465" y="1"/>
                </a:lnTo>
                <a:lnTo>
                  <a:pt x="466" y="1"/>
                </a:lnTo>
                <a:lnTo>
                  <a:pt x="466" y="1"/>
                </a:lnTo>
                <a:lnTo>
                  <a:pt x="466" y="1"/>
                </a:lnTo>
                <a:lnTo>
                  <a:pt x="466" y="1"/>
                </a:lnTo>
                <a:lnTo>
                  <a:pt x="466" y="1"/>
                </a:lnTo>
                <a:lnTo>
                  <a:pt x="467" y="1"/>
                </a:lnTo>
                <a:lnTo>
                  <a:pt x="467" y="1"/>
                </a:lnTo>
                <a:lnTo>
                  <a:pt x="467" y="1"/>
                </a:lnTo>
                <a:lnTo>
                  <a:pt x="467" y="1"/>
                </a:lnTo>
                <a:lnTo>
                  <a:pt x="467" y="1"/>
                </a:lnTo>
                <a:lnTo>
                  <a:pt x="469" y="1"/>
                </a:lnTo>
                <a:lnTo>
                  <a:pt x="469" y="1"/>
                </a:lnTo>
                <a:lnTo>
                  <a:pt x="469" y="1"/>
                </a:lnTo>
                <a:lnTo>
                  <a:pt x="469" y="1"/>
                </a:lnTo>
                <a:lnTo>
                  <a:pt x="469" y="1"/>
                </a:lnTo>
                <a:lnTo>
                  <a:pt x="470" y="1"/>
                </a:lnTo>
                <a:lnTo>
                  <a:pt x="470" y="1"/>
                </a:lnTo>
                <a:lnTo>
                  <a:pt x="470" y="1"/>
                </a:lnTo>
                <a:lnTo>
                  <a:pt x="470" y="1"/>
                </a:lnTo>
                <a:lnTo>
                  <a:pt x="471" y="1"/>
                </a:lnTo>
                <a:lnTo>
                  <a:pt x="471" y="1"/>
                </a:lnTo>
                <a:lnTo>
                  <a:pt x="471" y="0"/>
                </a:lnTo>
                <a:lnTo>
                  <a:pt x="471" y="0"/>
                </a:lnTo>
                <a:lnTo>
                  <a:pt x="471" y="0"/>
                </a:lnTo>
                <a:lnTo>
                  <a:pt x="472" y="0"/>
                </a:lnTo>
                <a:lnTo>
                  <a:pt x="472" y="0"/>
                </a:lnTo>
                <a:lnTo>
                  <a:pt x="472" y="0"/>
                </a:lnTo>
                <a:lnTo>
                  <a:pt x="472" y="0"/>
                </a:lnTo>
                <a:lnTo>
                  <a:pt x="472" y="0"/>
                </a:lnTo>
                <a:lnTo>
                  <a:pt x="473" y="0"/>
                </a:lnTo>
                <a:lnTo>
                  <a:pt x="473" y="0"/>
                </a:lnTo>
                <a:lnTo>
                  <a:pt x="473" y="0"/>
                </a:lnTo>
                <a:lnTo>
                  <a:pt x="473" y="0"/>
                </a:lnTo>
                <a:lnTo>
                  <a:pt x="473" y="0"/>
                </a:lnTo>
                <a:lnTo>
                  <a:pt x="474" y="0"/>
                </a:lnTo>
                <a:lnTo>
                  <a:pt x="474" y="0"/>
                </a:lnTo>
                <a:lnTo>
                  <a:pt x="474" y="0"/>
                </a:lnTo>
                <a:lnTo>
                  <a:pt x="474" y="0"/>
                </a:lnTo>
                <a:lnTo>
                  <a:pt x="475" y="0"/>
                </a:lnTo>
                <a:lnTo>
                  <a:pt x="475" y="0"/>
                </a:lnTo>
                <a:lnTo>
                  <a:pt x="475" y="0"/>
                </a:lnTo>
                <a:lnTo>
                  <a:pt x="475" y="0"/>
                </a:lnTo>
                <a:lnTo>
                  <a:pt x="475" y="0"/>
                </a:lnTo>
                <a:lnTo>
                  <a:pt x="476" y="0"/>
                </a:lnTo>
                <a:lnTo>
                  <a:pt x="476" y="0"/>
                </a:lnTo>
                <a:lnTo>
                  <a:pt x="476" y="0"/>
                </a:lnTo>
                <a:lnTo>
                  <a:pt x="476" y="0"/>
                </a:lnTo>
                <a:lnTo>
                  <a:pt x="476" y="0"/>
                </a:lnTo>
                <a:lnTo>
                  <a:pt x="478" y="0"/>
                </a:lnTo>
                <a:lnTo>
                  <a:pt x="478" y="0"/>
                </a:lnTo>
                <a:lnTo>
                  <a:pt x="478" y="0"/>
                </a:lnTo>
                <a:lnTo>
                  <a:pt x="478" y="0"/>
                </a:lnTo>
                <a:lnTo>
                  <a:pt x="479" y="0"/>
                </a:lnTo>
                <a:lnTo>
                  <a:pt x="479" y="0"/>
                </a:lnTo>
                <a:lnTo>
                  <a:pt x="479" y="0"/>
                </a:lnTo>
                <a:lnTo>
                  <a:pt x="479" y="0"/>
                </a:lnTo>
                <a:lnTo>
                  <a:pt x="479" y="0"/>
                </a:lnTo>
                <a:lnTo>
                  <a:pt x="480" y="0"/>
                </a:lnTo>
                <a:lnTo>
                  <a:pt x="480" y="0"/>
                </a:lnTo>
                <a:lnTo>
                  <a:pt x="480" y="0"/>
                </a:lnTo>
                <a:lnTo>
                  <a:pt x="480" y="0"/>
                </a:lnTo>
                <a:lnTo>
                  <a:pt x="480" y="0"/>
                </a:lnTo>
                <a:lnTo>
                  <a:pt x="481" y="0"/>
                </a:lnTo>
                <a:lnTo>
                  <a:pt x="481" y="0"/>
                </a:lnTo>
                <a:lnTo>
                  <a:pt x="481" y="0"/>
                </a:lnTo>
                <a:lnTo>
                  <a:pt x="481" y="0"/>
                </a:lnTo>
                <a:lnTo>
                  <a:pt x="481" y="0"/>
                </a:lnTo>
                <a:lnTo>
                  <a:pt x="482" y="0"/>
                </a:lnTo>
                <a:lnTo>
                  <a:pt x="482" y="1"/>
                </a:lnTo>
                <a:lnTo>
                  <a:pt x="482" y="1"/>
                </a:lnTo>
                <a:lnTo>
                  <a:pt x="482" y="1"/>
                </a:lnTo>
                <a:lnTo>
                  <a:pt x="482" y="1"/>
                </a:lnTo>
                <a:lnTo>
                  <a:pt x="483" y="1"/>
                </a:lnTo>
                <a:lnTo>
                  <a:pt x="483" y="1"/>
                </a:lnTo>
                <a:lnTo>
                  <a:pt x="483" y="1"/>
                </a:lnTo>
                <a:lnTo>
                  <a:pt x="483" y="1"/>
                </a:lnTo>
                <a:lnTo>
                  <a:pt x="484" y="1"/>
                </a:lnTo>
                <a:lnTo>
                  <a:pt x="484" y="1"/>
                </a:lnTo>
                <a:lnTo>
                  <a:pt x="484" y="1"/>
                </a:lnTo>
                <a:lnTo>
                  <a:pt x="484" y="1"/>
                </a:lnTo>
                <a:lnTo>
                  <a:pt x="484" y="1"/>
                </a:lnTo>
                <a:lnTo>
                  <a:pt x="485" y="1"/>
                </a:lnTo>
                <a:lnTo>
                  <a:pt x="485" y="1"/>
                </a:lnTo>
                <a:lnTo>
                  <a:pt x="485" y="1"/>
                </a:lnTo>
                <a:lnTo>
                  <a:pt x="485" y="1"/>
                </a:lnTo>
                <a:lnTo>
                  <a:pt x="485" y="1"/>
                </a:lnTo>
                <a:lnTo>
                  <a:pt x="487" y="1"/>
                </a:lnTo>
                <a:lnTo>
                  <a:pt x="487" y="1"/>
                </a:lnTo>
                <a:lnTo>
                  <a:pt x="487" y="1"/>
                </a:lnTo>
                <a:lnTo>
                  <a:pt x="487" y="1"/>
                </a:lnTo>
                <a:lnTo>
                  <a:pt x="487" y="2"/>
                </a:lnTo>
                <a:lnTo>
                  <a:pt x="488" y="2"/>
                </a:lnTo>
                <a:lnTo>
                  <a:pt x="488" y="2"/>
                </a:lnTo>
                <a:lnTo>
                  <a:pt x="488" y="2"/>
                </a:lnTo>
                <a:lnTo>
                  <a:pt x="488" y="2"/>
                </a:lnTo>
                <a:lnTo>
                  <a:pt x="488" y="2"/>
                </a:lnTo>
                <a:lnTo>
                  <a:pt x="488" y="2"/>
                </a:lnTo>
                <a:lnTo>
                  <a:pt x="489" y="2"/>
                </a:lnTo>
                <a:lnTo>
                  <a:pt x="489" y="2"/>
                </a:lnTo>
                <a:lnTo>
                  <a:pt x="489" y="2"/>
                </a:lnTo>
                <a:lnTo>
                  <a:pt x="489" y="2"/>
                </a:lnTo>
                <a:lnTo>
                  <a:pt x="489" y="2"/>
                </a:lnTo>
                <a:lnTo>
                  <a:pt x="490" y="2"/>
                </a:lnTo>
                <a:lnTo>
                  <a:pt x="490" y="2"/>
                </a:lnTo>
                <a:lnTo>
                  <a:pt x="490" y="2"/>
                </a:lnTo>
                <a:lnTo>
                  <a:pt x="490" y="3"/>
                </a:lnTo>
                <a:lnTo>
                  <a:pt x="490" y="3"/>
                </a:lnTo>
                <a:lnTo>
                  <a:pt x="491" y="3"/>
                </a:lnTo>
                <a:lnTo>
                  <a:pt x="491" y="3"/>
                </a:lnTo>
                <a:lnTo>
                  <a:pt x="491" y="3"/>
                </a:lnTo>
                <a:lnTo>
                  <a:pt x="491" y="3"/>
                </a:lnTo>
                <a:lnTo>
                  <a:pt x="491" y="3"/>
                </a:lnTo>
                <a:lnTo>
                  <a:pt x="492" y="3"/>
                </a:lnTo>
                <a:lnTo>
                  <a:pt x="492" y="3"/>
                </a:lnTo>
                <a:lnTo>
                  <a:pt x="492" y="3"/>
                </a:lnTo>
                <a:lnTo>
                  <a:pt x="492" y="3"/>
                </a:lnTo>
                <a:lnTo>
                  <a:pt x="492" y="3"/>
                </a:lnTo>
                <a:lnTo>
                  <a:pt x="492" y="5"/>
                </a:lnTo>
                <a:lnTo>
                  <a:pt x="493" y="5"/>
                </a:lnTo>
                <a:lnTo>
                  <a:pt x="493" y="5"/>
                </a:lnTo>
                <a:lnTo>
                  <a:pt x="493" y="5"/>
                </a:lnTo>
                <a:lnTo>
                  <a:pt x="493" y="5"/>
                </a:lnTo>
                <a:lnTo>
                  <a:pt x="493" y="5"/>
                </a:lnTo>
                <a:lnTo>
                  <a:pt x="494" y="5"/>
                </a:lnTo>
                <a:lnTo>
                  <a:pt x="494" y="5"/>
                </a:lnTo>
                <a:lnTo>
                  <a:pt x="494" y="5"/>
                </a:lnTo>
                <a:lnTo>
                  <a:pt x="494" y="5"/>
                </a:lnTo>
                <a:lnTo>
                  <a:pt x="494" y="5"/>
                </a:lnTo>
                <a:lnTo>
                  <a:pt x="494" y="6"/>
                </a:lnTo>
                <a:lnTo>
                  <a:pt x="496" y="6"/>
                </a:lnTo>
                <a:lnTo>
                  <a:pt x="496" y="6"/>
                </a:lnTo>
                <a:lnTo>
                  <a:pt x="496" y="6"/>
                </a:lnTo>
                <a:lnTo>
                  <a:pt x="496" y="6"/>
                </a:lnTo>
                <a:lnTo>
                  <a:pt x="496" y="6"/>
                </a:lnTo>
                <a:lnTo>
                  <a:pt x="496" y="6"/>
                </a:lnTo>
                <a:lnTo>
                  <a:pt x="497" y="6"/>
                </a:lnTo>
                <a:lnTo>
                  <a:pt x="497" y="6"/>
                </a:lnTo>
                <a:lnTo>
                  <a:pt x="497" y="7"/>
                </a:lnTo>
                <a:lnTo>
                  <a:pt x="497" y="7"/>
                </a:lnTo>
                <a:lnTo>
                  <a:pt x="497" y="7"/>
                </a:lnTo>
                <a:lnTo>
                  <a:pt x="497" y="7"/>
                </a:lnTo>
                <a:lnTo>
                  <a:pt x="498" y="7"/>
                </a:lnTo>
                <a:lnTo>
                  <a:pt x="498" y="7"/>
                </a:lnTo>
                <a:lnTo>
                  <a:pt x="498" y="7"/>
                </a:lnTo>
                <a:lnTo>
                  <a:pt x="498" y="7"/>
                </a:lnTo>
                <a:lnTo>
                  <a:pt x="498" y="7"/>
                </a:lnTo>
                <a:lnTo>
                  <a:pt x="498" y="8"/>
                </a:lnTo>
                <a:lnTo>
                  <a:pt x="499" y="8"/>
                </a:lnTo>
                <a:lnTo>
                  <a:pt x="499" y="8"/>
                </a:lnTo>
                <a:lnTo>
                  <a:pt x="499" y="8"/>
                </a:lnTo>
                <a:lnTo>
                  <a:pt x="499" y="8"/>
                </a:lnTo>
                <a:lnTo>
                  <a:pt x="499" y="8"/>
                </a:lnTo>
                <a:lnTo>
                  <a:pt x="499" y="8"/>
                </a:lnTo>
                <a:lnTo>
                  <a:pt x="500" y="8"/>
                </a:lnTo>
                <a:lnTo>
                  <a:pt x="500" y="9"/>
                </a:lnTo>
                <a:lnTo>
                  <a:pt x="500" y="9"/>
                </a:lnTo>
                <a:lnTo>
                  <a:pt x="500" y="9"/>
                </a:lnTo>
                <a:lnTo>
                  <a:pt x="500" y="9"/>
                </a:lnTo>
                <a:lnTo>
                  <a:pt x="500" y="9"/>
                </a:lnTo>
                <a:lnTo>
                  <a:pt x="500" y="9"/>
                </a:lnTo>
                <a:lnTo>
                  <a:pt x="501" y="9"/>
                </a:lnTo>
                <a:lnTo>
                  <a:pt x="501" y="9"/>
                </a:lnTo>
                <a:lnTo>
                  <a:pt x="501" y="10"/>
                </a:lnTo>
                <a:lnTo>
                  <a:pt x="501" y="10"/>
                </a:lnTo>
                <a:lnTo>
                  <a:pt x="501" y="10"/>
                </a:lnTo>
                <a:lnTo>
                  <a:pt x="501" y="10"/>
                </a:lnTo>
                <a:lnTo>
                  <a:pt x="502" y="10"/>
                </a:lnTo>
                <a:lnTo>
                  <a:pt x="502" y="10"/>
                </a:lnTo>
                <a:lnTo>
                  <a:pt x="502" y="10"/>
                </a:lnTo>
                <a:lnTo>
                  <a:pt x="502" y="11"/>
                </a:lnTo>
                <a:lnTo>
                  <a:pt x="502" y="11"/>
                </a:lnTo>
                <a:lnTo>
                  <a:pt x="502" y="11"/>
                </a:lnTo>
                <a:lnTo>
                  <a:pt x="502" y="11"/>
                </a:lnTo>
                <a:lnTo>
                  <a:pt x="503" y="11"/>
                </a:lnTo>
                <a:lnTo>
                  <a:pt x="503" y="11"/>
                </a:lnTo>
                <a:lnTo>
                  <a:pt x="503" y="11"/>
                </a:lnTo>
                <a:lnTo>
                  <a:pt x="503" y="12"/>
                </a:lnTo>
                <a:lnTo>
                  <a:pt x="503" y="12"/>
                </a:lnTo>
                <a:lnTo>
                  <a:pt x="503" y="12"/>
                </a:lnTo>
                <a:lnTo>
                  <a:pt x="503" y="12"/>
                </a:lnTo>
                <a:lnTo>
                  <a:pt x="505" y="12"/>
                </a:lnTo>
                <a:lnTo>
                  <a:pt x="505" y="12"/>
                </a:lnTo>
                <a:lnTo>
                  <a:pt x="505" y="12"/>
                </a:lnTo>
                <a:lnTo>
                  <a:pt x="505" y="14"/>
                </a:lnTo>
                <a:lnTo>
                  <a:pt x="505" y="14"/>
                </a:lnTo>
                <a:lnTo>
                  <a:pt x="505" y="14"/>
                </a:lnTo>
                <a:lnTo>
                  <a:pt x="505" y="14"/>
                </a:lnTo>
                <a:lnTo>
                  <a:pt x="505" y="14"/>
                </a:lnTo>
                <a:lnTo>
                  <a:pt x="506" y="14"/>
                </a:lnTo>
                <a:lnTo>
                  <a:pt x="506" y="14"/>
                </a:lnTo>
                <a:lnTo>
                  <a:pt x="506" y="15"/>
                </a:lnTo>
                <a:lnTo>
                  <a:pt x="506" y="15"/>
                </a:lnTo>
                <a:lnTo>
                  <a:pt x="506" y="15"/>
                </a:lnTo>
                <a:lnTo>
                  <a:pt x="506" y="15"/>
                </a:lnTo>
                <a:lnTo>
                  <a:pt x="506" y="15"/>
                </a:lnTo>
                <a:lnTo>
                  <a:pt x="506" y="15"/>
                </a:lnTo>
                <a:lnTo>
                  <a:pt x="507" y="16"/>
                </a:lnTo>
                <a:lnTo>
                  <a:pt x="507" y="16"/>
                </a:lnTo>
                <a:lnTo>
                  <a:pt x="507" y="16"/>
                </a:lnTo>
                <a:lnTo>
                  <a:pt x="507" y="16"/>
                </a:lnTo>
                <a:lnTo>
                  <a:pt x="507" y="16"/>
                </a:lnTo>
                <a:lnTo>
                  <a:pt x="507" y="16"/>
                </a:lnTo>
                <a:lnTo>
                  <a:pt x="507" y="17"/>
                </a:lnTo>
                <a:lnTo>
                  <a:pt x="507" y="17"/>
                </a:lnTo>
                <a:lnTo>
                  <a:pt x="507" y="17"/>
                </a:lnTo>
                <a:lnTo>
                  <a:pt x="508" y="17"/>
                </a:lnTo>
                <a:lnTo>
                  <a:pt x="508" y="17"/>
                </a:lnTo>
                <a:lnTo>
                  <a:pt x="508" y="17"/>
                </a:lnTo>
                <a:lnTo>
                  <a:pt x="508" y="18"/>
                </a:lnTo>
                <a:lnTo>
                  <a:pt x="508" y="18"/>
                </a:lnTo>
                <a:lnTo>
                  <a:pt x="508" y="18"/>
                </a:lnTo>
                <a:lnTo>
                  <a:pt x="508" y="18"/>
                </a:lnTo>
                <a:lnTo>
                  <a:pt x="508" y="18"/>
                </a:lnTo>
                <a:lnTo>
                  <a:pt x="508" y="18"/>
                </a:lnTo>
                <a:lnTo>
                  <a:pt x="509" y="19"/>
                </a:lnTo>
                <a:lnTo>
                  <a:pt x="509" y="19"/>
                </a:lnTo>
                <a:lnTo>
                  <a:pt x="509" y="19"/>
                </a:lnTo>
                <a:lnTo>
                  <a:pt x="509" y="19"/>
                </a:lnTo>
                <a:lnTo>
                  <a:pt x="509" y="19"/>
                </a:lnTo>
                <a:lnTo>
                  <a:pt x="509" y="19"/>
                </a:lnTo>
                <a:lnTo>
                  <a:pt x="509" y="20"/>
                </a:lnTo>
                <a:lnTo>
                  <a:pt x="509" y="20"/>
                </a:lnTo>
                <a:lnTo>
                  <a:pt x="509" y="20"/>
                </a:lnTo>
                <a:lnTo>
                  <a:pt x="509" y="20"/>
                </a:lnTo>
                <a:lnTo>
                  <a:pt x="510" y="20"/>
                </a:lnTo>
                <a:lnTo>
                  <a:pt x="510" y="21"/>
                </a:lnTo>
                <a:lnTo>
                  <a:pt x="510" y="21"/>
                </a:lnTo>
                <a:lnTo>
                  <a:pt x="510" y="21"/>
                </a:lnTo>
                <a:lnTo>
                  <a:pt x="510" y="21"/>
                </a:lnTo>
                <a:lnTo>
                  <a:pt x="510" y="21"/>
                </a:lnTo>
                <a:lnTo>
                  <a:pt x="510" y="21"/>
                </a:lnTo>
                <a:lnTo>
                  <a:pt x="510" y="23"/>
                </a:lnTo>
                <a:lnTo>
                  <a:pt x="510" y="23"/>
                </a:lnTo>
                <a:lnTo>
                  <a:pt x="510" y="23"/>
                </a:lnTo>
                <a:lnTo>
                  <a:pt x="510" y="23"/>
                </a:lnTo>
                <a:lnTo>
                  <a:pt x="510" y="23"/>
                </a:lnTo>
                <a:lnTo>
                  <a:pt x="511" y="24"/>
                </a:lnTo>
                <a:lnTo>
                  <a:pt x="511" y="24"/>
                </a:lnTo>
                <a:lnTo>
                  <a:pt x="511" y="24"/>
                </a:lnTo>
                <a:lnTo>
                  <a:pt x="511" y="24"/>
                </a:lnTo>
                <a:lnTo>
                  <a:pt x="511" y="24"/>
                </a:lnTo>
                <a:lnTo>
                  <a:pt x="511" y="24"/>
                </a:lnTo>
                <a:lnTo>
                  <a:pt x="511" y="25"/>
                </a:lnTo>
                <a:lnTo>
                  <a:pt x="511" y="25"/>
                </a:lnTo>
                <a:lnTo>
                  <a:pt x="511" y="25"/>
                </a:lnTo>
                <a:lnTo>
                  <a:pt x="511" y="25"/>
                </a:lnTo>
                <a:lnTo>
                  <a:pt x="511" y="25"/>
                </a:lnTo>
                <a:lnTo>
                  <a:pt x="511" y="26"/>
                </a:lnTo>
                <a:lnTo>
                  <a:pt x="511" y="26"/>
                </a:lnTo>
                <a:lnTo>
                  <a:pt x="512" y="26"/>
                </a:lnTo>
                <a:lnTo>
                  <a:pt x="512" y="26"/>
                </a:lnTo>
                <a:lnTo>
                  <a:pt x="512" y="26"/>
                </a:lnTo>
                <a:lnTo>
                  <a:pt x="512" y="27"/>
                </a:lnTo>
                <a:lnTo>
                  <a:pt x="512" y="27"/>
                </a:lnTo>
                <a:lnTo>
                  <a:pt x="512" y="27"/>
                </a:lnTo>
                <a:lnTo>
                  <a:pt x="512" y="27"/>
                </a:lnTo>
                <a:lnTo>
                  <a:pt x="512" y="27"/>
                </a:lnTo>
                <a:lnTo>
                  <a:pt x="512" y="28"/>
                </a:lnTo>
                <a:lnTo>
                  <a:pt x="512" y="28"/>
                </a:lnTo>
                <a:lnTo>
                  <a:pt x="512" y="28"/>
                </a:lnTo>
                <a:lnTo>
                  <a:pt x="512" y="28"/>
                </a:lnTo>
                <a:lnTo>
                  <a:pt x="512" y="28"/>
                </a:lnTo>
                <a:lnTo>
                  <a:pt x="512" y="29"/>
                </a:lnTo>
                <a:lnTo>
                  <a:pt x="512" y="29"/>
                </a:lnTo>
                <a:lnTo>
                  <a:pt x="512" y="29"/>
                </a:lnTo>
                <a:lnTo>
                  <a:pt x="512" y="29"/>
                </a:lnTo>
                <a:lnTo>
                  <a:pt x="512" y="29"/>
                </a:lnTo>
                <a:lnTo>
                  <a:pt x="512" y="30"/>
                </a:lnTo>
                <a:lnTo>
                  <a:pt x="514" y="30"/>
                </a:lnTo>
                <a:lnTo>
                  <a:pt x="514" y="30"/>
                </a:lnTo>
                <a:lnTo>
                  <a:pt x="514" y="30"/>
                </a:lnTo>
                <a:lnTo>
                  <a:pt x="514" y="30"/>
                </a:lnTo>
                <a:lnTo>
                  <a:pt x="514" y="32"/>
                </a:lnTo>
                <a:lnTo>
                  <a:pt x="514" y="32"/>
                </a:lnTo>
                <a:lnTo>
                  <a:pt x="514" y="32"/>
                </a:lnTo>
                <a:lnTo>
                  <a:pt x="514" y="32"/>
                </a:lnTo>
                <a:lnTo>
                  <a:pt x="514" y="32"/>
                </a:lnTo>
                <a:lnTo>
                  <a:pt x="514" y="33"/>
                </a:lnTo>
                <a:lnTo>
                  <a:pt x="514" y="33"/>
                </a:lnTo>
                <a:lnTo>
                  <a:pt x="514" y="33"/>
                </a:lnTo>
                <a:lnTo>
                  <a:pt x="514" y="33"/>
                </a:lnTo>
                <a:lnTo>
                  <a:pt x="514" y="34"/>
                </a:lnTo>
                <a:lnTo>
                  <a:pt x="514" y="34"/>
                </a:lnTo>
                <a:lnTo>
                  <a:pt x="514" y="34"/>
                </a:lnTo>
                <a:lnTo>
                  <a:pt x="514" y="34"/>
                </a:lnTo>
                <a:lnTo>
                  <a:pt x="514" y="34"/>
                </a:lnTo>
                <a:lnTo>
                  <a:pt x="514" y="35"/>
                </a:lnTo>
                <a:lnTo>
                  <a:pt x="514" y="35"/>
                </a:lnTo>
                <a:lnTo>
                  <a:pt x="514" y="35"/>
                </a:lnTo>
                <a:lnTo>
                  <a:pt x="514" y="35"/>
                </a:lnTo>
                <a:lnTo>
                  <a:pt x="514" y="35"/>
                </a:lnTo>
                <a:lnTo>
                  <a:pt x="514" y="36"/>
                </a:lnTo>
                <a:lnTo>
                  <a:pt x="514" y="36"/>
                </a:lnTo>
                <a:lnTo>
                  <a:pt x="514" y="36"/>
                </a:lnTo>
                <a:lnTo>
                  <a:pt x="514" y="36"/>
                </a:lnTo>
                <a:lnTo>
                  <a:pt x="514" y="36"/>
                </a:lnTo>
                <a:lnTo>
                  <a:pt x="514" y="37"/>
                </a:lnTo>
                <a:lnTo>
                  <a:pt x="514" y="37"/>
                </a:lnTo>
                <a:lnTo>
                  <a:pt x="514" y="37"/>
                </a:lnTo>
                <a:lnTo>
                  <a:pt x="514" y="37"/>
                </a:lnTo>
                <a:lnTo>
                  <a:pt x="514" y="38"/>
                </a:lnTo>
                <a:lnTo>
                  <a:pt x="514" y="38"/>
                </a:lnTo>
                <a:lnTo>
                  <a:pt x="514" y="38"/>
                </a:lnTo>
                <a:lnTo>
                  <a:pt x="514" y="38"/>
                </a:lnTo>
                <a:lnTo>
                  <a:pt x="514" y="38"/>
                </a:lnTo>
                <a:lnTo>
                  <a:pt x="514" y="39"/>
                </a:lnTo>
                <a:lnTo>
                  <a:pt x="514" y="39"/>
                </a:lnTo>
                <a:lnTo>
                  <a:pt x="514" y="39"/>
                </a:lnTo>
                <a:lnTo>
                  <a:pt x="514" y="39"/>
                </a:lnTo>
                <a:lnTo>
                  <a:pt x="514" y="39"/>
                </a:lnTo>
                <a:lnTo>
                  <a:pt x="514" y="41"/>
                </a:lnTo>
                <a:lnTo>
                  <a:pt x="514" y="41"/>
                </a:lnTo>
                <a:lnTo>
                  <a:pt x="514" y="41"/>
                </a:lnTo>
                <a:lnTo>
                  <a:pt x="514" y="41"/>
                </a:lnTo>
                <a:lnTo>
                  <a:pt x="514" y="42"/>
                </a:lnTo>
                <a:lnTo>
                  <a:pt x="514" y="42"/>
                </a:lnTo>
                <a:lnTo>
                  <a:pt x="514" y="42"/>
                </a:lnTo>
                <a:lnTo>
                  <a:pt x="514" y="42"/>
                </a:lnTo>
                <a:lnTo>
                  <a:pt x="514" y="42"/>
                </a:lnTo>
                <a:lnTo>
                  <a:pt x="514" y="43"/>
                </a:lnTo>
                <a:lnTo>
                  <a:pt x="514" y="43"/>
                </a:lnTo>
                <a:lnTo>
                  <a:pt x="514" y="43"/>
                </a:lnTo>
                <a:lnTo>
                  <a:pt x="514" y="43"/>
                </a:lnTo>
                <a:lnTo>
                  <a:pt x="514" y="43"/>
                </a:lnTo>
                <a:lnTo>
                  <a:pt x="514" y="44"/>
                </a:lnTo>
                <a:lnTo>
                  <a:pt x="514" y="44"/>
                </a:lnTo>
                <a:lnTo>
                  <a:pt x="514" y="44"/>
                </a:lnTo>
                <a:lnTo>
                  <a:pt x="514" y="44"/>
                </a:lnTo>
                <a:lnTo>
                  <a:pt x="514" y="44"/>
                </a:lnTo>
                <a:lnTo>
                  <a:pt x="514" y="45"/>
                </a:lnTo>
                <a:lnTo>
                  <a:pt x="514" y="45"/>
                </a:lnTo>
                <a:lnTo>
                  <a:pt x="514" y="45"/>
                </a:lnTo>
                <a:lnTo>
                  <a:pt x="514" y="45"/>
                </a:lnTo>
                <a:lnTo>
                  <a:pt x="512" y="45"/>
                </a:lnTo>
                <a:lnTo>
                  <a:pt x="512" y="46"/>
                </a:lnTo>
                <a:lnTo>
                  <a:pt x="512" y="46"/>
                </a:lnTo>
                <a:lnTo>
                  <a:pt x="512" y="46"/>
                </a:lnTo>
                <a:lnTo>
                  <a:pt x="512" y="46"/>
                </a:lnTo>
                <a:lnTo>
                  <a:pt x="512" y="46"/>
                </a:lnTo>
                <a:lnTo>
                  <a:pt x="512" y="47"/>
                </a:lnTo>
                <a:lnTo>
                  <a:pt x="512" y="47"/>
                </a:lnTo>
                <a:lnTo>
                  <a:pt x="512" y="47"/>
                </a:lnTo>
                <a:lnTo>
                  <a:pt x="512" y="47"/>
                </a:lnTo>
                <a:lnTo>
                  <a:pt x="512" y="47"/>
                </a:lnTo>
                <a:lnTo>
                  <a:pt x="512" y="48"/>
                </a:lnTo>
                <a:lnTo>
                  <a:pt x="512" y="48"/>
                </a:lnTo>
                <a:lnTo>
                  <a:pt x="512" y="48"/>
                </a:lnTo>
                <a:lnTo>
                  <a:pt x="512" y="48"/>
                </a:lnTo>
                <a:lnTo>
                  <a:pt x="512" y="48"/>
                </a:lnTo>
                <a:lnTo>
                  <a:pt x="512" y="50"/>
                </a:lnTo>
                <a:lnTo>
                  <a:pt x="512" y="50"/>
                </a:lnTo>
                <a:lnTo>
                  <a:pt x="512" y="50"/>
                </a:lnTo>
                <a:lnTo>
                  <a:pt x="511" y="50"/>
                </a:lnTo>
                <a:lnTo>
                  <a:pt x="511" y="50"/>
                </a:lnTo>
                <a:lnTo>
                  <a:pt x="511" y="51"/>
                </a:lnTo>
                <a:lnTo>
                  <a:pt x="511" y="51"/>
                </a:lnTo>
                <a:lnTo>
                  <a:pt x="511" y="51"/>
                </a:lnTo>
                <a:lnTo>
                  <a:pt x="511" y="51"/>
                </a:lnTo>
                <a:lnTo>
                  <a:pt x="511" y="51"/>
                </a:lnTo>
                <a:lnTo>
                  <a:pt x="511" y="52"/>
                </a:lnTo>
                <a:lnTo>
                  <a:pt x="511" y="52"/>
                </a:lnTo>
                <a:lnTo>
                  <a:pt x="511" y="52"/>
                </a:lnTo>
                <a:lnTo>
                  <a:pt x="511" y="52"/>
                </a:lnTo>
                <a:lnTo>
                  <a:pt x="511" y="52"/>
                </a:lnTo>
                <a:lnTo>
                  <a:pt x="511" y="53"/>
                </a:lnTo>
                <a:lnTo>
                  <a:pt x="510" y="53"/>
                </a:lnTo>
                <a:lnTo>
                  <a:pt x="510" y="53"/>
                </a:lnTo>
                <a:lnTo>
                  <a:pt x="510" y="53"/>
                </a:lnTo>
                <a:lnTo>
                  <a:pt x="510" y="53"/>
                </a:lnTo>
                <a:lnTo>
                  <a:pt x="510" y="53"/>
                </a:lnTo>
                <a:lnTo>
                  <a:pt x="510" y="54"/>
                </a:lnTo>
                <a:lnTo>
                  <a:pt x="510" y="54"/>
                </a:lnTo>
                <a:lnTo>
                  <a:pt x="510" y="54"/>
                </a:lnTo>
                <a:lnTo>
                  <a:pt x="510" y="54"/>
                </a:lnTo>
                <a:lnTo>
                  <a:pt x="510" y="54"/>
                </a:lnTo>
                <a:lnTo>
                  <a:pt x="510" y="55"/>
                </a:lnTo>
                <a:lnTo>
                  <a:pt x="510" y="55"/>
                </a:lnTo>
                <a:lnTo>
                  <a:pt x="509" y="55"/>
                </a:lnTo>
                <a:lnTo>
                  <a:pt x="509" y="55"/>
                </a:lnTo>
                <a:lnTo>
                  <a:pt x="509" y="55"/>
                </a:lnTo>
                <a:lnTo>
                  <a:pt x="509" y="55"/>
                </a:lnTo>
                <a:lnTo>
                  <a:pt x="509" y="56"/>
                </a:lnTo>
                <a:lnTo>
                  <a:pt x="509" y="56"/>
                </a:lnTo>
                <a:lnTo>
                  <a:pt x="509" y="56"/>
                </a:lnTo>
                <a:lnTo>
                  <a:pt x="509" y="56"/>
                </a:lnTo>
                <a:lnTo>
                  <a:pt x="509" y="56"/>
                </a:lnTo>
                <a:lnTo>
                  <a:pt x="509" y="57"/>
                </a:lnTo>
                <a:lnTo>
                  <a:pt x="508" y="57"/>
                </a:lnTo>
                <a:lnTo>
                  <a:pt x="508" y="57"/>
                </a:lnTo>
                <a:lnTo>
                  <a:pt x="508" y="57"/>
                </a:lnTo>
                <a:lnTo>
                  <a:pt x="508" y="57"/>
                </a:lnTo>
                <a:lnTo>
                  <a:pt x="508" y="57"/>
                </a:lnTo>
                <a:lnTo>
                  <a:pt x="508" y="59"/>
                </a:lnTo>
                <a:lnTo>
                  <a:pt x="508" y="59"/>
                </a:lnTo>
                <a:lnTo>
                  <a:pt x="508" y="59"/>
                </a:lnTo>
                <a:lnTo>
                  <a:pt x="508" y="59"/>
                </a:lnTo>
                <a:lnTo>
                  <a:pt x="507" y="59"/>
                </a:lnTo>
                <a:lnTo>
                  <a:pt x="507" y="59"/>
                </a:lnTo>
                <a:lnTo>
                  <a:pt x="507" y="60"/>
                </a:lnTo>
                <a:lnTo>
                  <a:pt x="507" y="60"/>
                </a:lnTo>
                <a:lnTo>
                  <a:pt x="507" y="60"/>
                </a:lnTo>
                <a:lnTo>
                  <a:pt x="507" y="60"/>
                </a:lnTo>
                <a:lnTo>
                  <a:pt x="507" y="60"/>
                </a:lnTo>
                <a:lnTo>
                  <a:pt x="507" y="60"/>
                </a:lnTo>
                <a:lnTo>
                  <a:pt x="507" y="61"/>
                </a:lnTo>
                <a:lnTo>
                  <a:pt x="506" y="61"/>
                </a:lnTo>
                <a:lnTo>
                  <a:pt x="506" y="61"/>
                </a:lnTo>
                <a:lnTo>
                  <a:pt x="506" y="61"/>
                </a:lnTo>
                <a:lnTo>
                  <a:pt x="506" y="61"/>
                </a:lnTo>
                <a:lnTo>
                  <a:pt x="506" y="61"/>
                </a:lnTo>
                <a:lnTo>
                  <a:pt x="506" y="61"/>
                </a:lnTo>
                <a:lnTo>
                  <a:pt x="506" y="62"/>
                </a:lnTo>
                <a:lnTo>
                  <a:pt x="506" y="62"/>
                </a:lnTo>
                <a:lnTo>
                  <a:pt x="505" y="62"/>
                </a:lnTo>
                <a:lnTo>
                  <a:pt x="505" y="62"/>
                </a:lnTo>
                <a:lnTo>
                  <a:pt x="505" y="62"/>
                </a:lnTo>
                <a:lnTo>
                  <a:pt x="505" y="62"/>
                </a:lnTo>
                <a:lnTo>
                  <a:pt x="505" y="63"/>
                </a:lnTo>
                <a:lnTo>
                  <a:pt x="505" y="63"/>
                </a:lnTo>
                <a:lnTo>
                  <a:pt x="505" y="63"/>
                </a:lnTo>
                <a:lnTo>
                  <a:pt x="505" y="63"/>
                </a:lnTo>
                <a:lnTo>
                  <a:pt x="503" y="63"/>
                </a:lnTo>
                <a:lnTo>
                  <a:pt x="503" y="63"/>
                </a:lnTo>
                <a:lnTo>
                  <a:pt x="503" y="63"/>
                </a:lnTo>
                <a:lnTo>
                  <a:pt x="503" y="64"/>
                </a:lnTo>
                <a:lnTo>
                  <a:pt x="503" y="64"/>
                </a:lnTo>
                <a:lnTo>
                  <a:pt x="503" y="64"/>
                </a:lnTo>
                <a:lnTo>
                  <a:pt x="503" y="64"/>
                </a:lnTo>
                <a:lnTo>
                  <a:pt x="502" y="64"/>
                </a:lnTo>
                <a:lnTo>
                  <a:pt x="502" y="64"/>
                </a:lnTo>
                <a:lnTo>
                  <a:pt x="502" y="64"/>
                </a:lnTo>
                <a:lnTo>
                  <a:pt x="502" y="65"/>
                </a:lnTo>
                <a:lnTo>
                  <a:pt x="502" y="65"/>
                </a:lnTo>
                <a:lnTo>
                  <a:pt x="502" y="65"/>
                </a:lnTo>
                <a:lnTo>
                  <a:pt x="502" y="65"/>
                </a:lnTo>
                <a:lnTo>
                  <a:pt x="501" y="65"/>
                </a:lnTo>
                <a:lnTo>
                  <a:pt x="501" y="65"/>
                </a:lnTo>
                <a:lnTo>
                  <a:pt x="501" y="65"/>
                </a:lnTo>
                <a:lnTo>
                  <a:pt x="501" y="66"/>
                </a:lnTo>
                <a:lnTo>
                  <a:pt x="501" y="66"/>
                </a:lnTo>
                <a:lnTo>
                  <a:pt x="501" y="66"/>
                </a:lnTo>
                <a:lnTo>
                  <a:pt x="500" y="66"/>
                </a:lnTo>
                <a:lnTo>
                  <a:pt x="500" y="66"/>
                </a:lnTo>
                <a:lnTo>
                  <a:pt x="500" y="66"/>
                </a:lnTo>
                <a:lnTo>
                  <a:pt x="500" y="66"/>
                </a:lnTo>
                <a:lnTo>
                  <a:pt x="500" y="66"/>
                </a:lnTo>
                <a:lnTo>
                  <a:pt x="500" y="68"/>
                </a:lnTo>
                <a:lnTo>
                  <a:pt x="500" y="68"/>
                </a:lnTo>
                <a:lnTo>
                  <a:pt x="499" y="68"/>
                </a:lnTo>
                <a:lnTo>
                  <a:pt x="499" y="68"/>
                </a:lnTo>
                <a:lnTo>
                  <a:pt x="499" y="68"/>
                </a:lnTo>
                <a:lnTo>
                  <a:pt x="499" y="68"/>
                </a:lnTo>
                <a:lnTo>
                  <a:pt x="499" y="68"/>
                </a:lnTo>
                <a:lnTo>
                  <a:pt x="499" y="68"/>
                </a:lnTo>
                <a:lnTo>
                  <a:pt x="498" y="69"/>
                </a:lnTo>
                <a:lnTo>
                  <a:pt x="498" y="69"/>
                </a:lnTo>
                <a:lnTo>
                  <a:pt x="498" y="69"/>
                </a:lnTo>
                <a:lnTo>
                  <a:pt x="498" y="69"/>
                </a:lnTo>
                <a:lnTo>
                  <a:pt x="498" y="69"/>
                </a:lnTo>
                <a:lnTo>
                  <a:pt x="498" y="69"/>
                </a:lnTo>
                <a:lnTo>
                  <a:pt x="497" y="69"/>
                </a:lnTo>
                <a:lnTo>
                  <a:pt x="497" y="69"/>
                </a:lnTo>
                <a:lnTo>
                  <a:pt x="497" y="69"/>
                </a:lnTo>
                <a:lnTo>
                  <a:pt x="497" y="70"/>
                </a:lnTo>
                <a:lnTo>
                  <a:pt x="497" y="70"/>
                </a:lnTo>
                <a:lnTo>
                  <a:pt x="497" y="70"/>
                </a:lnTo>
                <a:lnTo>
                  <a:pt x="496" y="70"/>
                </a:lnTo>
                <a:lnTo>
                  <a:pt x="496" y="70"/>
                </a:lnTo>
                <a:lnTo>
                  <a:pt x="496" y="70"/>
                </a:lnTo>
                <a:lnTo>
                  <a:pt x="496" y="70"/>
                </a:lnTo>
                <a:lnTo>
                  <a:pt x="496" y="70"/>
                </a:lnTo>
                <a:lnTo>
                  <a:pt x="496" y="70"/>
                </a:lnTo>
                <a:lnTo>
                  <a:pt x="494" y="71"/>
                </a:lnTo>
                <a:lnTo>
                  <a:pt x="494" y="71"/>
                </a:lnTo>
                <a:lnTo>
                  <a:pt x="494" y="71"/>
                </a:lnTo>
                <a:lnTo>
                  <a:pt x="494" y="71"/>
                </a:lnTo>
                <a:lnTo>
                  <a:pt x="494" y="71"/>
                </a:lnTo>
                <a:lnTo>
                  <a:pt x="494" y="71"/>
                </a:lnTo>
                <a:lnTo>
                  <a:pt x="493" y="71"/>
                </a:lnTo>
                <a:lnTo>
                  <a:pt x="493" y="71"/>
                </a:lnTo>
                <a:lnTo>
                  <a:pt x="493" y="71"/>
                </a:lnTo>
                <a:lnTo>
                  <a:pt x="493" y="71"/>
                </a:lnTo>
                <a:lnTo>
                  <a:pt x="493" y="71"/>
                </a:lnTo>
                <a:lnTo>
                  <a:pt x="492" y="72"/>
                </a:lnTo>
                <a:lnTo>
                  <a:pt x="492" y="72"/>
                </a:lnTo>
                <a:lnTo>
                  <a:pt x="492" y="72"/>
                </a:lnTo>
                <a:lnTo>
                  <a:pt x="492" y="72"/>
                </a:lnTo>
                <a:lnTo>
                  <a:pt x="492" y="72"/>
                </a:lnTo>
                <a:lnTo>
                  <a:pt x="492" y="72"/>
                </a:lnTo>
                <a:lnTo>
                  <a:pt x="491" y="72"/>
                </a:lnTo>
                <a:lnTo>
                  <a:pt x="491" y="72"/>
                </a:lnTo>
                <a:lnTo>
                  <a:pt x="491" y="72"/>
                </a:lnTo>
                <a:lnTo>
                  <a:pt x="491" y="72"/>
                </a:lnTo>
                <a:lnTo>
                  <a:pt x="491" y="72"/>
                </a:lnTo>
                <a:lnTo>
                  <a:pt x="490" y="72"/>
                </a:lnTo>
                <a:lnTo>
                  <a:pt x="490" y="73"/>
                </a:lnTo>
                <a:lnTo>
                  <a:pt x="490" y="73"/>
                </a:lnTo>
                <a:lnTo>
                  <a:pt x="490" y="73"/>
                </a:lnTo>
                <a:lnTo>
                  <a:pt x="490" y="73"/>
                </a:lnTo>
                <a:lnTo>
                  <a:pt x="489" y="73"/>
                </a:lnTo>
                <a:lnTo>
                  <a:pt x="489" y="73"/>
                </a:lnTo>
                <a:lnTo>
                  <a:pt x="489" y="73"/>
                </a:lnTo>
                <a:lnTo>
                  <a:pt x="489" y="73"/>
                </a:lnTo>
                <a:lnTo>
                  <a:pt x="489" y="73"/>
                </a:lnTo>
                <a:lnTo>
                  <a:pt x="488" y="73"/>
                </a:lnTo>
                <a:lnTo>
                  <a:pt x="488" y="73"/>
                </a:lnTo>
                <a:lnTo>
                  <a:pt x="488" y="73"/>
                </a:lnTo>
                <a:lnTo>
                  <a:pt x="488" y="73"/>
                </a:lnTo>
                <a:lnTo>
                  <a:pt x="488" y="73"/>
                </a:lnTo>
                <a:lnTo>
                  <a:pt x="488" y="74"/>
                </a:lnTo>
                <a:lnTo>
                  <a:pt x="487" y="74"/>
                </a:lnTo>
                <a:lnTo>
                  <a:pt x="487" y="74"/>
                </a:lnTo>
                <a:lnTo>
                  <a:pt x="487" y="74"/>
                </a:lnTo>
                <a:lnTo>
                  <a:pt x="487" y="74"/>
                </a:lnTo>
                <a:lnTo>
                  <a:pt x="487" y="74"/>
                </a:lnTo>
                <a:lnTo>
                  <a:pt x="485" y="74"/>
                </a:lnTo>
                <a:lnTo>
                  <a:pt x="485" y="74"/>
                </a:lnTo>
                <a:lnTo>
                  <a:pt x="485" y="74"/>
                </a:lnTo>
                <a:lnTo>
                  <a:pt x="485" y="74"/>
                </a:lnTo>
                <a:lnTo>
                  <a:pt x="485" y="74"/>
                </a:lnTo>
                <a:lnTo>
                  <a:pt x="484" y="74"/>
                </a:lnTo>
                <a:lnTo>
                  <a:pt x="484" y="74"/>
                </a:lnTo>
                <a:lnTo>
                  <a:pt x="484" y="74"/>
                </a:lnTo>
                <a:lnTo>
                  <a:pt x="484" y="74"/>
                </a:lnTo>
                <a:lnTo>
                  <a:pt x="484" y="74"/>
                </a:lnTo>
                <a:lnTo>
                  <a:pt x="483" y="74"/>
                </a:lnTo>
                <a:lnTo>
                  <a:pt x="483" y="74"/>
                </a:lnTo>
                <a:lnTo>
                  <a:pt x="483" y="74"/>
                </a:lnTo>
                <a:lnTo>
                  <a:pt x="483" y="74"/>
                </a:lnTo>
                <a:lnTo>
                  <a:pt x="482" y="74"/>
                </a:lnTo>
                <a:lnTo>
                  <a:pt x="482" y="74"/>
                </a:lnTo>
                <a:lnTo>
                  <a:pt x="482" y="76"/>
                </a:lnTo>
                <a:lnTo>
                  <a:pt x="482" y="76"/>
                </a:lnTo>
                <a:lnTo>
                  <a:pt x="482" y="76"/>
                </a:lnTo>
                <a:lnTo>
                  <a:pt x="481" y="76"/>
                </a:lnTo>
                <a:lnTo>
                  <a:pt x="481" y="76"/>
                </a:lnTo>
                <a:lnTo>
                  <a:pt x="481" y="76"/>
                </a:lnTo>
                <a:lnTo>
                  <a:pt x="481" y="76"/>
                </a:lnTo>
                <a:lnTo>
                  <a:pt x="481" y="76"/>
                </a:lnTo>
                <a:lnTo>
                  <a:pt x="480" y="76"/>
                </a:lnTo>
                <a:lnTo>
                  <a:pt x="480" y="76"/>
                </a:lnTo>
                <a:lnTo>
                  <a:pt x="480" y="76"/>
                </a:lnTo>
                <a:lnTo>
                  <a:pt x="480" y="76"/>
                </a:lnTo>
                <a:lnTo>
                  <a:pt x="480" y="76"/>
                </a:lnTo>
                <a:lnTo>
                  <a:pt x="479" y="76"/>
                </a:lnTo>
                <a:lnTo>
                  <a:pt x="479" y="76"/>
                </a:lnTo>
                <a:lnTo>
                  <a:pt x="479" y="76"/>
                </a:lnTo>
                <a:lnTo>
                  <a:pt x="479" y="76"/>
                </a:lnTo>
                <a:lnTo>
                  <a:pt x="479" y="76"/>
                </a:lnTo>
                <a:lnTo>
                  <a:pt x="478" y="76"/>
                </a:lnTo>
                <a:lnTo>
                  <a:pt x="478" y="76"/>
                </a:lnTo>
                <a:lnTo>
                  <a:pt x="478" y="76"/>
                </a:lnTo>
                <a:lnTo>
                  <a:pt x="478" y="76"/>
                </a:lnTo>
                <a:lnTo>
                  <a:pt x="476" y="76"/>
                </a:lnTo>
                <a:lnTo>
                  <a:pt x="476" y="76"/>
                </a:lnTo>
                <a:lnTo>
                  <a:pt x="476" y="76"/>
                </a:lnTo>
                <a:lnTo>
                  <a:pt x="476" y="76"/>
                </a:lnTo>
                <a:lnTo>
                  <a:pt x="476" y="76"/>
                </a:lnTo>
                <a:lnTo>
                  <a:pt x="475" y="76"/>
                </a:lnTo>
                <a:lnTo>
                  <a:pt x="475" y="76"/>
                </a:lnTo>
                <a:lnTo>
                  <a:pt x="475" y="76"/>
                </a:lnTo>
                <a:lnTo>
                  <a:pt x="475" y="76"/>
                </a:lnTo>
                <a:lnTo>
                  <a:pt x="475" y="76"/>
                </a:lnTo>
                <a:lnTo>
                  <a:pt x="474" y="76"/>
                </a:lnTo>
                <a:lnTo>
                  <a:pt x="474" y="76"/>
                </a:lnTo>
                <a:lnTo>
                  <a:pt x="474" y="76"/>
                </a:lnTo>
                <a:lnTo>
                  <a:pt x="474" y="76"/>
                </a:lnTo>
                <a:lnTo>
                  <a:pt x="473" y="76"/>
                </a:lnTo>
                <a:lnTo>
                  <a:pt x="473" y="76"/>
                </a:lnTo>
                <a:lnTo>
                  <a:pt x="473" y="76"/>
                </a:lnTo>
                <a:lnTo>
                  <a:pt x="473" y="76"/>
                </a:lnTo>
                <a:lnTo>
                  <a:pt x="473" y="76"/>
                </a:lnTo>
                <a:lnTo>
                  <a:pt x="472" y="76"/>
                </a:lnTo>
                <a:lnTo>
                  <a:pt x="472" y="76"/>
                </a:lnTo>
                <a:lnTo>
                  <a:pt x="472" y="76"/>
                </a:lnTo>
                <a:lnTo>
                  <a:pt x="472" y="76"/>
                </a:lnTo>
                <a:lnTo>
                  <a:pt x="472" y="76"/>
                </a:lnTo>
                <a:lnTo>
                  <a:pt x="471" y="76"/>
                </a:lnTo>
                <a:lnTo>
                  <a:pt x="471" y="76"/>
                </a:lnTo>
                <a:lnTo>
                  <a:pt x="471" y="76"/>
                </a:lnTo>
                <a:lnTo>
                  <a:pt x="471" y="76"/>
                </a:lnTo>
                <a:lnTo>
                  <a:pt x="471" y="76"/>
                </a:lnTo>
                <a:lnTo>
                  <a:pt x="470" y="74"/>
                </a:lnTo>
                <a:lnTo>
                  <a:pt x="470" y="74"/>
                </a:lnTo>
                <a:lnTo>
                  <a:pt x="470" y="74"/>
                </a:lnTo>
                <a:lnTo>
                  <a:pt x="470" y="74"/>
                </a:lnTo>
                <a:lnTo>
                  <a:pt x="469" y="74"/>
                </a:lnTo>
                <a:lnTo>
                  <a:pt x="469" y="74"/>
                </a:lnTo>
                <a:lnTo>
                  <a:pt x="469" y="74"/>
                </a:lnTo>
                <a:lnTo>
                  <a:pt x="469" y="74"/>
                </a:lnTo>
                <a:lnTo>
                  <a:pt x="469" y="74"/>
                </a:lnTo>
                <a:lnTo>
                  <a:pt x="467" y="74"/>
                </a:lnTo>
                <a:lnTo>
                  <a:pt x="467" y="74"/>
                </a:lnTo>
                <a:lnTo>
                  <a:pt x="467" y="74"/>
                </a:lnTo>
                <a:lnTo>
                  <a:pt x="467" y="74"/>
                </a:lnTo>
                <a:lnTo>
                  <a:pt x="467" y="74"/>
                </a:lnTo>
                <a:lnTo>
                  <a:pt x="466" y="74"/>
                </a:lnTo>
                <a:lnTo>
                  <a:pt x="466" y="74"/>
                </a:lnTo>
                <a:lnTo>
                  <a:pt x="466" y="74"/>
                </a:lnTo>
                <a:lnTo>
                  <a:pt x="466" y="74"/>
                </a:lnTo>
                <a:lnTo>
                  <a:pt x="466" y="74"/>
                </a:lnTo>
                <a:lnTo>
                  <a:pt x="465" y="74"/>
                </a:lnTo>
                <a:lnTo>
                  <a:pt x="465" y="74"/>
                </a:lnTo>
                <a:lnTo>
                  <a:pt x="465" y="74"/>
                </a:lnTo>
                <a:lnTo>
                  <a:pt x="465" y="73"/>
                </a:lnTo>
                <a:lnTo>
                  <a:pt x="465" y="73"/>
                </a:lnTo>
                <a:lnTo>
                  <a:pt x="464" y="73"/>
                </a:lnTo>
                <a:lnTo>
                  <a:pt x="464" y="73"/>
                </a:lnTo>
                <a:lnTo>
                  <a:pt x="464" y="73"/>
                </a:lnTo>
                <a:lnTo>
                  <a:pt x="464" y="73"/>
                </a:lnTo>
                <a:lnTo>
                  <a:pt x="464" y="73"/>
                </a:lnTo>
                <a:lnTo>
                  <a:pt x="464" y="73"/>
                </a:lnTo>
                <a:lnTo>
                  <a:pt x="463" y="73"/>
                </a:lnTo>
                <a:lnTo>
                  <a:pt x="463" y="73"/>
                </a:lnTo>
                <a:lnTo>
                  <a:pt x="463" y="73"/>
                </a:lnTo>
                <a:lnTo>
                  <a:pt x="463" y="73"/>
                </a:lnTo>
                <a:lnTo>
                  <a:pt x="463" y="73"/>
                </a:lnTo>
                <a:lnTo>
                  <a:pt x="462" y="73"/>
                </a:lnTo>
                <a:lnTo>
                  <a:pt x="462" y="72"/>
                </a:lnTo>
                <a:lnTo>
                  <a:pt x="462" y="72"/>
                </a:lnTo>
                <a:lnTo>
                  <a:pt x="462" y="72"/>
                </a:lnTo>
                <a:lnTo>
                  <a:pt x="462" y="72"/>
                </a:lnTo>
                <a:lnTo>
                  <a:pt x="461" y="72"/>
                </a:lnTo>
                <a:lnTo>
                  <a:pt x="461" y="72"/>
                </a:lnTo>
                <a:lnTo>
                  <a:pt x="461" y="72"/>
                </a:lnTo>
                <a:lnTo>
                  <a:pt x="461" y="72"/>
                </a:lnTo>
                <a:lnTo>
                  <a:pt x="461" y="72"/>
                </a:lnTo>
                <a:lnTo>
                  <a:pt x="461" y="72"/>
                </a:lnTo>
                <a:lnTo>
                  <a:pt x="459" y="72"/>
                </a:lnTo>
                <a:lnTo>
                  <a:pt x="459" y="72"/>
                </a:lnTo>
                <a:lnTo>
                  <a:pt x="459" y="71"/>
                </a:lnTo>
                <a:lnTo>
                  <a:pt x="459" y="71"/>
                </a:lnTo>
                <a:lnTo>
                  <a:pt x="459" y="71"/>
                </a:lnTo>
                <a:lnTo>
                  <a:pt x="458" y="71"/>
                </a:lnTo>
                <a:lnTo>
                  <a:pt x="458" y="71"/>
                </a:lnTo>
                <a:lnTo>
                  <a:pt x="458" y="71"/>
                </a:lnTo>
                <a:lnTo>
                  <a:pt x="458" y="71"/>
                </a:lnTo>
                <a:lnTo>
                  <a:pt x="458" y="71"/>
                </a:lnTo>
                <a:lnTo>
                  <a:pt x="458" y="71"/>
                </a:lnTo>
                <a:lnTo>
                  <a:pt x="457" y="71"/>
                </a:lnTo>
                <a:lnTo>
                  <a:pt x="457" y="71"/>
                </a:lnTo>
                <a:lnTo>
                  <a:pt x="457" y="70"/>
                </a:lnTo>
                <a:lnTo>
                  <a:pt x="457" y="70"/>
                </a:lnTo>
                <a:lnTo>
                  <a:pt x="457" y="70"/>
                </a:lnTo>
                <a:lnTo>
                  <a:pt x="456" y="70"/>
                </a:lnTo>
                <a:lnTo>
                  <a:pt x="456" y="70"/>
                </a:lnTo>
                <a:lnTo>
                  <a:pt x="456" y="70"/>
                </a:lnTo>
                <a:lnTo>
                  <a:pt x="456" y="70"/>
                </a:lnTo>
                <a:lnTo>
                  <a:pt x="456" y="70"/>
                </a:lnTo>
                <a:lnTo>
                  <a:pt x="456" y="70"/>
                </a:lnTo>
                <a:lnTo>
                  <a:pt x="455" y="69"/>
                </a:lnTo>
                <a:lnTo>
                  <a:pt x="455" y="69"/>
                </a:lnTo>
                <a:lnTo>
                  <a:pt x="455" y="69"/>
                </a:lnTo>
                <a:lnTo>
                  <a:pt x="455" y="69"/>
                </a:lnTo>
                <a:lnTo>
                  <a:pt x="455" y="69"/>
                </a:lnTo>
                <a:lnTo>
                  <a:pt x="455" y="69"/>
                </a:lnTo>
                <a:lnTo>
                  <a:pt x="454" y="69"/>
                </a:lnTo>
                <a:lnTo>
                  <a:pt x="454" y="69"/>
                </a:lnTo>
                <a:lnTo>
                  <a:pt x="454" y="69"/>
                </a:lnTo>
                <a:lnTo>
                  <a:pt x="454" y="68"/>
                </a:lnTo>
                <a:lnTo>
                  <a:pt x="454" y="68"/>
                </a:lnTo>
                <a:lnTo>
                  <a:pt x="454" y="68"/>
                </a:lnTo>
                <a:lnTo>
                  <a:pt x="454" y="68"/>
                </a:lnTo>
                <a:lnTo>
                  <a:pt x="453" y="68"/>
                </a:lnTo>
                <a:lnTo>
                  <a:pt x="453" y="68"/>
                </a:lnTo>
                <a:lnTo>
                  <a:pt x="453" y="68"/>
                </a:lnTo>
                <a:lnTo>
                  <a:pt x="453" y="68"/>
                </a:lnTo>
                <a:lnTo>
                  <a:pt x="453" y="66"/>
                </a:lnTo>
                <a:lnTo>
                  <a:pt x="453" y="66"/>
                </a:lnTo>
                <a:lnTo>
                  <a:pt x="452" y="66"/>
                </a:lnTo>
                <a:lnTo>
                  <a:pt x="452" y="66"/>
                </a:lnTo>
                <a:lnTo>
                  <a:pt x="452" y="66"/>
                </a:lnTo>
                <a:lnTo>
                  <a:pt x="452" y="66"/>
                </a:lnTo>
                <a:lnTo>
                  <a:pt x="452" y="66"/>
                </a:lnTo>
                <a:lnTo>
                  <a:pt x="452" y="66"/>
                </a:lnTo>
                <a:lnTo>
                  <a:pt x="452" y="65"/>
                </a:lnTo>
                <a:lnTo>
                  <a:pt x="450" y="65"/>
                </a:lnTo>
                <a:lnTo>
                  <a:pt x="450" y="65"/>
                </a:lnTo>
                <a:lnTo>
                  <a:pt x="450" y="65"/>
                </a:lnTo>
                <a:lnTo>
                  <a:pt x="450" y="65"/>
                </a:lnTo>
                <a:lnTo>
                  <a:pt x="450" y="65"/>
                </a:lnTo>
                <a:lnTo>
                  <a:pt x="450" y="65"/>
                </a:lnTo>
                <a:lnTo>
                  <a:pt x="449" y="64"/>
                </a:lnTo>
                <a:lnTo>
                  <a:pt x="449" y="64"/>
                </a:lnTo>
                <a:lnTo>
                  <a:pt x="449" y="64"/>
                </a:lnTo>
                <a:lnTo>
                  <a:pt x="449" y="64"/>
                </a:lnTo>
                <a:lnTo>
                  <a:pt x="449" y="64"/>
                </a:lnTo>
                <a:lnTo>
                  <a:pt x="449" y="64"/>
                </a:lnTo>
                <a:lnTo>
                  <a:pt x="449" y="64"/>
                </a:lnTo>
                <a:lnTo>
                  <a:pt x="448" y="63"/>
                </a:lnTo>
                <a:lnTo>
                  <a:pt x="448" y="63"/>
                </a:lnTo>
                <a:lnTo>
                  <a:pt x="448" y="63"/>
                </a:lnTo>
                <a:lnTo>
                  <a:pt x="448" y="63"/>
                </a:lnTo>
                <a:lnTo>
                  <a:pt x="448" y="63"/>
                </a:lnTo>
                <a:lnTo>
                  <a:pt x="448" y="63"/>
                </a:lnTo>
                <a:lnTo>
                  <a:pt x="448" y="63"/>
                </a:lnTo>
                <a:lnTo>
                  <a:pt x="448" y="62"/>
                </a:lnTo>
                <a:lnTo>
                  <a:pt x="447" y="62"/>
                </a:lnTo>
                <a:lnTo>
                  <a:pt x="447" y="62"/>
                </a:lnTo>
                <a:lnTo>
                  <a:pt x="447" y="62"/>
                </a:lnTo>
                <a:lnTo>
                  <a:pt x="447" y="62"/>
                </a:lnTo>
                <a:lnTo>
                  <a:pt x="447" y="62"/>
                </a:lnTo>
                <a:lnTo>
                  <a:pt x="447" y="61"/>
                </a:lnTo>
                <a:lnTo>
                  <a:pt x="447" y="61"/>
                </a:lnTo>
                <a:lnTo>
                  <a:pt x="447" y="61"/>
                </a:lnTo>
                <a:lnTo>
                  <a:pt x="446" y="61"/>
                </a:lnTo>
                <a:lnTo>
                  <a:pt x="446" y="61"/>
                </a:lnTo>
                <a:lnTo>
                  <a:pt x="446" y="61"/>
                </a:lnTo>
                <a:lnTo>
                  <a:pt x="446" y="61"/>
                </a:lnTo>
                <a:lnTo>
                  <a:pt x="446" y="60"/>
                </a:lnTo>
                <a:lnTo>
                  <a:pt x="446" y="60"/>
                </a:lnTo>
                <a:lnTo>
                  <a:pt x="446" y="60"/>
                </a:lnTo>
                <a:lnTo>
                  <a:pt x="446" y="60"/>
                </a:lnTo>
                <a:lnTo>
                  <a:pt x="445" y="60"/>
                </a:lnTo>
                <a:lnTo>
                  <a:pt x="445" y="60"/>
                </a:lnTo>
                <a:lnTo>
                  <a:pt x="445" y="59"/>
                </a:lnTo>
                <a:lnTo>
                  <a:pt x="445" y="59"/>
                </a:lnTo>
                <a:lnTo>
                  <a:pt x="445" y="59"/>
                </a:lnTo>
                <a:lnTo>
                  <a:pt x="445" y="59"/>
                </a:lnTo>
                <a:lnTo>
                  <a:pt x="445" y="59"/>
                </a:lnTo>
                <a:lnTo>
                  <a:pt x="445" y="59"/>
                </a:lnTo>
                <a:lnTo>
                  <a:pt x="445" y="57"/>
                </a:lnTo>
                <a:lnTo>
                  <a:pt x="444" y="57"/>
                </a:lnTo>
                <a:lnTo>
                  <a:pt x="444" y="57"/>
                </a:lnTo>
                <a:lnTo>
                  <a:pt x="444" y="57"/>
                </a:lnTo>
                <a:lnTo>
                  <a:pt x="444" y="57"/>
                </a:lnTo>
                <a:lnTo>
                  <a:pt x="444" y="57"/>
                </a:lnTo>
                <a:lnTo>
                  <a:pt x="444" y="56"/>
                </a:lnTo>
                <a:lnTo>
                  <a:pt x="444" y="56"/>
                </a:lnTo>
                <a:lnTo>
                  <a:pt x="444" y="56"/>
                </a:lnTo>
                <a:lnTo>
                  <a:pt x="444" y="56"/>
                </a:lnTo>
                <a:lnTo>
                  <a:pt x="444" y="56"/>
                </a:lnTo>
                <a:lnTo>
                  <a:pt x="443" y="55"/>
                </a:lnTo>
                <a:lnTo>
                  <a:pt x="443" y="55"/>
                </a:lnTo>
                <a:lnTo>
                  <a:pt x="443" y="55"/>
                </a:lnTo>
                <a:lnTo>
                  <a:pt x="443" y="55"/>
                </a:lnTo>
                <a:lnTo>
                  <a:pt x="443" y="55"/>
                </a:lnTo>
                <a:lnTo>
                  <a:pt x="443" y="55"/>
                </a:lnTo>
                <a:lnTo>
                  <a:pt x="443" y="54"/>
                </a:lnTo>
                <a:lnTo>
                  <a:pt x="443" y="54"/>
                </a:lnTo>
                <a:lnTo>
                  <a:pt x="443" y="54"/>
                </a:lnTo>
                <a:lnTo>
                  <a:pt x="443" y="54"/>
                </a:lnTo>
                <a:lnTo>
                  <a:pt x="443" y="54"/>
                </a:lnTo>
                <a:lnTo>
                  <a:pt x="441" y="53"/>
                </a:lnTo>
                <a:lnTo>
                  <a:pt x="441" y="53"/>
                </a:lnTo>
                <a:lnTo>
                  <a:pt x="441" y="53"/>
                </a:lnTo>
                <a:lnTo>
                  <a:pt x="441" y="53"/>
                </a:lnTo>
                <a:lnTo>
                  <a:pt x="441" y="53"/>
                </a:lnTo>
                <a:lnTo>
                  <a:pt x="441" y="53"/>
                </a:lnTo>
                <a:lnTo>
                  <a:pt x="441" y="52"/>
                </a:lnTo>
                <a:lnTo>
                  <a:pt x="441" y="52"/>
                </a:lnTo>
                <a:lnTo>
                  <a:pt x="441" y="52"/>
                </a:lnTo>
                <a:lnTo>
                  <a:pt x="441" y="52"/>
                </a:lnTo>
                <a:lnTo>
                  <a:pt x="441" y="52"/>
                </a:lnTo>
                <a:lnTo>
                  <a:pt x="441" y="51"/>
                </a:lnTo>
                <a:lnTo>
                  <a:pt x="441" y="51"/>
                </a:lnTo>
                <a:lnTo>
                  <a:pt x="440" y="51"/>
                </a:lnTo>
                <a:lnTo>
                  <a:pt x="440" y="51"/>
                </a:lnTo>
                <a:lnTo>
                  <a:pt x="440" y="51"/>
                </a:lnTo>
                <a:lnTo>
                  <a:pt x="440" y="50"/>
                </a:lnTo>
                <a:lnTo>
                  <a:pt x="440" y="50"/>
                </a:lnTo>
                <a:lnTo>
                  <a:pt x="440" y="50"/>
                </a:lnTo>
                <a:lnTo>
                  <a:pt x="440" y="50"/>
                </a:lnTo>
                <a:lnTo>
                  <a:pt x="440" y="50"/>
                </a:lnTo>
                <a:lnTo>
                  <a:pt x="440" y="48"/>
                </a:lnTo>
                <a:lnTo>
                  <a:pt x="440" y="48"/>
                </a:lnTo>
                <a:lnTo>
                  <a:pt x="440" y="48"/>
                </a:lnTo>
                <a:lnTo>
                  <a:pt x="440" y="48"/>
                </a:lnTo>
                <a:lnTo>
                  <a:pt x="440" y="48"/>
                </a:lnTo>
                <a:lnTo>
                  <a:pt x="440" y="47"/>
                </a:lnTo>
                <a:lnTo>
                  <a:pt x="440" y="47"/>
                </a:lnTo>
                <a:lnTo>
                  <a:pt x="440" y="47"/>
                </a:lnTo>
                <a:lnTo>
                  <a:pt x="439" y="47"/>
                </a:lnTo>
                <a:lnTo>
                  <a:pt x="439" y="47"/>
                </a:lnTo>
                <a:lnTo>
                  <a:pt x="439" y="46"/>
                </a:lnTo>
                <a:lnTo>
                  <a:pt x="439" y="46"/>
                </a:lnTo>
                <a:lnTo>
                  <a:pt x="439" y="46"/>
                </a:lnTo>
                <a:lnTo>
                  <a:pt x="439" y="46"/>
                </a:lnTo>
                <a:lnTo>
                  <a:pt x="439" y="46"/>
                </a:lnTo>
                <a:lnTo>
                  <a:pt x="439" y="45"/>
                </a:lnTo>
                <a:lnTo>
                  <a:pt x="439" y="45"/>
                </a:lnTo>
                <a:lnTo>
                  <a:pt x="439" y="45"/>
                </a:lnTo>
                <a:lnTo>
                  <a:pt x="439" y="45"/>
                </a:lnTo>
                <a:lnTo>
                  <a:pt x="439" y="45"/>
                </a:lnTo>
                <a:lnTo>
                  <a:pt x="439" y="44"/>
                </a:lnTo>
                <a:lnTo>
                  <a:pt x="439" y="44"/>
                </a:lnTo>
                <a:lnTo>
                  <a:pt x="439" y="44"/>
                </a:lnTo>
                <a:lnTo>
                  <a:pt x="439" y="44"/>
                </a:lnTo>
                <a:lnTo>
                  <a:pt x="439" y="44"/>
                </a:lnTo>
                <a:lnTo>
                  <a:pt x="439" y="43"/>
                </a:lnTo>
                <a:lnTo>
                  <a:pt x="439" y="43"/>
                </a:lnTo>
                <a:lnTo>
                  <a:pt x="439" y="43"/>
                </a:lnTo>
                <a:lnTo>
                  <a:pt x="439" y="43"/>
                </a:lnTo>
                <a:lnTo>
                  <a:pt x="439" y="43"/>
                </a:lnTo>
                <a:lnTo>
                  <a:pt x="439" y="42"/>
                </a:lnTo>
                <a:lnTo>
                  <a:pt x="439" y="42"/>
                </a:lnTo>
                <a:lnTo>
                  <a:pt x="439" y="42"/>
                </a:lnTo>
                <a:lnTo>
                  <a:pt x="425" y="42"/>
                </a:lnTo>
                <a:lnTo>
                  <a:pt x="425" y="34"/>
                </a:lnTo>
                <a:lnTo>
                  <a:pt x="439" y="34"/>
                </a:lnTo>
                <a:lnTo>
                  <a:pt x="439" y="34"/>
                </a:lnTo>
                <a:close/>
                <a:moveTo>
                  <a:pt x="393" y="34"/>
                </a:moveTo>
                <a:lnTo>
                  <a:pt x="393" y="42"/>
                </a:lnTo>
                <a:lnTo>
                  <a:pt x="377" y="42"/>
                </a:lnTo>
                <a:lnTo>
                  <a:pt x="377" y="34"/>
                </a:lnTo>
                <a:lnTo>
                  <a:pt x="393" y="34"/>
                </a:lnTo>
                <a:lnTo>
                  <a:pt x="393" y="34"/>
                </a:lnTo>
                <a:close/>
                <a:moveTo>
                  <a:pt x="346" y="34"/>
                </a:moveTo>
                <a:lnTo>
                  <a:pt x="346" y="42"/>
                </a:lnTo>
                <a:lnTo>
                  <a:pt x="330" y="42"/>
                </a:lnTo>
                <a:lnTo>
                  <a:pt x="330" y="34"/>
                </a:lnTo>
                <a:lnTo>
                  <a:pt x="346" y="34"/>
                </a:lnTo>
                <a:lnTo>
                  <a:pt x="346" y="34"/>
                </a:lnTo>
                <a:close/>
                <a:moveTo>
                  <a:pt x="299" y="34"/>
                </a:moveTo>
                <a:lnTo>
                  <a:pt x="299" y="42"/>
                </a:lnTo>
                <a:lnTo>
                  <a:pt x="283" y="42"/>
                </a:lnTo>
                <a:lnTo>
                  <a:pt x="283" y="34"/>
                </a:lnTo>
                <a:lnTo>
                  <a:pt x="299" y="34"/>
                </a:lnTo>
                <a:lnTo>
                  <a:pt x="299" y="34"/>
                </a:lnTo>
                <a:close/>
                <a:moveTo>
                  <a:pt x="251" y="34"/>
                </a:moveTo>
                <a:lnTo>
                  <a:pt x="251" y="42"/>
                </a:lnTo>
                <a:lnTo>
                  <a:pt x="235" y="42"/>
                </a:lnTo>
                <a:lnTo>
                  <a:pt x="235" y="34"/>
                </a:lnTo>
                <a:lnTo>
                  <a:pt x="251" y="34"/>
                </a:lnTo>
                <a:lnTo>
                  <a:pt x="251" y="34"/>
                </a:lnTo>
                <a:close/>
                <a:moveTo>
                  <a:pt x="204" y="34"/>
                </a:moveTo>
                <a:lnTo>
                  <a:pt x="204" y="42"/>
                </a:lnTo>
                <a:lnTo>
                  <a:pt x="189" y="42"/>
                </a:lnTo>
                <a:lnTo>
                  <a:pt x="189" y="34"/>
                </a:lnTo>
                <a:lnTo>
                  <a:pt x="204" y="34"/>
                </a:lnTo>
                <a:lnTo>
                  <a:pt x="204" y="34"/>
                </a:lnTo>
                <a:close/>
                <a:moveTo>
                  <a:pt x="158" y="34"/>
                </a:moveTo>
                <a:lnTo>
                  <a:pt x="158" y="42"/>
                </a:lnTo>
                <a:lnTo>
                  <a:pt x="142" y="42"/>
                </a:lnTo>
                <a:lnTo>
                  <a:pt x="142" y="34"/>
                </a:lnTo>
                <a:lnTo>
                  <a:pt x="158" y="34"/>
                </a:lnTo>
                <a:lnTo>
                  <a:pt x="158" y="34"/>
                </a:lnTo>
                <a:close/>
                <a:moveTo>
                  <a:pt x="110" y="34"/>
                </a:moveTo>
                <a:lnTo>
                  <a:pt x="110" y="42"/>
                </a:lnTo>
                <a:lnTo>
                  <a:pt x="95" y="42"/>
                </a:lnTo>
                <a:lnTo>
                  <a:pt x="95" y="34"/>
                </a:lnTo>
                <a:lnTo>
                  <a:pt x="110" y="34"/>
                </a:lnTo>
                <a:lnTo>
                  <a:pt x="110" y="34"/>
                </a:lnTo>
                <a:close/>
                <a:moveTo>
                  <a:pt x="63" y="34"/>
                </a:moveTo>
                <a:lnTo>
                  <a:pt x="63" y="42"/>
                </a:lnTo>
                <a:lnTo>
                  <a:pt x="47" y="42"/>
                </a:lnTo>
                <a:lnTo>
                  <a:pt x="47" y="34"/>
                </a:lnTo>
                <a:lnTo>
                  <a:pt x="63" y="34"/>
                </a:lnTo>
                <a:close/>
              </a:path>
            </a:pathLst>
          </a:custGeom>
          <a:solidFill>
            <a:srgbClr val="8497B0"/>
          </a:solidFill>
          <a:ln>
            <a:solidFill>
              <a:schemeClr val="accent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87" name="Freeform 81">
            <a:extLst>
              <a:ext uri="{FF2B5EF4-FFF2-40B4-BE49-F238E27FC236}">
                <a16:creationId xmlns:a16="http://schemas.microsoft.com/office/drawing/2014/main" id="{35356B7A-B8BF-4F18-88F4-2F0F44886E1C}"/>
              </a:ext>
            </a:extLst>
          </p:cNvPr>
          <p:cNvSpPr>
            <a:spLocks noEditPoints="1"/>
          </p:cNvSpPr>
          <p:nvPr/>
        </p:nvSpPr>
        <p:spPr bwMode="auto">
          <a:xfrm>
            <a:off x="3886646" y="5302250"/>
            <a:ext cx="1063625" cy="496887"/>
          </a:xfrm>
          <a:custGeom>
            <a:avLst/>
            <a:gdLst>
              <a:gd name="T0" fmla="*/ 603 w 670"/>
              <a:gd name="T1" fmla="*/ 43 h 313"/>
              <a:gd name="T2" fmla="*/ 604 w 670"/>
              <a:gd name="T3" fmla="*/ 48 h 313"/>
              <a:gd name="T4" fmla="*/ 608 w 670"/>
              <a:gd name="T5" fmla="*/ 54 h 313"/>
              <a:gd name="T6" fmla="*/ 611 w 670"/>
              <a:gd name="T7" fmla="*/ 58 h 313"/>
              <a:gd name="T8" fmla="*/ 616 w 670"/>
              <a:gd name="T9" fmla="*/ 63 h 313"/>
              <a:gd name="T10" fmla="*/ 621 w 670"/>
              <a:gd name="T11" fmla="*/ 65 h 313"/>
              <a:gd name="T12" fmla="*/ 627 w 670"/>
              <a:gd name="T13" fmla="*/ 66 h 313"/>
              <a:gd name="T14" fmla="*/ 634 w 670"/>
              <a:gd name="T15" fmla="*/ 67 h 313"/>
              <a:gd name="T16" fmla="*/ 640 w 670"/>
              <a:gd name="T17" fmla="*/ 66 h 313"/>
              <a:gd name="T18" fmla="*/ 646 w 670"/>
              <a:gd name="T19" fmla="*/ 64 h 313"/>
              <a:gd name="T20" fmla="*/ 650 w 670"/>
              <a:gd name="T21" fmla="*/ 61 h 313"/>
              <a:gd name="T22" fmla="*/ 655 w 670"/>
              <a:gd name="T23" fmla="*/ 56 h 313"/>
              <a:gd name="T24" fmla="*/ 658 w 670"/>
              <a:gd name="T25" fmla="*/ 52 h 313"/>
              <a:gd name="T26" fmla="*/ 661 w 670"/>
              <a:gd name="T27" fmla="*/ 45 h 313"/>
              <a:gd name="T28" fmla="*/ 662 w 670"/>
              <a:gd name="T29" fmla="*/ 39 h 313"/>
              <a:gd name="T30" fmla="*/ 662 w 670"/>
              <a:gd name="T31" fmla="*/ 32 h 313"/>
              <a:gd name="T32" fmla="*/ 659 w 670"/>
              <a:gd name="T33" fmla="*/ 27 h 313"/>
              <a:gd name="T34" fmla="*/ 657 w 670"/>
              <a:gd name="T35" fmla="*/ 21 h 313"/>
              <a:gd name="T36" fmla="*/ 653 w 670"/>
              <a:gd name="T37" fmla="*/ 17 h 313"/>
              <a:gd name="T38" fmla="*/ 648 w 670"/>
              <a:gd name="T39" fmla="*/ 12 h 313"/>
              <a:gd name="T40" fmla="*/ 643 w 670"/>
              <a:gd name="T41" fmla="*/ 10 h 313"/>
              <a:gd name="T42" fmla="*/ 637 w 670"/>
              <a:gd name="T43" fmla="*/ 8 h 313"/>
              <a:gd name="T44" fmla="*/ 630 w 670"/>
              <a:gd name="T45" fmla="*/ 8 h 313"/>
              <a:gd name="T46" fmla="*/ 625 w 670"/>
              <a:gd name="T47" fmla="*/ 9 h 313"/>
              <a:gd name="T48" fmla="*/ 619 w 670"/>
              <a:gd name="T49" fmla="*/ 11 h 313"/>
              <a:gd name="T50" fmla="*/ 613 w 670"/>
              <a:gd name="T51" fmla="*/ 14 h 313"/>
              <a:gd name="T52" fmla="*/ 609 w 670"/>
              <a:gd name="T53" fmla="*/ 19 h 313"/>
              <a:gd name="T54" fmla="*/ 605 w 670"/>
              <a:gd name="T55" fmla="*/ 23 h 313"/>
              <a:gd name="T56" fmla="*/ 603 w 670"/>
              <a:gd name="T57" fmla="*/ 29 h 313"/>
              <a:gd name="T58" fmla="*/ 602 w 670"/>
              <a:gd name="T59" fmla="*/ 36 h 313"/>
              <a:gd name="T60" fmla="*/ 627 w 670"/>
              <a:gd name="T61" fmla="*/ 75 h 313"/>
              <a:gd name="T62" fmla="*/ 619 w 670"/>
              <a:gd name="T63" fmla="*/ 73 h 313"/>
              <a:gd name="T64" fmla="*/ 612 w 670"/>
              <a:gd name="T65" fmla="*/ 70 h 313"/>
              <a:gd name="T66" fmla="*/ 607 w 670"/>
              <a:gd name="T67" fmla="*/ 65 h 313"/>
              <a:gd name="T68" fmla="*/ 601 w 670"/>
              <a:gd name="T69" fmla="*/ 59 h 313"/>
              <a:gd name="T70" fmla="*/ 598 w 670"/>
              <a:gd name="T71" fmla="*/ 53 h 313"/>
              <a:gd name="T72" fmla="*/ 595 w 670"/>
              <a:gd name="T73" fmla="*/ 45 h 313"/>
              <a:gd name="T74" fmla="*/ 594 w 670"/>
              <a:gd name="T75" fmla="*/ 37 h 313"/>
              <a:gd name="T76" fmla="*/ 595 w 670"/>
              <a:gd name="T77" fmla="*/ 29 h 313"/>
              <a:gd name="T78" fmla="*/ 598 w 670"/>
              <a:gd name="T79" fmla="*/ 21 h 313"/>
              <a:gd name="T80" fmla="*/ 602 w 670"/>
              <a:gd name="T81" fmla="*/ 14 h 313"/>
              <a:gd name="T82" fmla="*/ 608 w 670"/>
              <a:gd name="T83" fmla="*/ 9 h 313"/>
              <a:gd name="T84" fmla="*/ 613 w 670"/>
              <a:gd name="T85" fmla="*/ 4 h 313"/>
              <a:gd name="T86" fmla="*/ 620 w 670"/>
              <a:gd name="T87" fmla="*/ 2 h 313"/>
              <a:gd name="T88" fmla="*/ 628 w 670"/>
              <a:gd name="T89" fmla="*/ 0 h 313"/>
              <a:gd name="T90" fmla="*/ 637 w 670"/>
              <a:gd name="T91" fmla="*/ 0 h 313"/>
              <a:gd name="T92" fmla="*/ 644 w 670"/>
              <a:gd name="T93" fmla="*/ 2 h 313"/>
              <a:gd name="T94" fmla="*/ 652 w 670"/>
              <a:gd name="T95" fmla="*/ 5 h 313"/>
              <a:gd name="T96" fmla="*/ 657 w 670"/>
              <a:gd name="T97" fmla="*/ 10 h 313"/>
              <a:gd name="T98" fmla="*/ 663 w 670"/>
              <a:gd name="T99" fmla="*/ 15 h 313"/>
              <a:gd name="T100" fmla="*/ 666 w 670"/>
              <a:gd name="T101" fmla="*/ 22 h 313"/>
              <a:gd name="T102" fmla="*/ 668 w 670"/>
              <a:gd name="T103" fmla="*/ 30 h 313"/>
              <a:gd name="T104" fmla="*/ 670 w 670"/>
              <a:gd name="T105" fmla="*/ 38 h 313"/>
              <a:gd name="T106" fmla="*/ 668 w 670"/>
              <a:gd name="T107" fmla="*/ 46 h 313"/>
              <a:gd name="T108" fmla="*/ 666 w 670"/>
              <a:gd name="T109" fmla="*/ 53 h 313"/>
              <a:gd name="T110" fmla="*/ 662 w 670"/>
              <a:gd name="T111" fmla="*/ 59 h 313"/>
              <a:gd name="T112" fmla="*/ 657 w 670"/>
              <a:gd name="T113" fmla="*/ 65 h 313"/>
              <a:gd name="T114" fmla="*/ 650 w 670"/>
              <a:gd name="T115" fmla="*/ 70 h 313"/>
              <a:gd name="T116" fmla="*/ 644 w 670"/>
              <a:gd name="T117" fmla="*/ 73 h 313"/>
              <a:gd name="T118" fmla="*/ 636 w 670"/>
              <a:gd name="T119" fmla="*/ 75 h 313"/>
              <a:gd name="T120" fmla="*/ 628 w 670"/>
              <a:gd name="T121" fmla="*/ 188 h 313"/>
              <a:gd name="T122" fmla="*/ 486 w 670"/>
              <a:gd name="T123" fmla="*/ 313 h 313"/>
              <a:gd name="T124" fmla="*/ 251 w 670"/>
              <a:gd name="T125" fmla="*/ 30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0" h="313">
                <a:moveTo>
                  <a:pt x="15" y="305"/>
                </a:moveTo>
                <a:lnTo>
                  <a:pt x="15" y="313"/>
                </a:lnTo>
                <a:lnTo>
                  <a:pt x="0" y="313"/>
                </a:lnTo>
                <a:lnTo>
                  <a:pt x="0" y="305"/>
                </a:lnTo>
                <a:lnTo>
                  <a:pt x="15" y="305"/>
                </a:lnTo>
                <a:lnTo>
                  <a:pt x="15" y="305"/>
                </a:lnTo>
                <a:close/>
                <a:moveTo>
                  <a:pt x="602" y="37"/>
                </a:moveTo>
                <a:lnTo>
                  <a:pt x="602" y="38"/>
                </a:lnTo>
                <a:lnTo>
                  <a:pt x="602" y="38"/>
                </a:lnTo>
                <a:lnTo>
                  <a:pt x="602" y="38"/>
                </a:lnTo>
                <a:lnTo>
                  <a:pt x="602" y="38"/>
                </a:lnTo>
                <a:lnTo>
                  <a:pt x="602" y="38"/>
                </a:lnTo>
                <a:lnTo>
                  <a:pt x="602" y="38"/>
                </a:lnTo>
                <a:lnTo>
                  <a:pt x="602" y="39"/>
                </a:lnTo>
                <a:lnTo>
                  <a:pt x="602" y="39"/>
                </a:lnTo>
                <a:lnTo>
                  <a:pt x="602" y="39"/>
                </a:lnTo>
                <a:lnTo>
                  <a:pt x="602" y="39"/>
                </a:lnTo>
                <a:lnTo>
                  <a:pt x="602" y="39"/>
                </a:lnTo>
                <a:lnTo>
                  <a:pt x="602" y="39"/>
                </a:lnTo>
                <a:lnTo>
                  <a:pt x="602" y="40"/>
                </a:lnTo>
                <a:lnTo>
                  <a:pt x="602" y="40"/>
                </a:lnTo>
                <a:lnTo>
                  <a:pt x="602" y="40"/>
                </a:lnTo>
                <a:lnTo>
                  <a:pt x="602" y="40"/>
                </a:lnTo>
                <a:lnTo>
                  <a:pt x="602" y="40"/>
                </a:lnTo>
                <a:lnTo>
                  <a:pt x="602" y="40"/>
                </a:lnTo>
                <a:lnTo>
                  <a:pt x="602" y="41"/>
                </a:lnTo>
                <a:lnTo>
                  <a:pt x="602" y="41"/>
                </a:lnTo>
                <a:lnTo>
                  <a:pt x="602" y="41"/>
                </a:lnTo>
                <a:lnTo>
                  <a:pt x="602" y="41"/>
                </a:lnTo>
                <a:lnTo>
                  <a:pt x="602" y="41"/>
                </a:lnTo>
                <a:lnTo>
                  <a:pt x="602" y="41"/>
                </a:lnTo>
                <a:lnTo>
                  <a:pt x="603" y="43"/>
                </a:lnTo>
                <a:lnTo>
                  <a:pt x="603" y="43"/>
                </a:lnTo>
                <a:lnTo>
                  <a:pt x="603" y="43"/>
                </a:lnTo>
                <a:lnTo>
                  <a:pt x="603" y="43"/>
                </a:lnTo>
                <a:lnTo>
                  <a:pt x="603" y="43"/>
                </a:lnTo>
                <a:lnTo>
                  <a:pt x="603" y="43"/>
                </a:lnTo>
                <a:lnTo>
                  <a:pt x="603" y="44"/>
                </a:lnTo>
                <a:lnTo>
                  <a:pt x="603" y="44"/>
                </a:lnTo>
                <a:lnTo>
                  <a:pt x="603" y="44"/>
                </a:lnTo>
                <a:lnTo>
                  <a:pt x="603" y="44"/>
                </a:lnTo>
                <a:lnTo>
                  <a:pt x="603" y="44"/>
                </a:lnTo>
                <a:lnTo>
                  <a:pt x="603" y="44"/>
                </a:lnTo>
                <a:lnTo>
                  <a:pt x="603" y="45"/>
                </a:lnTo>
                <a:lnTo>
                  <a:pt x="603" y="45"/>
                </a:lnTo>
                <a:lnTo>
                  <a:pt x="603" y="45"/>
                </a:lnTo>
                <a:lnTo>
                  <a:pt x="603" y="45"/>
                </a:lnTo>
                <a:lnTo>
                  <a:pt x="603" y="45"/>
                </a:lnTo>
                <a:lnTo>
                  <a:pt x="603" y="45"/>
                </a:lnTo>
                <a:lnTo>
                  <a:pt x="603" y="45"/>
                </a:lnTo>
                <a:lnTo>
                  <a:pt x="603" y="46"/>
                </a:lnTo>
                <a:lnTo>
                  <a:pt x="603" y="46"/>
                </a:lnTo>
                <a:lnTo>
                  <a:pt x="603" y="46"/>
                </a:lnTo>
                <a:lnTo>
                  <a:pt x="603" y="46"/>
                </a:lnTo>
                <a:lnTo>
                  <a:pt x="603" y="46"/>
                </a:lnTo>
                <a:lnTo>
                  <a:pt x="603" y="46"/>
                </a:lnTo>
                <a:lnTo>
                  <a:pt x="603" y="47"/>
                </a:lnTo>
                <a:lnTo>
                  <a:pt x="604" y="47"/>
                </a:lnTo>
                <a:lnTo>
                  <a:pt x="604" y="47"/>
                </a:lnTo>
                <a:lnTo>
                  <a:pt x="604" y="47"/>
                </a:lnTo>
                <a:lnTo>
                  <a:pt x="604" y="47"/>
                </a:lnTo>
                <a:lnTo>
                  <a:pt x="604" y="47"/>
                </a:lnTo>
                <a:lnTo>
                  <a:pt x="604" y="47"/>
                </a:lnTo>
                <a:lnTo>
                  <a:pt x="604" y="48"/>
                </a:lnTo>
                <a:lnTo>
                  <a:pt x="604" y="48"/>
                </a:lnTo>
                <a:lnTo>
                  <a:pt x="604" y="48"/>
                </a:lnTo>
                <a:lnTo>
                  <a:pt x="604" y="48"/>
                </a:lnTo>
                <a:lnTo>
                  <a:pt x="604" y="48"/>
                </a:lnTo>
                <a:lnTo>
                  <a:pt x="604" y="48"/>
                </a:lnTo>
                <a:lnTo>
                  <a:pt x="604" y="49"/>
                </a:lnTo>
                <a:lnTo>
                  <a:pt x="604" y="49"/>
                </a:lnTo>
                <a:lnTo>
                  <a:pt x="604" y="49"/>
                </a:lnTo>
                <a:lnTo>
                  <a:pt x="604" y="49"/>
                </a:lnTo>
                <a:lnTo>
                  <a:pt x="604" y="49"/>
                </a:lnTo>
                <a:lnTo>
                  <a:pt x="605" y="49"/>
                </a:lnTo>
                <a:lnTo>
                  <a:pt x="605" y="49"/>
                </a:lnTo>
                <a:lnTo>
                  <a:pt x="605" y="50"/>
                </a:lnTo>
                <a:lnTo>
                  <a:pt x="605" y="50"/>
                </a:lnTo>
                <a:lnTo>
                  <a:pt x="605" y="50"/>
                </a:lnTo>
                <a:lnTo>
                  <a:pt x="605" y="50"/>
                </a:lnTo>
                <a:lnTo>
                  <a:pt x="605" y="50"/>
                </a:lnTo>
                <a:lnTo>
                  <a:pt x="605" y="50"/>
                </a:lnTo>
                <a:lnTo>
                  <a:pt x="605" y="50"/>
                </a:lnTo>
                <a:lnTo>
                  <a:pt x="605" y="52"/>
                </a:lnTo>
                <a:lnTo>
                  <a:pt x="605" y="52"/>
                </a:lnTo>
                <a:lnTo>
                  <a:pt x="605" y="52"/>
                </a:lnTo>
                <a:lnTo>
                  <a:pt x="605" y="52"/>
                </a:lnTo>
                <a:lnTo>
                  <a:pt x="605" y="52"/>
                </a:lnTo>
                <a:lnTo>
                  <a:pt x="607" y="52"/>
                </a:lnTo>
                <a:lnTo>
                  <a:pt x="607" y="52"/>
                </a:lnTo>
                <a:lnTo>
                  <a:pt x="607" y="53"/>
                </a:lnTo>
                <a:lnTo>
                  <a:pt x="607" y="53"/>
                </a:lnTo>
                <a:lnTo>
                  <a:pt x="607" y="53"/>
                </a:lnTo>
                <a:lnTo>
                  <a:pt x="607" y="53"/>
                </a:lnTo>
                <a:lnTo>
                  <a:pt x="607" y="53"/>
                </a:lnTo>
                <a:lnTo>
                  <a:pt x="607" y="53"/>
                </a:lnTo>
                <a:lnTo>
                  <a:pt x="607" y="53"/>
                </a:lnTo>
                <a:lnTo>
                  <a:pt x="607" y="53"/>
                </a:lnTo>
                <a:lnTo>
                  <a:pt x="607" y="54"/>
                </a:lnTo>
                <a:lnTo>
                  <a:pt x="607" y="54"/>
                </a:lnTo>
                <a:lnTo>
                  <a:pt x="608" y="54"/>
                </a:lnTo>
                <a:lnTo>
                  <a:pt x="608" y="54"/>
                </a:lnTo>
                <a:lnTo>
                  <a:pt x="608" y="54"/>
                </a:lnTo>
                <a:lnTo>
                  <a:pt x="608" y="54"/>
                </a:lnTo>
                <a:lnTo>
                  <a:pt x="608" y="54"/>
                </a:lnTo>
                <a:lnTo>
                  <a:pt x="608" y="55"/>
                </a:lnTo>
                <a:lnTo>
                  <a:pt x="608" y="55"/>
                </a:lnTo>
                <a:lnTo>
                  <a:pt x="608" y="55"/>
                </a:lnTo>
                <a:lnTo>
                  <a:pt x="608" y="55"/>
                </a:lnTo>
                <a:lnTo>
                  <a:pt x="608" y="55"/>
                </a:lnTo>
                <a:lnTo>
                  <a:pt x="608" y="55"/>
                </a:lnTo>
                <a:lnTo>
                  <a:pt x="609" y="55"/>
                </a:lnTo>
                <a:lnTo>
                  <a:pt x="609" y="55"/>
                </a:lnTo>
                <a:lnTo>
                  <a:pt x="609" y="56"/>
                </a:lnTo>
                <a:lnTo>
                  <a:pt x="609" y="56"/>
                </a:lnTo>
                <a:lnTo>
                  <a:pt x="609" y="56"/>
                </a:lnTo>
                <a:lnTo>
                  <a:pt x="609" y="56"/>
                </a:lnTo>
                <a:lnTo>
                  <a:pt x="609" y="56"/>
                </a:lnTo>
                <a:lnTo>
                  <a:pt x="609" y="56"/>
                </a:lnTo>
                <a:lnTo>
                  <a:pt x="609" y="56"/>
                </a:lnTo>
                <a:lnTo>
                  <a:pt x="609" y="56"/>
                </a:lnTo>
                <a:lnTo>
                  <a:pt x="610" y="57"/>
                </a:lnTo>
                <a:lnTo>
                  <a:pt x="610" y="57"/>
                </a:lnTo>
                <a:lnTo>
                  <a:pt x="610" y="57"/>
                </a:lnTo>
                <a:lnTo>
                  <a:pt x="610" y="57"/>
                </a:lnTo>
                <a:lnTo>
                  <a:pt x="610" y="57"/>
                </a:lnTo>
                <a:lnTo>
                  <a:pt x="610" y="57"/>
                </a:lnTo>
                <a:lnTo>
                  <a:pt x="610" y="57"/>
                </a:lnTo>
                <a:lnTo>
                  <a:pt x="610" y="57"/>
                </a:lnTo>
                <a:lnTo>
                  <a:pt x="610" y="57"/>
                </a:lnTo>
                <a:lnTo>
                  <a:pt x="610" y="58"/>
                </a:lnTo>
                <a:lnTo>
                  <a:pt x="611" y="58"/>
                </a:lnTo>
                <a:lnTo>
                  <a:pt x="611" y="58"/>
                </a:lnTo>
                <a:lnTo>
                  <a:pt x="611" y="58"/>
                </a:lnTo>
                <a:lnTo>
                  <a:pt x="611" y="58"/>
                </a:lnTo>
                <a:lnTo>
                  <a:pt x="611" y="58"/>
                </a:lnTo>
                <a:lnTo>
                  <a:pt x="611" y="58"/>
                </a:lnTo>
                <a:lnTo>
                  <a:pt x="611" y="58"/>
                </a:lnTo>
                <a:lnTo>
                  <a:pt x="611" y="58"/>
                </a:lnTo>
                <a:lnTo>
                  <a:pt x="611" y="59"/>
                </a:lnTo>
                <a:lnTo>
                  <a:pt x="612" y="59"/>
                </a:lnTo>
                <a:lnTo>
                  <a:pt x="612" y="59"/>
                </a:lnTo>
                <a:lnTo>
                  <a:pt x="612" y="59"/>
                </a:lnTo>
                <a:lnTo>
                  <a:pt x="612" y="59"/>
                </a:lnTo>
                <a:lnTo>
                  <a:pt x="612" y="59"/>
                </a:lnTo>
                <a:lnTo>
                  <a:pt x="612" y="59"/>
                </a:lnTo>
                <a:lnTo>
                  <a:pt x="612" y="59"/>
                </a:lnTo>
                <a:lnTo>
                  <a:pt x="612" y="59"/>
                </a:lnTo>
                <a:lnTo>
                  <a:pt x="613" y="61"/>
                </a:lnTo>
                <a:lnTo>
                  <a:pt x="613" y="61"/>
                </a:lnTo>
                <a:lnTo>
                  <a:pt x="613" y="61"/>
                </a:lnTo>
                <a:lnTo>
                  <a:pt x="613" y="61"/>
                </a:lnTo>
                <a:lnTo>
                  <a:pt x="613" y="61"/>
                </a:lnTo>
                <a:lnTo>
                  <a:pt x="613" y="61"/>
                </a:lnTo>
                <a:lnTo>
                  <a:pt x="613" y="61"/>
                </a:lnTo>
                <a:lnTo>
                  <a:pt x="613" y="61"/>
                </a:lnTo>
                <a:lnTo>
                  <a:pt x="614" y="61"/>
                </a:lnTo>
                <a:lnTo>
                  <a:pt x="614" y="61"/>
                </a:lnTo>
                <a:lnTo>
                  <a:pt x="614" y="62"/>
                </a:lnTo>
                <a:lnTo>
                  <a:pt x="614" y="62"/>
                </a:lnTo>
                <a:lnTo>
                  <a:pt x="614" y="62"/>
                </a:lnTo>
                <a:lnTo>
                  <a:pt x="614" y="62"/>
                </a:lnTo>
                <a:lnTo>
                  <a:pt x="614" y="62"/>
                </a:lnTo>
                <a:lnTo>
                  <a:pt x="614" y="62"/>
                </a:lnTo>
                <a:lnTo>
                  <a:pt x="616" y="62"/>
                </a:lnTo>
                <a:lnTo>
                  <a:pt x="616" y="62"/>
                </a:lnTo>
                <a:lnTo>
                  <a:pt x="616" y="62"/>
                </a:lnTo>
                <a:lnTo>
                  <a:pt x="616" y="62"/>
                </a:lnTo>
                <a:lnTo>
                  <a:pt x="616" y="62"/>
                </a:lnTo>
                <a:lnTo>
                  <a:pt x="616" y="63"/>
                </a:lnTo>
                <a:lnTo>
                  <a:pt x="616" y="63"/>
                </a:lnTo>
                <a:lnTo>
                  <a:pt x="616" y="63"/>
                </a:lnTo>
                <a:lnTo>
                  <a:pt x="617" y="63"/>
                </a:lnTo>
                <a:lnTo>
                  <a:pt x="617" y="63"/>
                </a:lnTo>
                <a:lnTo>
                  <a:pt x="617" y="63"/>
                </a:lnTo>
                <a:lnTo>
                  <a:pt x="617" y="63"/>
                </a:lnTo>
                <a:lnTo>
                  <a:pt x="617" y="63"/>
                </a:lnTo>
                <a:lnTo>
                  <a:pt x="617" y="63"/>
                </a:lnTo>
                <a:lnTo>
                  <a:pt x="617" y="63"/>
                </a:lnTo>
                <a:lnTo>
                  <a:pt x="618" y="63"/>
                </a:lnTo>
                <a:lnTo>
                  <a:pt x="618" y="63"/>
                </a:lnTo>
                <a:lnTo>
                  <a:pt x="618" y="64"/>
                </a:lnTo>
                <a:lnTo>
                  <a:pt x="618" y="64"/>
                </a:lnTo>
                <a:lnTo>
                  <a:pt x="618" y="64"/>
                </a:lnTo>
                <a:lnTo>
                  <a:pt x="618" y="64"/>
                </a:lnTo>
                <a:lnTo>
                  <a:pt x="618" y="64"/>
                </a:lnTo>
                <a:lnTo>
                  <a:pt x="619" y="64"/>
                </a:lnTo>
                <a:lnTo>
                  <a:pt x="619" y="64"/>
                </a:lnTo>
                <a:lnTo>
                  <a:pt x="619" y="64"/>
                </a:lnTo>
                <a:lnTo>
                  <a:pt x="619" y="64"/>
                </a:lnTo>
                <a:lnTo>
                  <a:pt x="619" y="64"/>
                </a:lnTo>
                <a:lnTo>
                  <a:pt x="619" y="64"/>
                </a:lnTo>
                <a:lnTo>
                  <a:pt x="619" y="64"/>
                </a:lnTo>
                <a:lnTo>
                  <a:pt x="620" y="64"/>
                </a:lnTo>
                <a:lnTo>
                  <a:pt x="620" y="64"/>
                </a:lnTo>
                <a:lnTo>
                  <a:pt x="620" y="65"/>
                </a:lnTo>
                <a:lnTo>
                  <a:pt x="620" y="65"/>
                </a:lnTo>
                <a:lnTo>
                  <a:pt x="620" y="65"/>
                </a:lnTo>
                <a:lnTo>
                  <a:pt x="620" y="65"/>
                </a:lnTo>
                <a:lnTo>
                  <a:pt x="620" y="65"/>
                </a:lnTo>
                <a:lnTo>
                  <a:pt x="621" y="65"/>
                </a:lnTo>
                <a:lnTo>
                  <a:pt x="621" y="65"/>
                </a:lnTo>
                <a:lnTo>
                  <a:pt x="621" y="65"/>
                </a:lnTo>
                <a:lnTo>
                  <a:pt x="621" y="65"/>
                </a:lnTo>
                <a:lnTo>
                  <a:pt x="621" y="65"/>
                </a:lnTo>
                <a:lnTo>
                  <a:pt x="621" y="65"/>
                </a:lnTo>
                <a:lnTo>
                  <a:pt x="622" y="65"/>
                </a:lnTo>
                <a:lnTo>
                  <a:pt x="622" y="65"/>
                </a:lnTo>
                <a:lnTo>
                  <a:pt x="622" y="65"/>
                </a:lnTo>
                <a:lnTo>
                  <a:pt x="622" y="65"/>
                </a:lnTo>
                <a:lnTo>
                  <a:pt x="622" y="65"/>
                </a:lnTo>
                <a:lnTo>
                  <a:pt x="622" y="65"/>
                </a:lnTo>
                <a:lnTo>
                  <a:pt x="622" y="65"/>
                </a:lnTo>
                <a:lnTo>
                  <a:pt x="623" y="66"/>
                </a:lnTo>
                <a:lnTo>
                  <a:pt x="623" y="66"/>
                </a:lnTo>
                <a:lnTo>
                  <a:pt x="623" y="66"/>
                </a:lnTo>
                <a:lnTo>
                  <a:pt x="623" y="66"/>
                </a:lnTo>
                <a:lnTo>
                  <a:pt x="623" y="66"/>
                </a:lnTo>
                <a:lnTo>
                  <a:pt x="623" y="66"/>
                </a:lnTo>
                <a:lnTo>
                  <a:pt x="625" y="66"/>
                </a:lnTo>
                <a:lnTo>
                  <a:pt x="625" y="66"/>
                </a:lnTo>
                <a:lnTo>
                  <a:pt x="625" y="66"/>
                </a:lnTo>
                <a:lnTo>
                  <a:pt x="625" y="66"/>
                </a:lnTo>
                <a:lnTo>
                  <a:pt x="625" y="66"/>
                </a:lnTo>
                <a:lnTo>
                  <a:pt x="625" y="66"/>
                </a:lnTo>
                <a:lnTo>
                  <a:pt x="625" y="66"/>
                </a:lnTo>
                <a:lnTo>
                  <a:pt x="626" y="66"/>
                </a:lnTo>
                <a:lnTo>
                  <a:pt x="626" y="66"/>
                </a:lnTo>
                <a:lnTo>
                  <a:pt x="626" y="66"/>
                </a:lnTo>
                <a:lnTo>
                  <a:pt x="626" y="66"/>
                </a:lnTo>
                <a:lnTo>
                  <a:pt x="626" y="66"/>
                </a:lnTo>
                <a:lnTo>
                  <a:pt x="626" y="66"/>
                </a:lnTo>
                <a:lnTo>
                  <a:pt x="627" y="66"/>
                </a:lnTo>
                <a:lnTo>
                  <a:pt x="627" y="66"/>
                </a:lnTo>
                <a:lnTo>
                  <a:pt x="627" y="66"/>
                </a:lnTo>
                <a:lnTo>
                  <a:pt x="627" y="66"/>
                </a:lnTo>
                <a:lnTo>
                  <a:pt x="627" y="66"/>
                </a:lnTo>
                <a:lnTo>
                  <a:pt x="627" y="66"/>
                </a:lnTo>
                <a:lnTo>
                  <a:pt x="628" y="66"/>
                </a:lnTo>
                <a:lnTo>
                  <a:pt x="628" y="67"/>
                </a:lnTo>
                <a:lnTo>
                  <a:pt x="628" y="67"/>
                </a:lnTo>
                <a:lnTo>
                  <a:pt x="628" y="67"/>
                </a:lnTo>
                <a:lnTo>
                  <a:pt x="628" y="67"/>
                </a:lnTo>
                <a:lnTo>
                  <a:pt x="628" y="67"/>
                </a:lnTo>
                <a:lnTo>
                  <a:pt x="629" y="67"/>
                </a:lnTo>
                <a:lnTo>
                  <a:pt x="629" y="67"/>
                </a:lnTo>
                <a:lnTo>
                  <a:pt x="629" y="67"/>
                </a:lnTo>
                <a:lnTo>
                  <a:pt x="629" y="67"/>
                </a:lnTo>
                <a:lnTo>
                  <a:pt x="629" y="67"/>
                </a:lnTo>
                <a:lnTo>
                  <a:pt x="629" y="67"/>
                </a:lnTo>
                <a:lnTo>
                  <a:pt x="630" y="67"/>
                </a:lnTo>
                <a:lnTo>
                  <a:pt x="630" y="67"/>
                </a:lnTo>
                <a:lnTo>
                  <a:pt x="630" y="67"/>
                </a:lnTo>
                <a:lnTo>
                  <a:pt x="630" y="67"/>
                </a:lnTo>
                <a:lnTo>
                  <a:pt x="630" y="67"/>
                </a:lnTo>
                <a:lnTo>
                  <a:pt x="630" y="67"/>
                </a:lnTo>
                <a:lnTo>
                  <a:pt x="631" y="67"/>
                </a:lnTo>
                <a:lnTo>
                  <a:pt x="631" y="67"/>
                </a:lnTo>
                <a:lnTo>
                  <a:pt x="631" y="67"/>
                </a:lnTo>
                <a:lnTo>
                  <a:pt x="631" y="67"/>
                </a:lnTo>
                <a:lnTo>
                  <a:pt x="631" y="67"/>
                </a:lnTo>
                <a:lnTo>
                  <a:pt x="631" y="67"/>
                </a:lnTo>
                <a:lnTo>
                  <a:pt x="632" y="67"/>
                </a:lnTo>
                <a:lnTo>
                  <a:pt x="632" y="67"/>
                </a:lnTo>
                <a:lnTo>
                  <a:pt x="632" y="67"/>
                </a:lnTo>
                <a:lnTo>
                  <a:pt x="632" y="67"/>
                </a:lnTo>
                <a:lnTo>
                  <a:pt x="632" y="67"/>
                </a:lnTo>
                <a:lnTo>
                  <a:pt x="632" y="67"/>
                </a:lnTo>
                <a:lnTo>
                  <a:pt x="634" y="67"/>
                </a:lnTo>
                <a:lnTo>
                  <a:pt x="634" y="67"/>
                </a:lnTo>
                <a:lnTo>
                  <a:pt x="634" y="67"/>
                </a:lnTo>
                <a:lnTo>
                  <a:pt x="634" y="67"/>
                </a:lnTo>
                <a:lnTo>
                  <a:pt x="634" y="67"/>
                </a:lnTo>
                <a:lnTo>
                  <a:pt x="634" y="67"/>
                </a:lnTo>
                <a:lnTo>
                  <a:pt x="635" y="67"/>
                </a:lnTo>
                <a:lnTo>
                  <a:pt x="635" y="67"/>
                </a:lnTo>
                <a:lnTo>
                  <a:pt x="635" y="67"/>
                </a:lnTo>
                <a:lnTo>
                  <a:pt x="635" y="67"/>
                </a:lnTo>
                <a:lnTo>
                  <a:pt x="635" y="67"/>
                </a:lnTo>
                <a:lnTo>
                  <a:pt x="635" y="67"/>
                </a:lnTo>
                <a:lnTo>
                  <a:pt x="636" y="67"/>
                </a:lnTo>
                <a:lnTo>
                  <a:pt x="636" y="67"/>
                </a:lnTo>
                <a:lnTo>
                  <a:pt x="636" y="67"/>
                </a:lnTo>
                <a:lnTo>
                  <a:pt x="636" y="67"/>
                </a:lnTo>
                <a:lnTo>
                  <a:pt x="636" y="67"/>
                </a:lnTo>
                <a:lnTo>
                  <a:pt x="636" y="67"/>
                </a:lnTo>
                <a:lnTo>
                  <a:pt x="637" y="66"/>
                </a:lnTo>
                <a:lnTo>
                  <a:pt x="637" y="66"/>
                </a:lnTo>
                <a:lnTo>
                  <a:pt x="637" y="66"/>
                </a:lnTo>
                <a:lnTo>
                  <a:pt x="637" y="66"/>
                </a:lnTo>
                <a:lnTo>
                  <a:pt x="637" y="66"/>
                </a:lnTo>
                <a:lnTo>
                  <a:pt x="637" y="66"/>
                </a:lnTo>
                <a:lnTo>
                  <a:pt x="638" y="66"/>
                </a:lnTo>
                <a:lnTo>
                  <a:pt x="638" y="66"/>
                </a:lnTo>
                <a:lnTo>
                  <a:pt x="638" y="66"/>
                </a:lnTo>
                <a:lnTo>
                  <a:pt x="638" y="66"/>
                </a:lnTo>
                <a:lnTo>
                  <a:pt x="638" y="66"/>
                </a:lnTo>
                <a:lnTo>
                  <a:pt x="638" y="66"/>
                </a:lnTo>
                <a:lnTo>
                  <a:pt x="639" y="66"/>
                </a:lnTo>
                <a:lnTo>
                  <a:pt x="639" y="66"/>
                </a:lnTo>
                <a:lnTo>
                  <a:pt x="639" y="66"/>
                </a:lnTo>
                <a:lnTo>
                  <a:pt x="639" y="66"/>
                </a:lnTo>
                <a:lnTo>
                  <a:pt x="639" y="66"/>
                </a:lnTo>
                <a:lnTo>
                  <a:pt x="639" y="66"/>
                </a:lnTo>
                <a:lnTo>
                  <a:pt x="639" y="66"/>
                </a:lnTo>
                <a:lnTo>
                  <a:pt x="640" y="66"/>
                </a:lnTo>
                <a:lnTo>
                  <a:pt x="640" y="66"/>
                </a:lnTo>
                <a:lnTo>
                  <a:pt x="640" y="66"/>
                </a:lnTo>
                <a:lnTo>
                  <a:pt x="640" y="66"/>
                </a:lnTo>
                <a:lnTo>
                  <a:pt x="640" y="66"/>
                </a:lnTo>
                <a:lnTo>
                  <a:pt x="640" y="66"/>
                </a:lnTo>
                <a:lnTo>
                  <a:pt x="641" y="66"/>
                </a:lnTo>
                <a:lnTo>
                  <a:pt x="641" y="66"/>
                </a:lnTo>
                <a:lnTo>
                  <a:pt x="641" y="65"/>
                </a:lnTo>
                <a:lnTo>
                  <a:pt x="641" y="65"/>
                </a:lnTo>
                <a:lnTo>
                  <a:pt x="641" y="65"/>
                </a:lnTo>
                <a:lnTo>
                  <a:pt x="641" y="65"/>
                </a:lnTo>
                <a:lnTo>
                  <a:pt x="641" y="65"/>
                </a:lnTo>
                <a:lnTo>
                  <a:pt x="643" y="65"/>
                </a:lnTo>
                <a:lnTo>
                  <a:pt x="643" y="65"/>
                </a:lnTo>
                <a:lnTo>
                  <a:pt x="643" y="65"/>
                </a:lnTo>
                <a:lnTo>
                  <a:pt x="643" y="65"/>
                </a:lnTo>
                <a:lnTo>
                  <a:pt x="643" y="65"/>
                </a:lnTo>
                <a:lnTo>
                  <a:pt x="643" y="65"/>
                </a:lnTo>
                <a:lnTo>
                  <a:pt x="644" y="65"/>
                </a:lnTo>
                <a:lnTo>
                  <a:pt x="644" y="65"/>
                </a:lnTo>
                <a:lnTo>
                  <a:pt x="644" y="65"/>
                </a:lnTo>
                <a:lnTo>
                  <a:pt x="644" y="65"/>
                </a:lnTo>
                <a:lnTo>
                  <a:pt x="644" y="65"/>
                </a:lnTo>
                <a:lnTo>
                  <a:pt x="644" y="65"/>
                </a:lnTo>
                <a:lnTo>
                  <a:pt x="644" y="64"/>
                </a:lnTo>
                <a:lnTo>
                  <a:pt x="645" y="64"/>
                </a:lnTo>
                <a:lnTo>
                  <a:pt x="645" y="64"/>
                </a:lnTo>
                <a:lnTo>
                  <a:pt x="645" y="64"/>
                </a:lnTo>
                <a:lnTo>
                  <a:pt x="645" y="64"/>
                </a:lnTo>
                <a:lnTo>
                  <a:pt x="645" y="64"/>
                </a:lnTo>
                <a:lnTo>
                  <a:pt x="645" y="64"/>
                </a:lnTo>
                <a:lnTo>
                  <a:pt x="645" y="64"/>
                </a:lnTo>
                <a:lnTo>
                  <a:pt x="646" y="64"/>
                </a:lnTo>
                <a:lnTo>
                  <a:pt x="646" y="64"/>
                </a:lnTo>
                <a:lnTo>
                  <a:pt x="646" y="64"/>
                </a:lnTo>
                <a:lnTo>
                  <a:pt x="646" y="64"/>
                </a:lnTo>
                <a:lnTo>
                  <a:pt x="646" y="64"/>
                </a:lnTo>
                <a:lnTo>
                  <a:pt x="646" y="64"/>
                </a:lnTo>
                <a:lnTo>
                  <a:pt x="646" y="63"/>
                </a:lnTo>
                <a:lnTo>
                  <a:pt x="647" y="63"/>
                </a:lnTo>
                <a:lnTo>
                  <a:pt x="647" y="63"/>
                </a:lnTo>
                <a:lnTo>
                  <a:pt x="647" y="63"/>
                </a:lnTo>
                <a:lnTo>
                  <a:pt x="647" y="63"/>
                </a:lnTo>
                <a:lnTo>
                  <a:pt x="647" y="63"/>
                </a:lnTo>
                <a:lnTo>
                  <a:pt x="647" y="63"/>
                </a:lnTo>
                <a:lnTo>
                  <a:pt x="647" y="63"/>
                </a:lnTo>
                <a:lnTo>
                  <a:pt x="647" y="63"/>
                </a:lnTo>
                <a:lnTo>
                  <a:pt x="648" y="63"/>
                </a:lnTo>
                <a:lnTo>
                  <a:pt x="648" y="63"/>
                </a:lnTo>
                <a:lnTo>
                  <a:pt x="648" y="63"/>
                </a:lnTo>
                <a:lnTo>
                  <a:pt x="648" y="62"/>
                </a:lnTo>
                <a:lnTo>
                  <a:pt x="648" y="62"/>
                </a:lnTo>
                <a:lnTo>
                  <a:pt x="648" y="62"/>
                </a:lnTo>
                <a:lnTo>
                  <a:pt x="648" y="62"/>
                </a:lnTo>
                <a:lnTo>
                  <a:pt x="649" y="62"/>
                </a:lnTo>
                <a:lnTo>
                  <a:pt x="649" y="62"/>
                </a:lnTo>
                <a:lnTo>
                  <a:pt x="649" y="62"/>
                </a:lnTo>
                <a:lnTo>
                  <a:pt x="649" y="62"/>
                </a:lnTo>
                <a:lnTo>
                  <a:pt x="649" y="62"/>
                </a:lnTo>
                <a:lnTo>
                  <a:pt x="649" y="62"/>
                </a:lnTo>
                <a:lnTo>
                  <a:pt x="649" y="62"/>
                </a:lnTo>
                <a:lnTo>
                  <a:pt x="649" y="61"/>
                </a:lnTo>
                <a:lnTo>
                  <a:pt x="650" y="61"/>
                </a:lnTo>
                <a:lnTo>
                  <a:pt x="650" y="61"/>
                </a:lnTo>
                <a:lnTo>
                  <a:pt x="650" y="61"/>
                </a:lnTo>
                <a:lnTo>
                  <a:pt x="650" y="61"/>
                </a:lnTo>
                <a:lnTo>
                  <a:pt x="650" y="61"/>
                </a:lnTo>
                <a:lnTo>
                  <a:pt x="650" y="61"/>
                </a:lnTo>
                <a:lnTo>
                  <a:pt x="650" y="61"/>
                </a:lnTo>
                <a:lnTo>
                  <a:pt x="650" y="61"/>
                </a:lnTo>
                <a:lnTo>
                  <a:pt x="652" y="61"/>
                </a:lnTo>
                <a:lnTo>
                  <a:pt x="652" y="59"/>
                </a:lnTo>
                <a:lnTo>
                  <a:pt x="652" y="59"/>
                </a:lnTo>
                <a:lnTo>
                  <a:pt x="652" y="59"/>
                </a:lnTo>
                <a:lnTo>
                  <a:pt x="652" y="59"/>
                </a:lnTo>
                <a:lnTo>
                  <a:pt x="652" y="59"/>
                </a:lnTo>
                <a:lnTo>
                  <a:pt x="652" y="59"/>
                </a:lnTo>
                <a:lnTo>
                  <a:pt x="652" y="59"/>
                </a:lnTo>
                <a:lnTo>
                  <a:pt x="653" y="59"/>
                </a:lnTo>
                <a:lnTo>
                  <a:pt x="653" y="59"/>
                </a:lnTo>
                <a:lnTo>
                  <a:pt x="653" y="58"/>
                </a:lnTo>
                <a:lnTo>
                  <a:pt x="653" y="58"/>
                </a:lnTo>
                <a:lnTo>
                  <a:pt x="653" y="58"/>
                </a:lnTo>
                <a:lnTo>
                  <a:pt x="653" y="58"/>
                </a:lnTo>
                <a:lnTo>
                  <a:pt x="653" y="58"/>
                </a:lnTo>
                <a:lnTo>
                  <a:pt x="653" y="58"/>
                </a:lnTo>
                <a:lnTo>
                  <a:pt x="653" y="58"/>
                </a:lnTo>
                <a:lnTo>
                  <a:pt x="654" y="58"/>
                </a:lnTo>
                <a:lnTo>
                  <a:pt x="654" y="58"/>
                </a:lnTo>
                <a:lnTo>
                  <a:pt x="654" y="57"/>
                </a:lnTo>
                <a:lnTo>
                  <a:pt x="654" y="57"/>
                </a:lnTo>
                <a:lnTo>
                  <a:pt x="654" y="57"/>
                </a:lnTo>
                <a:lnTo>
                  <a:pt x="654" y="57"/>
                </a:lnTo>
                <a:lnTo>
                  <a:pt x="654" y="57"/>
                </a:lnTo>
                <a:lnTo>
                  <a:pt x="654" y="57"/>
                </a:lnTo>
                <a:lnTo>
                  <a:pt x="654" y="57"/>
                </a:lnTo>
                <a:lnTo>
                  <a:pt x="654" y="57"/>
                </a:lnTo>
                <a:lnTo>
                  <a:pt x="655" y="57"/>
                </a:lnTo>
                <a:lnTo>
                  <a:pt x="655" y="56"/>
                </a:lnTo>
                <a:lnTo>
                  <a:pt x="655" y="56"/>
                </a:lnTo>
                <a:lnTo>
                  <a:pt x="655" y="56"/>
                </a:lnTo>
                <a:lnTo>
                  <a:pt x="655" y="56"/>
                </a:lnTo>
                <a:lnTo>
                  <a:pt x="655" y="56"/>
                </a:lnTo>
                <a:lnTo>
                  <a:pt x="655" y="56"/>
                </a:lnTo>
                <a:lnTo>
                  <a:pt x="655" y="56"/>
                </a:lnTo>
                <a:lnTo>
                  <a:pt x="655" y="56"/>
                </a:lnTo>
                <a:lnTo>
                  <a:pt x="655" y="55"/>
                </a:lnTo>
                <a:lnTo>
                  <a:pt x="656" y="55"/>
                </a:lnTo>
                <a:lnTo>
                  <a:pt x="656" y="55"/>
                </a:lnTo>
                <a:lnTo>
                  <a:pt x="656" y="55"/>
                </a:lnTo>
                <a:lnTo>
                  <a:pt x="656" y="55"/>
                </a:lnTo>
                <a:lnTo>
                  <a:pt x="656" y="55"/>
                </a:lnTo>
                <a:lnTo>
                  <a:pt x="656" y="55"/>
                </a:lnTo>
                <a:lnTo>
                  <a:pt x="656" y="55"/>
                </a:lnTo>
                <a:lnTo>
                  <a:pt x="656" y="54"/>
                </a:lnTo>
                <a:lnTo>
                  <a:pt x="656" y="54"/>
                </a:lnTo>
                <a:lnTo>
                  <a:pt x="656" y="54"/>
                </a:lnTo>
                <a:lnTo>
                  <a:pt x="657" y="54"/>
                </a:lnTo>
                <a:lnTo>
                  <a:pt x="657" y="54"/>
                </a:lnTo>
                <a:lnTo>
                  <a:pt x="657" y="54"/>
                </a:lnTo>
                <a:lnTo>
                  <a:pt x="657" y="54"/>
                </a:lnTo>
                <a:lnTo>
                  <a:pt x="657" y="53"/>
                </a:lnTo>
                <a:lnTo>
                  <a:pt x="657" y="53"/>
                </a:lnTo>
                <a:lnTo>
                  <a:pt x="657" y="53"/>
                </a:lnTo>
                <a:lnTo>
                  <a:pt x="657" y="53"/>
                </a:lnTo>
                <a:lnTo>
                  <a:pt x="657" y="53"/>
                </a:lnTo>
                <a:lnTo>
                  <a:pt x="657" y="53"/>
                </a:lnTo>
                <a:lnTo>
                  <a:pt x="657" y="53"/>
                </a:lnTo>
                <a:lnTo>
                  <a:pt x="657" y="53"/>
                </a:lnTo>
                <a:lnTo>
                  <a:pt x="658" y="52"/>
                </a:lnTo>
                <a:lnTo>
                  <a:pt x="658" y="52"/>
                </a:lnTo>
                <a:lnTo>
                  <a:pt x="658" y="52"/>
                </a:lnTo>
                <a:lnTo>
                  <a:pt x="658" y="52"/>
                </a:lnTo>
                <a:lnTo>
                  <a:pt x="658" y="52"/>
                </a:lnTo>
                <a:lnTo>
                  <a:pt x="658" y="52"/>
                </a:lnTo>
                <a:lnTo>
                  <a:pt x="658" y="52"/>
                </a:lnTo>
                <a:lnTo>
                  <a:pt x="658" y="50"/>
                </a:lnTo>
                <a:lnTo>
                  <a:pt x="658" y="50"/>
                </a:lnTo>
                <a:lnTo>
                  <a:pt x="658" y="50"/>
                </a:lnTo>
                <a:lnTo>
                  <a:pt x="658" y="50"/>
                </a:lnTo>
                <a:lnTo>
                  <a:pt x="658" y="50"/>
                </a:lnTo>
                <a:lnTo>
                  <a:pt x="658" y="50"/>
                </a:lnTo>
                <a:lnTo>
                  <a:pt x="658" y="50"/>
                </a:lnTo>
                <a:lnTo>
                  <a:pt x="659" y="49"/>
                </a:lnTo>
                <a:lnTo>
                  <a:pt x="659" y="49"/>
                </a:lnTo>
                <a:lnTo>
                  <a:pt x="659" y="49"/>
                </a:lnTo>
                <a:lnTo>
                  <a:pt x="659" y="49"/>
                </a:lnTo>
                <a:lnTo>
                  <a:pt x="659" y="49"/>
                </a:lnTo>
                <a:lnTo>
                  <a:pt x="659" y="49"/>
                </a:lnTo>
                <a:lnTo>
                  <a:pt x="659" y="49"/>
                </a:lnTo>
                <a:lnTo>
                  <a:pt x="659" y="48"/>
                </a:lnTo>
                <a:lnTo>
                  <a:pt x="659" y="48"/>
                </a:lnTo>
                <a:lnTo>
                  <a:pt x="659" y="48"/>
                </a:lnTo>
                <a:lnTo>
                  <a:pt x="659" y="48"/>
                </a:lnTo>
                <a:lnTo>
                  <a:pt x="659" y="48"/>
                </a:lnTo>
                <a:lnTo>
                  <a:pt x="659" y="48"/>
                </a:lnTo>
                <a:lnTo>
                  <a:pt x="659" y="47"/>
                </a:lnTo>
                <a:lnTo>
                  <a:pt x="659" y="47"/>
                </a:lnTo>
                <a:lnTo>
                  <a:pt x="659" y="47"/>
                </a:lnTo>
                <a:lnTo>
                  <a:pt x="659" y="47"/>
                </a:lnTo>
                <a:lnTo>
                  <a:pt x="661" y="47"/>
                </a:lnTo>
                <a:lnTo>
                  <a:pt x="661" y="47"/>
                </a:lnTo>
                <a:lnTo>
                  <a:pt x="661" y="47"/>
                </a:lnTo>
                <a:lnTo>
                  <a:pt x="661" y="46"/>
                </a:lnTo>
                <a:lnTo>
                  <a:pt x="661" y="46"/>
                </a:lnTo>
                <a:lnTo>
                  <a:pt x="661" y="46"/>
                </a:lnTo>
                <a:lnTo>
                  <a:pt x="661" y="46"/>
                </a:lnTo>
                <a:lnTo>
                  <a:pt x="661" y="46"/>
                </a:lnTo>
                <a:lnTo>
                  <a:pt x="661" y="46"/>
                </a:lnTo>
                <a:lnTo>
                  <a:pt x="661" y="45"/>
                </a:lnTo>
                <a:lnTo>
                  <a:pt x="661" y="45"/>
                </a:lnTo>
                <a:lnTo>
                  <a:pt x="661" y="45"/>
                </a:lnTo>
                <a:lnTo>
                  <a:pt x="661" y="45"/>
                </a:lnTo>
                <a:lnTo>
                  <a:pt x="661" y="45"/>
                </a:lnTo>
                <a:lnTo>
                  <a:pt x="661" y="45"/>
                </a:lnTo>
                <a:lnTo>
                  <a:pt x="661" y="45"/>
                </a:lnTo>
                <a:lnTo>
                  <a:pt x="661" y="44"/>
                </a:lnTo>
                <a:lnTo>
                  <a:pt x="661" y="44"/>
                </a:lnTo>
                <a:lnTo>
                  <a:pt x="661" y="44"/>
                </a:lnTo>
                <a:lnTo>
                  <a:pt x="661" y="44"/>
                </a:lnTo>
                <a:lnTo>
                  <a:pt x="661" y="44"/>
                </a:lnTo>
                <a:lnTo>
                  <a:pt x="661" y="44"/>
                </a:lnTo>
                <a:lnTo>
                  <a:pt x="661" y="43"/>
                </a:lnTo>
                <a:lnTo>
                  <a:pt x="661" y="43"/>
                </a:lnTo>
                <a:lnTo>
                  <a:pt x="662" y="43"/>
                </a:lnTo>
                <a:lnTo>
                  <a:pt x="662" y="43"/>
                </a:lnTo>
                <a:lnTo>
                  <a:pt x="662" y="43"/>
                </a:lnTo>
                <a:lnTo>
                  <a:pt x="662" y="43"/>
                </a:lnTo>
                <a:lnTo>
                  <a:pt x="662" y="41"/>
                </a:lnTo>
                <a:lnTo>
                  <a:pt x="662" y="41"/>
                </a:lnTo>
                <a:lnTo>
                  <a:pt x="662" y="41"/>
                </a:lnTo>
                <a:lnTo>
                  <a:pt x="662" y="41"/>
                </a:lnTo>
                <a:lnTo>
                  <a:pt x="662" y="41"/>
                </a:lnTo>
                <a:lnTo>
                  <a:pt x="662" y="41"/>
                </a:lnTo>
                <a:lnTo>
                  <a:pt x="662" y="40"/>
                </a:lnTo>
                <a:lnTo>
                  <a:pt x="662" y="40"/>
                </a:lnTo>
                <a:lnTo>
                  <a:pt x="662" y="40"/>
                </a:lnTo>
                <a:lnTo>
                  <a:pt x="662" y="40"/>
                </a:lnTo>
                <a:lnTo>
                  <a:pt x="662" y="40"/>
                </a:lnTo>
                <a:lnTo>
                  <a:pt x="662" y="40"/>
                </a:lnTo>
                <a:lnTo>
                  <a:pt x="662" y="39"/>
                </a:lnTo>
                <a:lnTo>
                  <a:pt x="662" y="39"/>
                </a:lnTo>
                <a:lnTo>
                  <a:pt x="662" y="39"/>
                </a:lnTo>
                <a:lnTo>
                  <a:pt x="662" y="39"/>
                </a:lnTo>
                <a:lnTo>
                  <a:pt x="662" y="39"/>
                </a:lnTo>
                <a:lnTo>
                  <a:pt x="662" y="39"/>
                </a:lnTo>
                <a:lnTo>
                  <a:pt x="662" y="38"/>
                </a:lnTo>
                <a:lnTo>
                  <a:pt x="662" y="38"/>
                </a:lnTo>
                <a:lnTo>
                  <a:pt x="662" y="38"/>
                </a:lnTo>
                <a:lnTo>
                  <a:pt x="662" y="38"/>
                </a:lnTo>
                <a:lnTo>
                  <a:pt x="662" y="38"/>
                </a:lnTo>
                <a:lnTo>
                  <a:pt x="662" y="38"/>
                </a:lnTo>
                <a:lnTo>
                  <a:pt x="662" y="37"/>
                </a:lnTo>
                <a:lnTo>
                  <a:pt x="662" y="37"/>
                </a:lnTo>
                <a:lnTo>
                  <a:pt x="662" y="37"/>
                </a:lnTo>
                <a:lnTo>
                  <a:pt x="662" y="37"/>
                </a:lnTo>
                <a:lnTo>
                  <a:pt x="662" y="37"/>
                </a:lnTo>
                <a:lnTo>
                  <a:pt x="662" y="37"/>
                </a:lnTo>
                <a:lnTo>
                  <a:pt x="662" y="36"/>
                </a:lnTo>
                <a:lnTo>
                  <a:pt x="662" y="36"/>
                </a:lnTo>
                <a:lnTo>
                  <a:pt x="662" y="36"/>
                </a:lnTo>
                <a:lnTo>
                  <a:pt x="662" y="36"/>
                </a:lnTo>
                <a:lnTo>
                  <a:pt x="662" y="36"/>
                </a:lnTo>
                <a:lnTo>
                  <a:pt x="662" y="36"/>
                </a:lnTo>
                <a:lnTo>
                  <a:pt x="662" y="35"/>
                </a:lnTo>
                <a:lnTo>
                  <a:pt x="662" y="35"/>
                </a:lnTo>
                <a:lnTo>
                  <a:pt x="662" y="35"/>
                </a:lnTo>
                <a:lnTo>
                  <a:pt x="662" y="35"/>
                </a:lnTo>
                <a:lnTo>
                  <a:pt x="662" y="35"/>
                </a:lnTo>
                <a:lnTo>
                  <a:pt x="662" y="35"/>
                </a:lnTo>
                <a:lnTo>
                  <a:pt x="662" y="34"/>
                </a:lnTo>
                <a:lnTo>
                  <a:pt x="662" y="34"/>
                </a:lnTo>
                <a:lnTo>
                  <a:pt x="662" y="34"/>
                </a:lnTo>
                <a:lnTo>
                  <a:pt x="662" y="34"/>
                </a:lnTo>
                <a:lnTo>
                  <a:pt x="662" y="34"/>
                </a:lnTo>
                <a:lnTo>
                  <a:pt x="662" y="34"/>
                </a:lnTo>
                <a:lnTo>
                  <a:pt x="662" y="32"/>
                </a:lnTo>
                <a:lnTo>
                  <a:pt x="662" y="32"/>
                </a:lnTo>
                <a:lnTo>
                  <a:pt x="662" y="32"/>
                </a:lnTo>
                <a:lnTo>
                  <a:pt x="662" y="32"/>
                </a:lnTo>
                <a:lnTo>
                  <a:pt x="662" y="32"/>
                </a:lnTo>
                <a:lnTo>
                  <a:pt x="661" y="32"/>
                </a:lnTo>
                <a:lnTo>
                  <a:pt x="661" y="31"/>
                </a:lnTo>
                <a:lnTo>
                  <a:pt x="661" y="31"/>
                </a:lnTo>
                <a:lnTo>
                  <a:pt x="661" y="31"/>
                </a:lnTo>
                <a:lnTo>
                  <a:pt x="661" y="31"/>
                </a:lnTo>
                <a:lnTo>
                  <a:pt x="661" y="31"/>
                </a:lnTo>
                <a:lnTo>
                  <a:pt x="661" y="31"/>
                </a:lnTo>
                <a:lnTo>
                  <a:pt x="661" y="30"/>
                </a:lnTo>
                <a:lnTo>
                  <a:pt x="661" y="30"/>
                </a:lnTo>
                <a:lnTo>
                  <a:pt x="661" y="30"/>
                </a:lnTo>
                <a:lnTo>
                  <a:pt x="661" y="30"/>
                </a:lnTo>
                <a:lnTo>
                  <a:pt x="661" y="30"/>
                </a:lnTo>
                <a:lnTo>
                  <a:pt x="661" y="30"/>
                </a:lnTo>
                <a:lnTo>
                  <a:pt x="661" y="30"/>
                </a:lnTo>
                <a:lnTo>
                  <a:pt x="661" y="29"/>
                </a:lnTo>
                <a:lnTo>
                  <a:pt x="661" y="29"/>
                </a:lnTo>
                <a:lnTo>
                  <a:pt x="661" y="29"/>
                </a:lnTo>
                <a:lnTo>
                  <a:pt x="661" y="29"/>
                </a:lnTo>
                <a:lnTo>
                  <a:pt x="661" y="29"/>
                </a:lnTo>
                <a:lnTo>
                  <a:pt x="661" y="29"/>
                </a:lnTo>
                <a:lnTo>
                  <a:pt x="661" y="28"/>
                </a:lnTo>
                <a:lnTo>
                  <a:pt x="661" y="28"/>
                </a:lnTo>
                <a:lnTo>
                  <a:pt x="661" y="28"/>
                </a:lnTo>
                <a:lnTo>
                  <a:pt x="661" y="28"/>
                </a:lnTo>
                <a:lnTo>
                  <a:pt x="659" y="28"/>
                </a:lnTo>
                <a:lnTo>
                  <a:pt x="659" y="28"/>
                </a:lnTo>
                <a:lnTo>
                  <a:pt x="659" y="28"/>
                </a:lnTo>
                <a:lnTo>
                  <a:pt x="659" y="27"/>
                </a:lnTo>
                <a:lnTo>
                  <a:pt x="659" y="27"/>
                </a:lnTo>
                <a:lnTo>
                  <a:pt x="659" y="27"/>
                </a:lnTo>
                <a:lnTo>
                  <a:pt x="659" y="27"/>
                </a:lnTo>
                <a:lnTo>
                  <a:pt x="659" y="27"/>
                </a:lnTo>
                <a:lnTo>
                  <a:pt x="659" y="27"/>
                </a:lnTo>
                <a:lnTo>
                  <a:pt x="659" y="26"/>
                </a:lnTo>
                <a:lnTo>
                  <a:pt x="659" y="26"/>
                </a:lnTo>
                <a:lnTo>
                  <a:pt x="659" y="26"/>
                </a:lnTo>
                <a:lnTo>
                  <a:pt x="659" y="26"/>
                </a:lnTo>
                <a:lnTo>
                  <a:pt x="659" y="26"/>
                </a:lnTo>
                <a:lnTo>
                  <a:pt x="659" y="26"/>
                </a:lnTo>
                <a:lnTo>
                  <a:pt x="659" y="26"/>
                </a:lnTo>
                <a:lnTo>
                  <a:pt x="659" y="24"/>
                </a:lnTo>
                <a:lnTo>
                  <a:pt x="658" y="24"/>
                </a:lnTo>
                <a:lnTo>
                  <a:pt x="658" y="24"/>
                </a:lnTo>
                <a:lnTo>
                  <a:pt x="658" y="24"/>
                </a:lnTo>
                <a:lnTo>
                  <a:pt x="658" y="24"/>
                </a:lnTo>
                <a:lnTo>
                  <a:pt x="658" y="24"/>
                </a:lnTo>
                <a:lnTo>
                  <a:pt x="658" y="24"/>
                </a:lnTo>
                <a:lnTo>
                  <a:pt x="658" y="23"/>
                </a:lnTo>
                <a:lnTo>
                  <a:pt x="658" y="23"/>
                </a:lnTo>
                <a:lnTo>
                  <a:pt x="658" y="23"/>
                </a:lnTo>
                <a:lnTo>
                  <a:pt x="658" y="23"/>
                </a:lnTo>
                <a:lnTo>
                  <a:pt x="658" y="23"/>
                </a:lnTo>
                <a:lnTo>
                  <a:pt x="658" y="23"/>
                </a:lnTo>
                <a:lnTo>
                  <a:pt x="658" y="23"/>
                </a:lnTo>
                <a:lnTo>
                  <a:pt x="658" y="22"/>
                </a:lnTo>
                <a:lnTo>
                  <a:pt x="657" y="22"/>
                </a:lnTo>
                <a:lnTo>
                  <a:pt x="657" y="22"/>
                </a:lnTo>
                <a:lnTo>
                  <a:pt x="657" y="22"/>
                </a:lnTo>
                <a:lnTo>
                  <a:pt x="657" y="22"/>
                </a:lnTo>
                <a:lnTo>
                  <a:pt x="657" y="22"/>
                </a:lnTo>
                <a:lnTo>
                  <a:pt x="657" y="22"/>
                </a:lnTo>
                <a:lnTo>
                  <a:pt x="657" y="22"/>
                </a:lnTo>
                <a:lnTo>
                  <a:pt x="657" y="21"/>
                </a:lnTo>
                <a:lnTo>
                  <a:pt x="657" y="21"/>
                </a:lnTo>
                <a:lnTo>
                  <a:pt x="657" y="21"/>
                </a:lnTo>
                <a:lnTo>
                  <a:pt x="657" y="21"/>
                </a:lnTo>
                <a:lnTo>
                  <a:pt x="657" y="21"/>
                </a:lnTo>
                <a:lnTo>
                  <a:pt x="656" y="21"/>
                </a:lnTo>
                <a:lnTo>
                  <a:pt x="656" y="21"/>
                </a:lnTo>
                <a:lnTo>
                  <a:pt x="656" y="20"/>
                </a:lnTo>
                <a:lnTo>
                  <a:pt x="656" y="20"/>
                </a:lnTo>
                <a:lnTo>
                  <a:pt x="656" y="20"/>
                </a:lnTo>
                <a:lnTo>
                  <a:pt x="656" y="20"/>
                </a:lnTo>
                <a:lnTo>
                  <a:pt x="656" y="20"/>
                </a:lnTo>
                <a:lnTo>
                  <a:pt x="656" y="20"/>
                </a:lnTo>
                <a:lnTo>
                  <a:pt x="656" y="20"/>
                </a:lnTo>
                <a:lnTo>
                  <a:pt x="656" y="20"/>
                </a:lnTo>
                <a:lnTo>
                  <a:pt x="655" y="19"/>
                </a:lnTo>
                <a:lnTo>
                  <a:pt x="655" y="19"/>
                </a:lnTo>
                <a:lnTo>
                  <a:pt x="655" y="19"/>
                </a:lnTo>
                <a:lnTo>
                  <a:pt x="655" y="19"/>
                </a:lnTo>
                <a:lnTo>
                  <a:pt x="655" y="19"/>
                </a:lnTo>
                <a:lnTo>
                  <a:pt x="655" y="19"/>
                </a:lnTo>
                <a:lnTo>
                  <a:pt x="655" y="19"/>
                </a:lnTo>
                <a:lnTo>
                  <a:pt x="655" y="19"/>
                </a:lnTo>
                <a:lnTo>
                  <a:pt x="655" y="18"/>
                </a:lnTo>
                <a:lnTo>
                  <a:pt x="655" y="18"/>
                </a:lnTo>
                <a:lnTo>
                  <a:pt x="654" y="18"/>
                </a:lnTo>
                <a:lnTo>
                  <a:pt x="654" y="18"/>
                </a:lnTo>
                <a:lnTo>
                  <a:pt x="654" y="18"/>
                </a:lnTo>
                <a:lnTo>
                  <a:pt x="654" y="18"/>
                </a:lnTo>
                <a:lnTo>
                  <a:pt x="654" y="18"/>
                </a:lnTo>
                <a:lnTo>
                  <a:pt x="654" y="18"/>
                </a:lnTo>
                <a:lnTo>
                  <a:pt x="654" y="17"/>
                </a:lnTo>
                <a:lnTo>
                  <a:pt x="654" y="17"/>
                </a:lnTo>
                <a:lnTo>
                  <a:pt x="654" y="17"/>
                </a:lnTo>
                <a:lnTo>
                  <a:pt x="654" y="17"/>
                </a:lnTo>
                <a:lnTo>
                  <a:pt x="653" y="17"/>
                </a:lnTo>
                <a:lnTo>
                  <a:pt x="653" y="17"/>
                </a:lnTo>
                <a:lnTo>
                  <a:pt x="653" y="17"/>
                </a:lnTo>
                <a:lnTo>
                  <a:pt x="653" y="17"/>
                </a:lnTo>
                <a:lnTo>
                  <a:pt x="653" y="17"/>
                </a:lnTo>
                <a:lnTo>
                  <a:pt x="653" y="15"/>
                </a:lnTo>
                <a:lnTo>
                  <a:pt x="653" y="15"/>
                </a:lnTo>
                <a:lnTo>
                  <a:pt x="653" y="15"/>
                </a:lnTo>
                <a:lnTo>
                  <a:pt x="653" y="15"/>
                </a:lnTo>
                <a:lnTo>
                  <a:pt x="652" y="15"/>
                </a:lnTo>
                <a:lnTo>
                  <a:pt x="652" y="15"/>
                </a:lnTo>
                <a:lnTo>
                  <a:pt x="652" y="15"/>
                </a:lnTo>
                <a:lnTo>
                  <a:pt x="652" y="15"/>
                </a:lnTo>
                <a:lnTo>
                  <a:pt x="652" y="15"/>
                </a:lnTo>
                <a:lnTo>
                  <a:pt x="652" y="15"/>
                </a:lnTo>
                <a:lnTo>
                  <a:pt x="652" y="14"/>
                </a:lnTo>
                <a:lnTo>
                  <a:pt x="652" y="14"/>
                </a:lnTo>
                <a:lnTo>
                  <a:pt x="650" y="14"/>
                </a:lnTo>
                <a:lnTo>
                  <a:pt x="650" y="14"/>
                </a:lnTo>
                <a:lnTo>
                  <a:pt x="650" y="14"/>
                </a:lnTo>
                <a:lnTo>
                  <a:pt x="650" y="14"/>
                </a:lnTo>
                <a:lnTo>
                  <a:pt x="650" y="14"/>
                </a:lnTo>
                <a:lnTo>
                  <a:pt x="650" y="14"/>
                </a:lnTo>
                <a:lnTo>
                  <a:pt x="650" y="14"/>
                </a:lnTo>
                <a:lnTo>
                  <a:pt x="650" y="13"/>
                </a:lnTo>
                <a:lnTo>
                  <a:pt x="649" y="13"/>
                </a:lnTo>
                <a:lnTo>
                  <a:pt x="649" y="13"/>
                </a:lnTo>
                <a:lnTo>
                  <a:pt x="649" y="13"/>
                </a:lnTo>
                <a:lnTo>
                  <a:pt x="649" y="13"/>
                </a:lnTo>
                <a:lnTo>
                  <a:pt x="649" y="13"/>
                </a:lnTo>
                <a:lnTo>
                  <a:pt x="649" y="13"/>
                </a:lnTo>
                <a:lnTo>
                  <a:pt x="649" y="13"/>
                </a:lnTo>
                <a:lnTo>
                  <a:pt x="649" y="13"/>
                </a:lnTo>
                <a:lnTo>
                  <a:pt x="648" y="13"/>
                </a:lnTo>
                <a:lnTo>
                  <a:pt x="648" y="13"/>
                </a:lnTo>
                <a:lnTo>
                  <a:pt x="648" y="12"/>
                </a:lnTo>
                <a:lnTo>
                  <a:pt x="648" y="12"/>
                </a:lnTo>
                <a:lnTo>
                  <a:pt x="648" y="12"/>
                </a:lnTo>
                <a:lnTo>
                  <a:pt x="648" y="12"/>
                </a:lnTo>
                <a:lnTo>
                  <a:pt x="648" y="12"/>
                </a:lnTo>
                <a:lnTo>
                  <a:pt x="647" y="12"/>
                </a:lnTo>
                <a:lnTo>
                  <a:pt x="647" y="12"/>
                </a:lnTo>
                <a:lnTo>
                  <a:pt x="647" y="12"/>
                </a:lnTo>
                <a:lnTo>
                  <a:pt x="647" y="12"/>
                </a:lnTo>
                <a:lnTo>
                  <a:pt x="647" y="12"/>
                </a:lnTo>
                <a:lnTo>
                  <a:pt x="647" y="12"/>
                </a:lnTo>
                <a:lnTo>
                  <a:pt x="647" y="12"/>
                </a:lnTo>
                <a:lnTo>
                  <a:pt x="647" y="11"/>
                </a:lnTo>
                <a:lnTo>
                  <a:pt x="646" y="11"/>
                </a:lnTo>
                <a:lnTo>
                  <a:pt x="646" y="11"/>
                </a:lnTo>
                <a:lnTo>
                  <a:pt x="646" y="11"/>
                </a:lnTo>
                <a:lnTo>
                  <a:pt x="646" y="11"/>
                </a:lnTo>
                <a:lnTo>
                  <a:pt x="646" y="11"/>
                </a:lnTo>
                <a:lnTo>
                  <a:pt x="646" y="11"/>
                </a:lnTo>
                <a:lnTo>
                  <a:pt x="646" y="11"/>
                </a:lnTo>
                <a:lnTo>
                  <a:pt x="645" y="11"/>
                </a:lnTo>
                <a:lnTo>
                  <a:pt x="645" y="11"/>
                </a:lnTo>
                <a:lnTo>
                  <a:pt x="645" y="11"/>
                </a:lnTo>
                <a:lnTo>
                  <a:pt x="645" y="11"/>
                </a:lnTo>
                <a:lnTo>
                  <a:pt x="645" y="11"/>
                </a:lnTo>
                <a:lnTo>
                  <a:pt x="645" y="11"/>
                </a:lnTo>
                <a:lnTo>
                  <a:pt x="645" y="10"/>
                </a:lnTo>
                <a:lnTo>
                  <a:pt x="644" y="10"/>
                </a:lnTo>
                <a:lnTo>
                  <a:pt x="644" y="10"/>
                </a:lnTo>
                <a:lnTo>
                  <a:pt x="644" y="10"/>
                </a:lnTo>
                <a:lnTo>
                  <a:pt x="644" y="10"/>
                </a:lnTo>
                <a:lnTo>
                  <a:pt x="644" y="10"/>
                </a:lnTo>
                <a:lnTo>
                  <a:pt x="644" y="10"/>
                </a:lnTo>
                <a:lnTo>
                  <a:pt x="644" y="10"/>
                </a:lnTo>
                <a:lnTo>
                  <a:pt x="643" y="10"/>
                </a:lnTo>
                <a:lnTo>
                  <a:pt x="643" y="10"/>
                </a:lnTo>
                <a:lnTo>
                  <a:pt x="643" y="10"/>
                </a:lnTo>
                <a:lnTo>
                  <a:pt x="643" y="10"/>
                </a:lnTo>
                <a:lnTo>
                  <a:pt x="643" y="10"/>
                </a:lnTo>
                <a:lnTo>
                  <a:pt x="643" y="10"/>
                </a:lnTo>
                <a:lnTo>
                  <a:pt x="641" y="10"/>
                </a:lnTo>
                <a:lnTo>
                  <a:pt x="641" y="10"/>
                </a:lnTo>
                <a:lnTo>
                  <a:pt x="641" y="10"/>
                </a:lnTo>
                <a:lnTo>
                  <a:pt x="641" y="9"/>
                </a:lnTo>
                <a:lnTo>
                  <a:pt x="641" y="9"/>
                </a:lnTo>
                <a:lnTo>
                  <a:pt x="641" y="9"/>
                </a:lnTo>
                <a:lnTo>
                  <a:pt x="641" y="9"/>
                </a:lnTo>
                <a:lnTo>
                  <a:pt x="640" y="9"/>
                </a:lnTo>
                <a:lnTo>
                  <a:pt x="640" y="9"/>
                </a:lnTo>
                <a:lnTo>
                  <a:pt x="640" y="9"/>
                </a:lnTo>
                <a:lnTo>
                  <a:pt x="640" y="9"/>
                </a:lnTo>
                <a:lnTo>
                  <a:pt x="640" y="9"/>
                </a:lnTo>
                <a:lnTo>
                  <a:pt x="640" y="9"/>
                </a:lnTo>
                <a:lnTo>
                  <a:pt x="639" y="9"/>
                </a:lnTo>
                <a:lnTo>
                  <a:pt x="639" y="9"/>
                </a:lnTo>
                <a:lnTo>
                  <a:pt x="639" y="9"/>
                </a:lnTo>
                <a:lnTo>
                  <a:pt x="639" y="9"/>
                </a:lnTo>
                <a:lnTo>
                  <a:pt x="639" y="9"/>
                </a:lnTo>
                <a:lnTo>
                  <a:pt x="639" y="9"/>
                </a:lnTo>
                <a:lnTo>
                  <a:pt x="639" y="9"/>
                </a:lnTo>
                <a:lnTo>
                  <a:pt x="638" y="9"/>
                </a:lnTo>
                <a:lnTo>
                  <a:pt x="638" y="9"/>
                </a:lnTo>
                <a:lnTo>
                  <a:pt x="638" y="9"/>
                </a:lnTo>
                <a:lnTo>
                  <a:pt x="638" y="9"/>
                </a:lnTo>
                <a:lnTo>
                  <a:pt x="638" y="9"/>
                </a:lnTo>
                <a:lnTo>
                  <a:pt x="638" y="9"/>
                </a:lnTo>
                <a:lnTo>
                  <a:pt x="637" y="8"/>
                </a:lnTo>
                <a:lnTo>
                  <a:pt x="637" y="8"/>
                </a:lnTo>
                <a:lnTo>
                  <a:pt x="637" y="8"/>
                </a:lnTo>
                <a:lnTo>
                  <a:pt x="637" y="8"/>
                </a:lnTo>
                <a:lnTo>
                  <a:pt x="637" y="8"/>
                </a:lnTo>
                <a:lnTo>
                  <a:pt x="637" y="8"/>
                </a:lnTo>
                <a:lnTo>
                  <a:pt x="636" y="8"/>
                </a:lnTo>
                <a:lnTo>
                  <a:pt x="636" y="8"/>
                </a:lnTo>
                <a:lnTo>
                  <a:pt x="636" y="8"/>
                </a:lnTo>
                <a:lnTo>
                  <a:pt x="636" y="8"/>
                </a:lnTo>
                <a:lnTo>
                  <a:pt x="636" y="8"/>
                </a:lnTo>
                <a:lnTo>
                  <a:pt x="636" y="8"/>
                </a:lnTo>
                <a:lnTo>
                  <a:pt x="635" y="8"/>
                </a:lnTo>
                <a:lnTo>
                  <a:pt x="635" y="8"/>
                </a:lnTo>
                <a:lnTo>
                  <a:pt x="635" y="8"/>
                </a:lnTo>
                <a:lnTo>
                  <a:pt x="635" y="8"/>
                </a:lnTo>
                <a:lnTo>
                  <a:pt x="635" y="8"/>
                </a:lnTo>
                <a:lnTo>
                  <a:pt x="635" y="8"/>
                </a:lnTo>
                <a:lnTo>
                  <a:pt x="634" y="8"/>
                </a:lnTo>
                <a:lnTo>
                  <a:pt x="634" y="8"/>
                </a:lnTo>
                <a:lnTo>
                  <a:pt x="634" y="8"/>
                </a:lnTo>
                <a:lnTo>
                  <a:pt x="634" y="8"/>
                </a:lnTo>
                <a:lnTo>
                  <a:pt x="634" y="8"/>
                </a:lnTo>
                <a:lnTo>
                  <a:pt x="634" y="8"/>
                </a:lnTo>
                <a:lnTo>
                  <a:pt x="632" y="8"/>
                </a:lnTo>
                <a:lnTo>
                  <a:pt x="632" y="8"/>
                </a:lnTo>
                <a:lnTo>
                  <a:pt x="632" y="8"/>
                </a:lnTo>
                <a:lnTo>
                  <a:pt x="632" y="8"/>
                </a:lnTo>
                <a:lnTo>
                  <a:pt x="632" y="8"/>
                </a:lnTo>
                <a:lnTo>
                  <a:pt x="632" y="8"/>
                </a:lnTo>
                <a:lnTo>
                  <a:pt x="631" y="8"/>
                </a:lnTo>
                <a:lnTo>
                  <a:pt x="631" y="8"/>
                </a:lnTo>
                <a:lnTo>
                  <a:pt x="631" y="8"/>
                </a:lnTo>
                <a:lnTo>
                  <a:pt x="631" y="8"/>
                </a:lnTo>
                <a:lnTo>
                  <a:pt x="631" y="8"/>
                </a:lnTo>
                <a:lnTo>
                  <a:pt x="631" y="8"/>
                </a:lnTo>
                <a:lnTo>
                  <a:pt x="630" y="8"/>
                </a:lnTo>
                <a:lnTo>
                  <a:pt x="630" y="8"/>
                </a:lnTo>
                <a:lnTo>
                  <a:pt x="630" y="8"/>
                </a:lnTo>
                <a:lnTo>
                  <a:pt x="630" y="8"/>
                </a:lnTo>
                <a:lnTo>
                  <a:pt x="630" y="8"/>
                </a:lnTo>
                <a:lnTo>
                  <a:pt x="630" y="8"/>
                </a:lnTo>
                <a:lnTo>
                  <a:pt x="629" y="8"/>
                </a:lnTo>
                <a:lnTo>
                  <a:pt x="629" y="8"/>
                </a:lnTo>
                <a:lnTo>
                  <a:pt x="629" y="8"/>
                </a:lnTo>
                <a:lnTo>
                  <a:pt x="629" y="8"/>
                </a:lnTo>
                <a:lnTo>
                  <a:pt x="629" y="8"/>
                </a:lnTo>
                <a:lnTo>
                  <a:pt x="629" y="8"/>
                </a:lnTo>
                <a:lnTo>
                  <a:pt x="628" y="8"/>
                </a:lnTo>
                <a:lnTo>
                  <a:pt x="628" y="8"/>
                </a:lnTo>
                <a:lnTo>
                  <a:pt x="628" y="8"/>
                </a:lnTo>
                <a:lnTo>
                  <a:pt x="628" y="8"/>
                </a:lnTo>
                <a:lnTo>
                  <a:pt x="628" y="8"/>
                </a:lnTo>
                <a:lnTo>
                  <a:pt x="628" y="8"/>
                </a:lnTo>
                <a:lnTo>
                  <a:pt x="627" y="8"/>
                </a:lnTo>
                <a:lnTo>
                  <a:pt x="627" y="8"/>
                </a:lnTo>
                <a:lnTo>
                  <a:pt x="627" y="8"/>
                </a:lnTo>
                <a:lnTo>
                  <a:pt x="627" y="8"/>
                </a:lnTo>
                <a:lnTo>
                  <a:pt x="627" y="8"/>
                </a:lnTo>
                <a:lnTo>
                  <a:pt x="627" y="9"/>
                </a:lnTo>
                <a:lnTo>
                  <a:pt x="626" y="9"/>
                </a:lnTo>
                <a:lnTo>
                  <a:pt x="626" y="9"/>
                </a:lnTo>
                <a:lnTo>
                  <a:pt x="626" y="9"/>
                </a:lnTo>
                <a:lnTo>
                  <a:pt x="626" y="9"/>
                </a:lnTo>
                <a:lnTo>
                  <a:pt x="626" y="9"/>
                </a:lnTo>
                <a:lnTo>
                  <a:pt x="626" y="9"/>
                </a:lnTo>
                <a:lnTo>
                  <a:pt x="625" y="9"/>
                </a:lnTo>
                <a:lnTo>
                  <a:pt x="625" y="9"/>
                </a:lnTo>
                <a:lnTo>
                  <a:pt x="625" y="9"/>
                </a:lnTo>
                <a:lnTo>
                  <a:pt x="625" y="9"/>
                </a:lnTo>
                <a:lnTo>
                  <a:pt x="625" y="9"/>
                </a:lnTo>
                <a:lnTo>
                  <a:pt x="625" y="9"/>
                </a:lnTo>
                <a:lnTo>
                  <a:pt x="625" y="9"/>
                </a:lnTo>
                <a:lnTo>
                  <a:pt x="623" y="9"/>
                </a:lnTo>
                <a:lnTo>
                  <a:pt x="623" y="9"/>
                </a:lnTo>
                <a:lnTo>
                  <a:pt x="623" y="9"/>
                </a:lnTo>
                <a:lnTo>
                  <a:pt x="623" y="9"/>
                </a:lnTo>
                <a:lnTo>
                  <a:pt x="623" y="9"/>
                </a:lnTo>
                <a:lnTo>
                  <a:pt x="623" y="9"/>
                </a:lnTo>
                <a:lnTo>
                  <a:pt x="622" y="9"/>
                </a:lnTo>
                <a:lnTo>
                  <a:pt x="622" y="9"/>
                </a:lnTo>
                <a:lnTo>
                  <a:pt x="622" y="9"/>
                </a:lnTo>
                <a:lnTo>
                  <a:pt x="622" y="10"/>
                </a:lnTo>
                <a:lnTo>
                  <a:pt x="622" y="10"/>
                </a:lnTo>
                <a:lnTo>
                  <a:pt x="622" y="10"/>
                </a:lnTo>
                <a:lnTo>
                  <a:pt x="622" y="10"/>
                </a:lnTo>
                <a:lnTo>
                  <a:pt x="621" y="10"/>
                </a:lnTo>
                <a:lnTo>
                  <a:pt x="621" y="10"/>
                </a:lnTo>
                <a:lnTo>
                  <a:pt x="621" y="10"/>
                </a:lnTo>
                <a:lnTo>
                  <a:pt x="621" y="10"/>
                </a:lnTo>
                <a:lnTo>
                  <a:pt x="621" y="10"/>
                </a:lnTo>
                <a:lnTo>
                  <a:pt x="621" y="10"/>
                </a:lnTo>
                <a:lnTo>
                  <a:pt x="620" y="10"/>
                </a:lnTo>
                <a:lnTo>
                  <a:pt x="620" y="10"/>
                </a:lnTo>
                <a:lnTo>
                  <a:pt x="620" y="10"/>
                </a:lnTo>
                <a:lnTo>
                  <a:pt x="620" y="10"/>
                </a:lnTo>
                <a:lnTo>
                  <a:pt x="620" y="10"/>
                </a:lnTo>
                <a:lnTo>
                  <a:pt x="620" y="10"/>
                </a:lnTo>
                <a:lnTo>
                  <a:pt x="620" y="10"/>
                </a:lnTo>
                <a:lnTo>
                  <a:pt x="619" y="11"/>
                </a:lnTo>
                <a:lnTo>
                  <a:pt x="619" y="11"/>
                </a:lnTo>
                <a:lnTo>
                  <a:pt x="619" y="11"/>
                </a:lnTo>
                <a:lnTo>
                  <a:pt x="619" y="11"/>
                </a:lnTo>
                <a:lnTo>
                  <a:pt x="619" y="11"/>
                </a:lnTo>
                <a:lnTo>
                  <a:pt x="619" y="11"/>
                </a:lnTo>
                <a:lnTo>
                  <a:pt x="619" y="11"/>
                </a:lnTo>
                <a:lnTo>
                  <a:pt x="618" y="11"/>
                </a:lnTo>
                <a:lnTo>
                  <a:pt x="618" y="11"/>
                </a:lnTo>
                <a:lnTo>
                  <a:pt x="618" y="11"/>
                </a:lnTo>
                <a:lnTo>
                  <a:pt x="618" y="11"/>
                </a:lnTo>
                <a:lnTo>
                  <a:pt x="618" y="11"/>
                </a:lnTo>
                <a:lnTo>
                  <a:pt x="618" y="11"/>
                </a:lnTo>
                <a:lnTo>
                  <a:pt x="618" y="11"/>
                </a:lnTo>
                <a:lnTo>
                  <a:pt x="617" y="12"/>
                </a:lnTo>
                <a:lnTo>
                  <a:pt x="617" y="12"/>
                </a:lnTo>
                <a:lnTo>
                  <a:pt x="617" y="12"/>
                </a:lnTo>
                <a:lnTo>
                  <a:pt x="617" y="12"/>
                </a:lnTo>
                <a:lnTo>
                  <a:pt x="617" y="12"/>
                </a:lnTo>
                <a:lnTo>
                  <a:pt x="617" y="12"/>
                </a:lnTo>
                <a:lnTo>
                  <a:pt x="617" y="12"/>
                </a:lnTo>
                <a:lnTo>
                  <a:pt x="616" y="12"/>
                </a:lnTo>
                <a:lnTo>
                  <a:pt x="616" y="12"/>
                </a:lnTo>
                <a:lnTo>
                  <a:pt x="616" y="12"/>
                </a:lnTo>
                <a:lnTo>
                  <a:pt x="616" y="12"/>
                </a:lnTo>
                <a:lnTo>
                  <a:pt x="616" y="12"/>
                </a:lnTo>
                <a:lnTo>
                  <a:pt x="616" y="13"/>
                </a:lnTo>
                <a:lnTo>
                  <a:pt x="616" y="13"/>
                </a:lnTo>
                <a:lnTo>
                  <a:pt x="616" y="13"/>
                </a:lnTo>
                <a:lnTo>
                  <a:pt x="614" y="13"/>
                </a:lnTo>
                <a:lnTo>
                  <a:pt x="614" y="13"/>
                </a:lnTo>
                <a:lnTo>
                  <a:pt x="614" y="13"/>
                </a:lnTo>
                <a:lnTo>
                  <a:pt x="614" y="13"/>
                </a:lnTo>
                <a:lnTo>
                  <a:pt x="614" y="13"/>
                </a:lnTo>
                <a:lnTo>
                  <a:pt x="614" y="13"/>
                </a:lnTo>
                <a:lnTo>
                  <a:pt x="614" y="13"/>
                </a:lnTo>
                <a:lnTo>
                  <a:pt x="614" y="13"/>
                </a:lnTo>
                <a:lnTo>
                  <a:pt x="613" y="14"/>
                </a:lnTo>
                <a:lnTo>
                  <a:pt x="613" y="14"/>
                </a:lnTo>
                <a:lnTo>
                  <a:pt x="613" y="14"/>
                </a:lnTo>
                <a:lnTo>
                  <a:pt x="613" y="14"/>
                </a:lnTo>
                <a:lnTo>
                  <a:pt x="613" y="14"/>
                </a:lnTo>
                <a:lnTo>
                  <a:pt x="613" y="14"/>
                </a:lnTo>
                <a:lnTo>
                  <a:pt x="613" y="14"/>
                </a:lnTo>
                <a:lnTo>
                  <a:pt x="613" y="14"/>
                </a:lnTo>
                <a:lnTo>
                  <a:pt x="612" y="14"/>
                </a:lnTo>
                <a:lnTo>
                  <a:pt x="612" y="15"/>
                </a:lnTo>
                <a:lnTo>
                  <a:pt x="612" y="15"/>
                </a:lnTo>
                <a:lnTo>
                  <a:pt x="612" y="15"/>
                </a:lnTo>
                <a:lnTo>
                  <a:pt x="612" y="15"/>
                </a:lnTo>
                <a:lnTo>
                  <a:pt x="612" y="15"/>
                </a:lnTo>
                <a:lnTo>
                  <a:pt x="612" y="15"/>
                </a:lnTo>
                <a:lnTo>
                  <a:pt x="612" y="15"/>
                </a:lnTo>
                <a:lnTo>
                  <a:pt x="611" y="15"/>
                </a:lnTo>
                <a:lnTo>
                  <a:pt x="611" y="15"/>
                </a:lnTo>
                <a:lnTo>
                  <a:pt x="611" y="15"/>
                </a:lnTo>
                <a:lnTo>
                  <a:pt x="611" y="17"/>
                </a:lnTo>
                <a:lnTo>
                  <a:pt x="611" y="17"/>
                </a:lnTo>
                <a:lnTo>
                  <a:pt x="611" y="17"/>
                </a:lnTo>
                <a:lnTo>
                  <a:pt x="611" y="17"/>
                </a:lnTo>
                <a:lnTo>
                  <a:pt x="611" y="17"/>
                </a:lnTo>
                <a:lnTo>
                  <a:pt x="611" y="17"/>
                </a:lnTo>
                <a:lnTo>
                  <a:pt x="610" y="17"/>
                </a:lnTo>
                <a:lnTo>
                  <a:pt x="610" y="17"/>
                </a:lnTo>
                <a:lnTo>
                  <a:pt x="610" y="17"/>
                </a:lnTo>
                <a:lnTo>
                  <a:pt x="610" y="18"/>
                </a:lnTo>
                <a:lnTo>
                  <a:pt x="610" y="18"/>
                </a:lnTo>
                <a:lnTo>
                  <a:pt x="610" y="18"/>
                </a:lnTo>
                <a:lnTo>
                  <a:pt x="610" y="18"/>
                </a:lnTo>
                <a:lnTo>
                  <a:pt x="610" y="18"/>
                </a:lnTo>
                <a:lnTo>
                  <a:pt x="610" y="18"/>
                </a:lnTo>
                <a:lnTo>
                  <a:pt x="610" y="18"/>
                </a:lnTo>
                <a:lnTo>
                  <a:pt x="609" y="18"/>
                </a:lnTo>
                <a:lnTo>
                  <a:pt x="609" y="19"/>
                </a:lnTo>
                <a:lnTo>
                  <a:pt x="609" y="19"/>
                </a:lnTo>
                <a:lnTo>
                  <a:pt x="609" y="19"/>
                </a:lnTo>
                <a:lnTo>
                  <a:pt x="609" y="19"/>
                </a:lnTo>
                <a:lnTo>
                  <a:pt x="609" y="19"/>
                </a:lnTo>
                <a:lnTo>
                  <a:pt x="609" y="19"/>
                </a:lnTo>
                <a:lnTo>
                  <a:pt x="609" y="19"/>
                </a:lnTo>
                <a:lnTo>
                  <a:pt x="609" y="19"/>
                </a:lnTo>
                <a:lnTo>
                  <a:pt x="609" y="20"/>
                </a:lnTo>
                <a:lnTo>
                  <a:pt x="608" y="20"/>
                </a:lnTo>
                <a:lnTo>
                  <a:pt x="608" y="20"/>
                </a:lnTo>
                <a:lnTo>
                  <a:pt x="608" y="20"/>
                </a:lnTo>
                <a:lnTo>
                  <a:pt x="608" y="20"/>
                </a:lnTo>
                <a:lnTo>
                  <a:pt x="608" y="20"/>
                </a:lnTo>
                <a:lnTo>
                  <a:pt x="608" y="20"/>
                </a:lnTo>
                <a:lnTo>
                  <a:pt x="608" y="20"/>
                </a:lnTo>
                <a:lnTo>
                  <a:pt x="608" y="21"/>
                </a:lnTo>
                <a:lnTo>
                  <a:pt x="608" y="21"/>
                </a:lnTo>
                <a:lnTo>
                  <a:pt x="608" y="21"/>
                </a:lnTo>
                <a:lnTo>
                  <a:pt x="608" y="21"/>
                </a:lnTo>
                <a:lnTo>
                  <a:pt x="607" y="21"/>
                </a:lnTo>
                <a:lnTo>
                  <a:pt x="607" y="21"/>
                </a:lnTo>
                <a:lnTo>
                  <a:pt x="607" y="21"/>
                </a:lnTo>
                <a:lnTo>
                  <a:pt x="607" y="22"/>
                </a:lnTo>
                <a:lnTo>
                  <a:pt x="607" y="22"/>
                </a:lnTo>
                <a:lnTo>
                  <a:pt x="607" y="22"/>
                </a:lnTo>
                <a:lnTo>
                  <a:pt x="607" y="22"/>
                </a:lnTo>
                <a:lnTo>
                  <a:pt x="607" y="22"/>
                </a:lnTo>
                <a:lnTo>
                  <a:pt x="607" y="22"/>
                </a:lnTo>
                <a:lnTo>
                  <a:pt x="607" y="22"/>
                </a:lnTo>
                <a:lnTo>
                  <a:pt x="607" y="22"/>
                </a:lnTo>
                <a:lnTo>
                  <a:pt x="607" y="23"/>
                </a:lnTo>
                <a:lnTo>
                  <a:pt x="605" y="23"/>
                </a:lnTo>
                <a:lnTo>
                  <a:pt x="605" y="23"/>
                </a:lnTo>
                <a:lnTo>
                  <a:pt x="605" y="23"/>
                </a:lnTo>
                <a:lnTo>
                  <a:pt x="605" y="23"/>
                </a:lnTo>
                <a:lnTo>
                  <a:pt x="605" y="23"/>
                </a:lnTo>
                <a:lnTo>
                  <a:pt x="605" y="23"/>
                </a:lnTo>
                <a:lnTo>
                  <a:pt x="605" y="24"/>
                </a:lnTo>
                <a:lnTo>
                  <a:pt x="605" y="24"/>
                </a:lnTo>
                <a:lnTo>
                  <a:pt x="605" y="24"/>
                </a:lnTo>
                <a:lnTo>
                  <a:pt x="605" y="24"/>
                </a:lnTo>
                <a:lnTo>
                  <a:pt x="605" y="24"/>
                </a:lnTo>
                <a:lnTo>
                  <a:pt x="605" y="24"/>
                </a:lnTo>
                <a:lnTo>
                  <a:pt x="605" y="24"/>
                </a:lnTo>
                <a:lnTo>
                  <a:pt x="605" y="26"/>
                </a:lnTo>
                <a:lnTo>
                  <a:pt x="604" y="26"/>
                </a:lnTo>
                <a:lnTo>
                  <a:pt x="604" y="26"/>
                </a:lnTo>
                <a:lnTo>
                  <a:pt x="604" y="26"/>
                </a:lnTo>
                <a:lnTo>
                  <a:pt x="604" y="26"/>
                </a:lnTo>
                <a:lnTo>
                  <a:pt x="604" y="26"/>
                </a:lnTo>
                <a:lnTo>
                  <a:pt x="604" y="26"/>
                </a:lnTo>
                <a:lnTo>
                  <a:pt x="604" y="27"/>
                </a:lnTo>
                <a:lnTo>
                  <a:pt x="604" y="27"/>
                </a:lnTo>
                <a:lnTo>
                  <a:pt x="604" y="27"/>
                </a:lnTo>
                <a:lnTo>
                  <a:pt x="604" y="27"/>
                </a:lnTo>
                <a:lnTo>
                  <a:pt x="604" y="27"/>
                </a:lnTo>
                <a:lnTo>
                  <a:pt x="604" y="27"/>
                </a:lnTo>
                <a:lnTo>
                  <a:pt x="604" y="28"/>
                </a:lnTo>
                <a:lnTo>
                  <a:pt x="604" y="28"/>
                </a:lnTo>
                <a:lnTo>
                  <a:pt x="604" y="28"/>
                </a:lnTo>
                <a:lnTo>
                  <a:pt x="604" y="28"/>
                </a:lnTo>
                <a:lnTo>
                  <a:pt x="604" y="28"/>
                </a:lnTo>
                <a:lnTo>
                  <a:pt x="603" y="28"/>
                </a:lnTo>
                <a:lnTo>
                  <a:pt x="603" y="28"/>
                </a:lnTo>
                <a:lnTo>
                  <a:pt x="603" y="29"/>
                </a:lnTo>
                <a:lnTo>
                  <a:pt x="603" y="29"/>
                </a:lnTo>
                <a:lnTo>
                  <a:pt x="603" y="29"/>
                </a:lnTo>
                <a:lnTo>
                  <a:pt x="603" y="29"/>
                </a:lnTo>
                <a:lnTo>
                  <a:pt x="603" y="29"/>
                </a:lnTo>
                <a:lnTo>
                  <a:pt x="603" y="29"/>
                </a:lnTo>
                <a:lnTo>
                  <a:pt x="603" y="30"/>
                </a:lnTo>
                <a:lnTo>
                  <a:pt x="603" y="30"/>
                </a:lnTo>
                <a:lnTo>
                  <a:pt x="603" y="30"/>
                </a:lnTo>
                <a:lnTo>
                  <a:pt x="603" y="30"/>
                </a:lnTo>
                <a:lnTo>
                  <a:pt x="603" y="30"/>
                </a:lnTo>
                <a:lnTo>
                  <a:pt x="603" y="30"/>
                </a:lnTo>
                <a:lnTo>
                  <a:pt x="603" y="30"/>
                </a:lnTo>
                <a:lnTo>
                  <a:pt x="603" y="31"/>
                </a:lnTo>
                <a:lnTo>
                  <a:pt x="603" y="31"/>
                </a:lnTo>
                <a:lnTo>
                  <a:pt x="603" y="31"/>
                </a:lnTo>
                <a:lnTo>
                  <a:pt x="603" y="31"/>
                </a:lnTo>
                <a:lnTo>
                  <a:pt x="603" y="31"/>
                </a:lnTo>
                <a:lnTo>
                  <a:pt x="603" y="31"/>
                </a:lnTo>
                <a:lnTo>
                  <a:pt x="603" y="32"/>
                </a:lnTo>
                <a:lnTo>
                  <a:pt x="603" y="32"/>
                </a:lnTo>
                <a:lnTo>
                  <a:pt x="603" y="32"/>
                </a:lnTo>
                <a:lnTo>
                  <a:pt x="603" y="32"/>
                </a:lnTo>
                <a:lnTo>
                  <a:pt x="603" y="32"/>
                </a:lnTo>
                <a:lnTo>
                  <a:pt x="602" y="32"/>
                </a:lnTo>
                <a:lnTo>
                  <a:pt x="602" y="34"/>
                </a:lnTo>
                <a:lnTo>
                  <a:pt x="602" y="34"/>
                </a:lnTo>
                <a:lnTo>
                  <a:pt x="602" y="34"/>
                </a:lnTo>
                <a:lnTo>
                  <a:pt x="602" y="34"/>
                </a:lnTo>
                <a:lnTo>
                  <a:pt x="602" y="34"/>
                </a:lnTo>
                <a:lnTo>
                  <a:pt x="602" y="34"/>
                </a:lnTo>
                <a:lnTo>
                  <a:pt x="602" y="35"/>
                </a:lnTo>
                <a:lnTo>
                  <a:pt x="602" y="35"/>
                </a:lnTo>
                <a:lnTo>
                  <a:pt x="602" y="35"/>
                </a:lnTo>
                <a:lnTo>
                  <a:pt x="602" y="35"/>
                </a:lnTo>
                <a:lnTo>
                  <a:pt x="602" y="35"/>
                </a:lnTo>
                <a:lnTo>
                  <a:pt x="602" y="35"/>
                </a:lnTo>
                <a:lnTo>
                  <a:pt x="602" y="36"/>
                </a:lnTo>
                <a:lnTo>
                  <a:pt x="602" y="36"/>
                </a:lnTo>
                <a:lnTo>
                  <a:pt x="602" y="36"/>
                </a:lnTo>
                <a:lnTo>
                  <a:pt x="602" y="36"/>
                </a:lnTo>
                <a:lnTo>
                  <a:pt x="602" y="36"/>
                </a:lnTo>
                <a:lnTo>
                  <a:pt x="602" y="36"/>
                </a:lnTo>
                <a:lnTo>
                  <a:pt x="602" y="37"/>
                </a:lnTo>
                <a:lnTo>
                  <a:pt x="602" y="37"/>
                </a:lnTo>
                <a:lnTo>
                  <a:pt x="602" y="37"/>
                </a:lnTo>
                <a:lnTo>
                  <a:pt x="602" y="37"/>
                </a:lnTo>
                <a:lnTo>
                  <a:pt x="602" y="37"/>
                </a:lnTo>
                <a:lnTo>
                  <a:pt x="602" y="37"/>
                </a:lnTo>
                <a:lnTo>
                  <a:pt x="602" y="37"/>
                </a:lnTo>
                <a:close/>
                <a:moveTo>
                  <a:pt x="632" y="75"/>
                </a:moveTo>
                <a:lnTo>
                  <a:pt x="631" y="75"/>
                </a:lnTo>
                <a:lnTo>
                  <a:pt x="631" y="75"/>
                </a:lnTo>
                <a:lnTo>
                  <a:pt x="631" y="75"/>
                </a:lnTo>
                <a:lnTo>
                  <a:pt x="631" y="75"/>
                </a:lnTo>
                <a:lnTo>
                  <a:pt x="630" y="75"/>
                </a:lnTo>
                <a:lnTo>
                  <a:pt x="630" y="75"/>
                </a:lnTo>
                <a:lnTo>
                  <a:pt x="630" y="75"/>
                </a:lnTo>
                <a:lnTo>
                  <a:pt x="630" y="75"/>
                </a:lnTo>
                <a:lnTo>
                  <a:pt x="630" y="75"/>
                </a:lnTo>
                <a:lnTo>
                  <a:pt x="629" y="75"/>
                </a:lnTo>
                <a:lnTo>
                  <a:pt x="629" y="75"/>
                </a:lnTo>
                <a:lnTo>
                  <a:pt x="629" y="75"/>
                </a:lnTo>
                <a:lnTo>
                  <a:pt x="629" y="75"/>
                </a:lnTo>
                <a:lnTo>
                  <a:pt x="629" y="75"/>
                </a:lnTo>
                <a:lnTo>
                  <a:pt x="628" y="75"/>
                </a:lnTo>
                <a:lnTo>
                  <a:pt x="628" y="75"/>
                </a:lnTo>
                <a:lnTo>
                  <a:pt x="628" y="75"/>
                </a:lnTo>
                <a:lnTo>
                  <a:pt x="628" y="75"/>
                </a:lnTo>
                <a:lnTo>
                  <a:pt x="628" y="75"/>
                </a:lnTo>
                <a:lnTo>
                  <a:pt x="627" y="75"/>
                </a:lnTo>
                <a:lnTo>
                  <a:pt x="627" y="75"/>
                </a:lnTo>
                <a:lnTo>
                  <a:pt x="627" y="75"/>
                </a:lnTo>
                <a:lnTo>
                  <a:pt x="627" y="74"/>
                </a:lnTo>
                <a:lnTo>
                  <a:pt x="626" y="74"/>
                </a:lnTo>
                <a:lnTo>
                  <a:pt x="626" y="74"/>
                </a:lnTo>
                <a:lnTo>
                  <a:pt x="626" y="74"/>
                </a:lnTo>
                <a:lnTo>
                  <a:pt x="626" y="74"/>
                </a:lnTo>
                <a:lnTo>
                  <a:pt x="626" y="74"/>
                </a:lnTo>
                <a:lnTo>
                  <a:pt x="625" y="74"/>
                </a:lnTo>
                <a:lnTo>
                  <a:pt x="625" y="74"/>
                </a:lnTo>
                <a:lnTo>
                  <a:pt x="625" y="74"/>
                </a:lnTo>
                <a:lnTo>
                  <a:pt x="625" y="74"/>
                </a:lnTo>
                <a:lnTo>
                  <a:pt x="625" y="74"/>
                </a:lnTo>
                <a:lnTo>
                  <a:pt x="623" y="74"/>
                </a:lnTo>
                <a:lnTo>
                  <a:pt x="623" y="74"/>
                </a:lnTo>
                <a:lnTo>
                  <a:pt x="623" y="74"/>
                </a:lnTo>
                <a:lnTo>
                  <a:pt x="623" y="74"/>
                </a:lnTo>
                <a:lnTo>
                  <a:pt x="623" y="74"/>
                </a:lnTo>
                <a:lnTo>
                  <a:pt x="622" y="74"/>
                </a:lnTo>
                <a:lnTo>
                  <a:pt x="622" y="74"/>
                </a:lnTo>
                <a:lnTo>
                  <a:pt x="622" y="74"/>
                </a:lnTo>
                <a:lnTo>
                  <a:pt x="622" y="74"/>
                </a:lnTo>
                <a:lnTo>
                  <a:pt x="622" y="74"/>
                </a:lnTo>
                <a:lnTo>
                  <a:pt x="621" y="74"/>
                </a:lnTo>
                <a:lnTo>
                  <a:pt x="621" y="73"/>
                </a:lnTo>
                <a:lnTo>
                  <a:pt x="621" y="73"/>
                </a:lnTo>
                <a:lnTo>
                  <a:pt x="621" y="73"/>
                </a:lnTo>
                <a:lnTo>
                  <a:pt x="621" y="73"/>
                </a:lnTo>
                <a:lnTo>
                  <a:pt x="620" y="73"/>
                </a:lnTo>
                <a:lnTo>
                  <a:pt x="620" y="73"/>
                </a:lnTo>
                <a:lnTo>
                  <a:pt x="620" y="73"/>
                </a:lnTo>
                <a:lnTo>
                  <a:pt x="620" y="73"/>
                </a:lnTo>
                <a:lnTo>
                  <a:pt x="620" y="73"/>
                </a:lnTo>
                <a:lnTo>
                  <a:pt x="619" y="73"/>
                </a:lnTo>
                <a:lnTo>
                  <a:pt x="619" y="73"/>
                </a:lnTo>
                <a:lnTo>
                  <a:pt x="619" y="73"/>
                </a:lnTo>
                <a:lnTo>
                  <a:pt x="619" y="73"/>
                </a:lnTo>
                <a:lnTo>
                  <a:pt x="619" y="73"/>
                </a:lnTo>
                <a:lnTo>
                  <a:pt x="619" y="73"/>
                </a:lnTo>
                <a:lnTo>
                  <a:pt x="618" y="72"/>
                </a:lnTo>
                <a:lnTo>
                  <a:pt x="618" y="72"/>
                </a:lnTo>
                <a:lnTo>
                  <a:pt x="618" y="72"/>
                </a:lnTo>
                <a:lnTo>
                  <a:pt x="618" y="72"/>
                </a:lnTo>
                <a:lnTo>
                  <a:pt x="618" y="72"/>
                </a:lnTo>
                <a:lnTo>
                  <a:pt x="617" y="72"/>
                </a:lnTo>
                <a:lnTo>
                  <a:pt x="617" y="72"/>
                </a:lnTo>
                <a:lnTo>
                  <a:pt x="617" y="72"/>
                </a:lnTo>
                <a:lnTo>
                  <a:pt x="617" y="72"/>
                </a:lnTo>
                <a:lnTo>
                  <a:pt x="617" y="72"/>
                </a:lnTo>
                <a:lnTo>
                  <a:pt x="616" y="72"/>
                </a:lnTo>
                <a:lnTo>
                  <a:pt x="616" y="72"/>
                </a:lnTo>
                <a:lnTo>
                  <a:pt x="616" y="72"/>
                </a:lnTo>
                <a:lnTo>
                  <a:pt x="616" y="71"/>
                </a:lnTo>
                <a:lnTo>
                  <a:pt x="616" y="71"/>
                </a:lnTo>
                <a:lnTo>
                  <a:pt x="616" y="71"/>
                </a:lnTo>
                <a:lnTo>
                  <a:pt x="614" y="71"/>
                </a:lnTo>
                <a:lnTo>
                  <a:pt x="614" y="71"/>
                </a:lnTo>
                <a:lnTo>
                  <a:pt x="614" y="71"/>
                </a:lnTo>
                <a:lnTo>
                  <a:pt x="614" y="71"/>
                </a:lnTo>
                <a:lnTo>
                  <a:pt x="614" y="71"/>
                </a:lnTo>
                <a:lnTo>
                  <a:pt x="613" y="71"/>
                </a:lnTo>
                <a:lnTo>
                  <a:pt x="613" y="71"/>
                </a:lnTo>
                <a:lnTo>
                  <a:pt x="613" y="70"/>
                </a:lnTo>
                <a:lnTo>
                  <a:pt x="613" y="70"/>
                </a:lnTo>
                <a:lnTo>
                  <a:pt x="613" y="70"/>
                </a:lnTo>
                <a:lnTo>
                  <a:pt x="613" y="70"/>
                </a:lnTo>
                <a:lnTo>
                  <a:pt x="612" y="70"/>
                </a:lnTo>
                <a:lnTo>
                  <a:pt x="612" y="70"/>
                </a:lnTo>
                <a:lnTo>
                  <a:pt x="612" y="70"/>
                </a:lnTo>
                <a:lnTo>
                  <a:pt x="612" y="70"/>
                </a:lnTo>
                <a:lnTo>
                  <a:pt x="612" y="70"/>
                </a:lnTo>
                <a:lnTo>
                  <a:pt x="612" y="70"/>
                </a:lnTo>
                <a:lnTo>
                  <a:pt x="611" y="68"/>
                </a:lnTo>
                <a:lnTo>
                  <a:pt x="611" y="68"/>
                </a:lnTo>
                <a:lnTo>
                  <a:pt x="611" y="68"/>
                </a:lnTo>
                <a:lnTo>
                  <a:pt x="611" y="68"/>
                </a:lnTo>
                <a:lnTo>
                  <a:pt x="611" y="68"/>
                </a:lnTo>
                <a:lnTo>
                  <a:pt x="611" y="68"/>
                </a:lnTo>
                <a:lnTo>
                  <a:pt x="610" y="68"/>
                </a:lnTo>
                <a:lnTo>
                  <a:pt x="610" y="68"/>
                </a:lnTo>
                <a:lnTo>
                  <a:pt x="610" y="68"/>
                </a:lnTo>
                <a:lnTo>
                  <a:pt x="610" y="67"/>
                </a:lnTo>
                <a:lnTo>
                  <a:pt x="610" y="67"/>
                </a:lnTo>
                <a:lnTo>
                  <a:pt x="610" y="67"/>
                </a:lnTo>
                <a:lnTo>
                  <a:pt x="609" y="67"/>
                </a:lnTo>
                <a:lnTo>
                  <a:pt x="609" y="67"/>
                </a:lnTo>
                <a:lnTo>
                  <a:pt x="609" y="67"/>
                </a:lnTo>
                <a:lnTo>
                  <a:pt x="609" y="67"/>
                </a:lnTo>
                <a:lnTo>
                  <a:pt x="609" y="67"/>
                </a:lnTo>
                <a:lnTo>
                  <a:pt x="609" y="66"/>
                </a:lnTo>
                <a:lnTo>
                  <a:pt x="608" y="66"/>
                </a:lnTo>
                <a:lnTo>
                  <a:pt x="608" y="66"/>
                </a:lnTo>
                <a:lnTo>
                  <a:pt x="608" y="66"/>
                </a:lnTo>
                <a:lnTo>
                  <a:pt x="608" y="66"/>
                </a:lnTo>
                <a:lnTo>
                  <a:pt x="608" y="66"/>
                </a:lnTo>
                <a:lnTo>
                  <a:pt x="608" y="66"/>
                </a:lnTo>
                <a:lnTo>
                  <a:pt x="608" y="66"/>
                </a:lnTo>
                <a:lnTo>
                  <a:pt x="607" y="65"/>
                </a:lnTo>
                <a:lnTo>
                  <a:pt x="607" y="65"/>
                </a:lnTo>
                <a:lnTo>
                  <a:pt x="607" y="65"/>
                </a:lnTo>
                <a:lnTo>
                  <a:pt x="607" y="65"/>
                </a:lnTo>
                <a:lnTo>
                  <a:pt x="607" y="65"/>
                </a:lnTo>
                <a:lnTo>
                  <a:pt x="607" y="65"/>
                </a:lnTo>
                <a:lnTo>
                  <a:pt x="607" y="65"/>
                </a:lnTo>
                <a:lnTo>
                  <a:pt x="605" y="64"/>
                </a:lnTo>
                <a:lnTo>
                  <a:pt x="605" y="64"/>
                </a:lnTo>
                <a:lnTo>
                  <a:pt x="605" y="64"/>
                </a:lnTo>
                <a:lnTo>
                  <a:pt x="605" y="64"/>
                </a:lnTo>
                <a:lnTo>
                  <a:pt x="605" y="64"/>
                </a:lnTo>
                <a:lnTo>
                  <a:pt x="605" y="64"/>
                </a:lnTo>
                <a:lnTo>
                  <a:pt x="605" y="64"/>
                </a:lnTo>
                <a:lnTo>
                  <a:pt x="604" y="63"/>
                </a:lnTo>
                <a:lnTo>
                  <a:pt x="604" y="63"/>
                </a:lnTo>
                <a:lnTo>
                  <a:pt x="604" y="63"/>
                </a:lnTo>
                <a:lnTo>
                  <a:pt x="604" y="63"/>
                </a:lnTo>
                <a:lnTo>
                  <a:pt x="604" y="63"/>
                </a:lnTo>
                <a:lnTo>
                  <a:pt x="604" y="63"/>
                </a:lnTo>
                <a:lnTo>
                  <a:pt x="604" y="63"/>
                </a:lnTo>
                <a:lnTo>
                  <a:pt x="603" y="62"/>
                </a:lnTo>
                <a:lnTo>
                  <a:pt x="603" y="62"/>
                </a:lnTo>
                <a:lnTo>
                  <a:pt x="603" y="62"/>
                </a:lnTo>
                <a:lnTo>
                  <a:pt x="603" y="62"/>
                </a:lnTo>
                <a:lnTo>
                  <a:pt x="603" y="62"/>
                </a:lnTo>
                <a:lnTo>
                  <a:pt x="603" y="62"/>
                </a:lnTo>
                <a:lnTo>
                  <a:pt x="603" y="61"/>
                </a:lnTo>
                <a:lnTo>
                  <a:pt x="603" y="61"/>
                </a:lnTo>
                <a:lnTo>
                  <a:pt x="602" y="61"/>
                </a:lnTo>
                <a:lnTo>
                  <a:pt x="602" y="61"/>
                </a:lnTo>
                <a:lnTo>
                  <a:pt x="602" y="61"/>
                </a:lnTo>
                <a:lnTo>
                  <a:pt x="602" y="61"/>
                </a:lnTo>
                <a:lnTo>
                  <a:pt x="602" y="61"/>
                </a:lnTo>
                <a:lnTo>
                  <a:pt x="602" y="59"/>
                </a:lnTo>
                <a:lnTo>
                  <a:pt x="602" y="59"/>
                </a:lnTo>
                <a:lnTo>
                  <a:pt x="602" y="59"/>
                </a:lnTo>
                <a:lnTo>
                  <a:pt x="601" y="59"/>
                </a:lnTo>
                <a:lnTo>
                  <a:pt x="601" y="59"/>
                </a:lnTo>
                <a:lnTo>
                  <a:pt x="601" y="59"/>
                </a:lnTo>
                <a:lnTo>
                  <a:pt x="601" y="58"/>
                </a:lnTo>
                <a:lnTo>
                  <a:pt x="601" y="58"/>
                </a:lnTo>
                <a:lnTo>
                  <a:pt x="601" y="58"/>
                </a:lnTo>
                <a:lnTo>
                  <a:pt x="601" y="58"/>
                </a:lnTo>
                <a:lnTo>
                  <a:pt x="601" y="58"/>
                </a:lnTo>
                <a:lnTo>
                  <a:pt x="601" y="58"/>
                </a:lnTo>
                <a:lnTo>
                  <a:pt x="600" y="57"/>
                </a:lnTo>
                <a:lnTo>
                  <a:pt x="600" y="57"/>
                </a:lnTo>
                <a:lnTo>
                  <a:pt x="600" y="57"/>
                </a:lnTo>
                <a:lnTo>
                  <a:pt x="600" y="57"/>
                </a:lnTo>
                <a:lnTo>
                  <a:pt x="600" y="57"/>
                </a:lnTo>
                <a:lnTo>
                  <a:pt x="600" y="57"/>
                </a:lnTo>
                <a:lnTo>
                  <a:pt x="600" y="56"/>
                </a:lnTo>
                <a:lnTo>
                  <a:pt x="600" y="56"/>
                </a:lnTo>
                <a:lnTo>
                  <a:pt x="600" y="56"/>
                </a:lnTo>
                <a:lnTo>
                  <a:pt x="599" y="56"/>
                </a:lnTo>
                <a:lnTo>
                  <a:pt x="599" y="56"/>
                </a:lnTo>
                <a:lnTo>
                  <a:pt x="599" y="56"/>
                </a:lnTo>
                <a:lnTo>
                  <a:pt x="599" y="55"/>
                </a:lnTo>
                <a:lnTo>
                  <a:pt x="599" y="55"/>
                </a:lnTo>
                <a:lnTo>
                  <a:pt x="599" y="55"/>
                </a:lnTo>
                <a:lnTo>
                  <a:pt x="599" y="55"/>
                </a:lnTo>
                <a:lnTo>
                  <a:pt x="599" y="55"/>
                </a:lnTo>
                <a:lnTo>
                  <a:pt x="599" y="54"/>
                </a:lnTo>
                <a:lnTo>
                  <a:pt x="599" y="54"/>
                </a:lnTo>
                <a:lnTo>
                  <a:pt x="599" y="54"/>
                </a:lnTo>
                <a:lnTo>
                  <a:pt x="598" y="54"/>
                </a:lnTo>
                <a:lnTo>
                  <a:pt x="598" y="54"/>
                </a:lnTo>
                <a:lnTo>
                  <a:pt x="598" y="54"/>
                </a:lnTo>
                <a:lnTo>
                  <a:pt x="598" y="53"/>
                </a:lnTo>
                <a:lnTo>
                  <a:pt x="598" y="53"/>
                </a:lnTo>
                <a:lnTo>
                  <a:pt x="598" y="53"/>
                </a:lnTo>
                <a:lnTo>
                  <a:pt x="598" y="53"/>
                </a:lnTo>
                <a:lnTo>
                  <a:pt x="598" y="53"/>
                </a:lnTo>
                <a:lnTo>
                  <a:pt x="598" y="52"/>
                </a:lnTo>
                <a:lnTo>
                  <a:pt x="598" y="52"/>
                </a:lnTo>
                <a:lnTo>
                  <a:pt x="598" y="52"/>
                </a:lnTo>
                <a:lnTo>
                  <a:pt x="598" y="52"/>
                </a:lnTo>
                <a:lnTo>
                  <a:pt x="596" y="52"/>
                </a:lnTo>
                <a:lnTo>
                  <a:pt x="596" y="50"/>
                </a:lnTo>
                <a:lnTo>
                  <a:pt x="596" y="50"/>
                </a:lnTo>
                <a:lnTo>
                  <a:pt x="596" y="50"/>
                </a:lnTo>
                <a:lnTo>
                  <a:pt x="596" y="50"/>
                </a:lnTo>
                <a:lnTo>
                  <a:pt x="596" y="50"/>
                </a:lnTo>
                <a:lnTo>
                  <a:pt x="596" y="50"/>
                </a:lnTo>
                <a:lnTo>
                  <a:pt x="596" y="49"/>
                </a:lnTo>
                <a:lnTo>
                  <a:pt x="596" y="49"/>
                </a:lnTo>
                <a:lnTo>
                  <a:pt x="596" y="49"/>
                </a:lnTo>
                <a:lnTo>
                  <a:pt x="596" y="49"/>
                </a:lnTo>
                <a:lnTo>
                  <a:pt x="596" y="49"/>
                </a:lnTo>
                <a:lnTo>
                  <a:pt x="596" y="48"/>
                </a:lnTo>
                <a:lnTo>
                  <a:pt x="596" y="48"/>
                </a:lnTo>
                <a:lnTo>
                  <a:pt x="596" y="48"/>
                </a:lnTo>
                <a:lnTo>
                  <a:pt x="595" y="48"/>
                </a:lnTo>
                <a:lnTo>
                  <a:pt x="595" y="48"/>
                </a:lnTo>
                <a:lnTo>
                  <a:pt x="595" y="47"/>
                </a:lnTo>
                <a:lnTo>
                  <a:pt x="595" y="47"/>
                </a:lnTo>
                <a:lnTo>
                  <a:pt x="595" y="47"/>
                </a:lnTo>
                <a:lnTo>
                  <a:pt x="595" y="47"/>
                </a:lnTo>
                <a:lnTo>
                  <a:pt x="595" y="47"/>
                </a:lnTo>
                <a:lnTo>
                  <a:pt x="595" y="46"/>
                </a:lnTo>
                <a:lnTo>
                  <a:pt x="595" y="46"/>
                </a:lnTo>
                <a:lnTo>
                  <a:pt x="595" y="46"/>
                </a:lnTo>
                <a:lnTo>
                  <a:pt x="595" y="46"/>
                </a:lnTo>
                <a:lnTo>
                  <a:pt x="595" y="46"/>
                </a:lnTo>
                <a:lnTo>
                  <a:pt x="595" y="45"/>
                </a:lnTo>
                <a:lnTo>
                  <a:pt x="595" y="45"/>
                </a:lnTo>
                <a:lnTo>
                  <a:pt x="595" y="45"/>
                </a:lnTo>
                <a:lnTo>
                  <a:pt x="595" y="45"/>
                </a:lnTo>
                <a:lnTo>
                  <a:pt x="595" y="45"/>
                </a:lnTo>
                <a:lnTo>
                  <a:pt x="595" y="44"/>
                </a:lnTo>
                <a:lnTo>
                  <a:pt x="595" y="44"/>
                </a:lnTo>
                <a:lnTo>
                  <a:pt x="595" y="44"/>
                </a:lnTo>
                <a:lnTo>
                  <a:pt x="595" y="44"/>
                </a:lnTo>
                <a:lnTo>
                  <a:pt x="595" y="44"/>
                </a:lnTo>
                <a:lnTo>
                  <a:pt x="595" y="43"/>
                </a:lnTo>
                <a:lnTo>
                  <a:pt x="594" y="43"/>
                </a:lnTo>
                <a:lnTo>
                  <a:pt x="594" y="43"/>
                </a:lnTo>
                <a:lnTo>
                  <a:pt x="594" y="43"/>
                </a:lnTo>
                <a:lnTo>
                  <a:pt x="594" y="41"/>
                </a:lnTo>
                <a:lnTo>
                  <a:pt x="594" y="41"/>
                </a:lnTo>
                <a:lnTo>
                  <a:pt x="594" y="41"/>
                </a:lnTo>
                <a:lnTo>
                  <a:pt x="594" y="41"/>
                </a:lnTo>
                <a:lnTo>
                  <a:pt x="594" y="41"/>
                </a:lnTo>
                <a:lnTo>
                  <a:pt x="594" y="40"/>
                </a:lnTo>
                <a:lnTo>
                  <a:pt x="594" y="40"/>
                </a:lnTo>
                <a:lnTo>
                  <a:pt x="594" y="40"/>
                </a:lnTo>
                <a:lnTo>
                  <a:pt x="594" y="40"/>
                </a:lnTo>
                <a:lnTo>
                  <a:pt x="594" y="40"/>
                </a:lnTo>
                <a:lnTo>
                  <a:pt x="594" y="39"/>
                </a:lnTo>
                <a:lnTo>
                  <a:pt x="594" y="39"/>
                </a:lnTo>
                <a:lnTo>
                  <a:pt x="594" y="39"/>
                </a:lnTo>
                <a:lnTo>
                  <a:pt x="594" y="39"/>
                </a:lnTo>
                <a:lnTo>
                  <a:pt x="594" y="39"/>
                </a:lnTo>
                <a:lnTo>
                  <a:pt x="594" y="38"/>
                </a:lnTo>
                <a:lnTo>
                  <a:pt x="594" y="38"/>
                </a:lnTo>
                <a:lnTo>
                  <a:pt x="594" y="38"/>
                </a:lnTo>
                <a:lnTo>
                  <a:pt x="594" y="38"/>
                </a:lnTo>
                <a:lnTo>
                  <a:pt x="594" y="37"/>
                </a:lnTo>
                <a:lnTo>
                  <a:pt x="594" y="37"/>
                </a:lnTo>
                <a:lnTo>
                  <a:pt x="594" y="37"/>
                </a:lnTo>
                <a:lnTo>
                  <a:pt x="594" y="37"/>
                </a:lnTo>
                <a:lnTo>
                  <a:pt x="594" y="37"/>
                </a:lnTo>
                <a:lnTo>
                  <a:pt x="594" y="36"/>
                </a:lnTo>
                <a:lnTo>
                  <a:pt x="594" y="36"/>
                </a:lnTo>
                <a:lnTo>
                  <a:pt x="594" y="36"/>
                </a:lnTo>
                <a:lnTo>
                  <a:pt x="594" y="36"/>
                </a:lnTo>
                <a:lnTo>
                  <a:pt x="594" y="36"/>
                </a:lnTo>
                <a:lnTo>
                  <a:pt x="594" y="35"/>
                </a:lnTo>
                <a:lnTo>
                  <a:pt x="594" y="35"/>
                </a:lnTo>
                <a:lnTo>
                  <a:pt x="594" y="35"/>
                </a:lnTo>
                <a:lnTo>
                  <a:pt x="594" y="35"/>
                </a:lnTo>
                <a:lnTo>
                  <a:pt x="594" y="34"/>
                </a:lnTo>
                <a:lnTo>
                  <a:pt x="594" y="34"/>
                </a:lnTo>
                <a:lnTo>
                  <a:pt x="594" y="34"/>
                </a:lnTo>
                <a:lnTo>
                  <a:pt x="594" y="34"/>
                </a:lnTo>
                <a:lnTo>
                  <a:pt x="594" y="34"/>
                </a:lnTo>
                <a:lnTo>
                  <a:pt x="594" y="32"/>
                </a:lnTo>
                <a:lnTo>
                  <a:pt x="594" y="32"/>
                </a:lnTo>
                <a:lnTo>
                  <a:pt x="594" y="32"/>
                </a:lnTo>
                <a:lnTo>
                  <a:pt x="594" y="32"/>
                </a:lnTo>
                <a:lnTo>
                  <a:pt x="595" y="32"/>
                </a:lnTo>
                <a:lnTo>
                  <a:pt x="595" y="31"/>
                </a:lnTo>
                <a:lnTo>
                  <a:pt x="595" y="31"/>
                </a:lnTo>
                <a:lnTo>
                  <a:pt x="595" y="31"/>
                </a:lnTo>
                <a:lnTo>
                  <a:pt x="595" y="31"/>
                </a:lnTo>
                <a:lnTo>
                  <a:pt x="595" y="31"/>
                </a:lnTo>
                <a:lnTo>
                  <a:pt x="595" y="30"/>
                </a:lnTo>
                <a:lnTo>
                  <a:pt x="595" y="30"/>
                </a:lnTo>
                <a:lnTo>
                  <a:pt x="595" y="30"/>
                </a:lnTo>
                <a:lnTo>
                  <a:pt x="595" y="30"/>
                </a:lnTo>
                <a:lnTo>
                  <a:pt x="595" y="30"/>
                </a:lnTo>
                <a:lnTo>
                  <a:pt x="595" y="29"/>
                </a:lnTo>
                <a:lnTo>
                  <a:pt x="595" y="29"/>
                </a:lnTo>
                <a:lnTo>
                  <a:pt x="595" y="29"/>
                </a:lnTo>
                <a:lnTo>
                  <a:pt x="595" y="29"/>
                </a:lnTo>
                <a:lnTo>
                  <a:pt x="595" y="28"/>
                </a:lnTo>
                <a:lnTo>
                  <a:pt x="595" y="28"/>
                </a:lnTo>
                <a:lnTo>
                  <a:pt x="595" y="28"/>
                </a:lnTo>
                <a:lnTo>
                  <a:pt x="595" y="28"/>
                </a:lnTo>
                <a:lnTo>
                  <a:pt x="595" y="28"/>
                </a:lnTo>
                <a:lnTo>
                  <a:pt x="595" y="28"/>
                </a:lnTo>
                <a:lnTo>
                  <a:pt x="595" y="27"/>
                </a:lnTo>
                <a:lnTo>
                  <a:pt x="595" y="27"/>
                </a:lnTo>
                <a:lnTo>
                  <a:pt x="596" y="27"/>
                </a:lnTo>
                <a:lnTo>
                  <a:pt x="596" y="27"/>
                </a:lnTo>
                <a:lnTo>
                  <a:pt x="596" y="27"/>
                </a:lnTo>
                <a:lnTo>
                  <a:pt x="596" y="26"/>
                </a:lnTo>
                <a:lnTo>
                  <a:pt x="596" y="26"/>
                </a:lnTo>
                <a:lnTo>
                  <a:pt x="596" y="26"/>
                </a:lnTo>
                <a:lnTo>
                  <a:pt x="596" y="26"/>
                </a:lnTo>
                <a:lnTo>
                  <a:pt x="596" y="26"/>
                </a:lnTo>
                <a:lnTo>
                  <a:pt x="596" y="24"/>
                </a:lnTo>
                <a:lnTo>
                  <a:pt x="596" y="24"/>
                </a:lnTo>
                <a:lnTo>
                  <a:pt x="596" y="24"/>
                </a:lnTo>
                <a:lnTo>
                  <a:pt x="596" y="24"/>
                </a:lnTo>
                <a:lnTo>
                  <a:pt x="596" y="24"/>
                </a:lnTo>
                <a:lnTo>
                  <a:pt x="596" y="23"/>
                </a:lnTo>
                <a:lnTo>
                  <a:pt x="596" y="23"/>
                </a:lnTo>
                <a:lnTo>
                  <a:pt x="598" y="23"/>
                </a:lnTo>
                <a:lnTo>
                  <a:pt x="598" y="23"/>
                </a:lnTo>
                <a:lnTo>
                  <a:pt x="598" y="23"/>
                </a:lnTo>
                <a:lnTo>
                  <a:pt x="598" y="22"/>
                </a:lnTo>
                <a:lnTo>
                  <a:pt x="598" y="22"/>
                </a:lnTo>
                <a:lnTo>
                  <a:pt x="598" y="22"/>
                </a:lnTo>
                <a:lnTo>
                  <a:pt x="598" y="22"/>
                </a:lnTo>
                <a:lnTo>
                  <a:pt x="598" y="22"/>
                </a:lnTo>
                <a:lnTo>
                  <a:pt x="598" y="22"/>
                </a:lnTo>
                <a:lnTo>
                  <a:pt x="598" y="21"/>
                </a:lnTo>
                <a:lnTo>
                  <a:pt x="598" y="21"/>
                </a:lnTo>
                <a:lnTo>
                  <a:pt x="598" y="21"/>
                </a:lnTo>
                <a:lnTo>
                  <a:pt x="599" y="21"/>
                </a:lnTo>
                <a:lnTo>
                  <a:pt x="599" y="21"/>
                </a:lnTo>
                <a:lnTo>
                  <a:pt x="599" y="20"/>
                </a:lnTo>
                <a:lnTo>
                  <a:pt x="599" y="20"/>
                </a:lnTo>
                <a:lnTo>
                  <a:pt x="599" y="20"/>
                </a:lnTo>
                <a:lnTo>
                  <a:pt x="599" y="20"/>
                </a:lnTo>
                <a:lnTo>
                  <a:pt x="599" y="20"/>
                </a:lnTo>
                <a:lnTo>
                  <a:pt x="599" y="20"/>
                </a:lnTo>
                <a:lnTo>
                  <a:pt x="599" y="19"/>
                </a:lnTo>
                <a:lnTo>
                  <a:pt x="599" y="19"/>
                </a:lnTo>
                <a:lnTo>
                  <a:pt x="599" y="19"/>
                </a:lnTo>
                <a:lnTo>
                  <a:pt x="600" y="19"/>
                </a:lnTo>
                <a:lnTo>
                  <a:pt x="600" y="19"/>
                </a:lnTo>
                <a:lnTo>
                  <a:pt x="600" y="18"/>
                </a:lnTo>
                <a:lnTo>
                  <a:pt x="600" y="18"/>
                </a:lnTo>
                <a:lnTo>
                  <a:pt x="600" y="18"/>
                </a:lnTo>
                <a:lnTo>
                  <a:pt x="600" y="18"/>
                </a:lnTo>
                <a:lnTo>
                  <a:pt x="600" y="18"/>
                </a:lnTo>
                <a:lnTo>
                  <a:pt x="600" y="18"/>
                </a:lnTo>
                <a:lnTo>
                  <a:pt x="600" y="17"/>
                </a:lnTo>
                <a:lnTo>
                  <a:pt x="601" y="17"/>
                </a:lnTo>
                <a:lnTo>
                  <a:pt x="601" y="17"/>
                </a:lnTo>
                <a:lnTo>
                  <a:pt x="601" y="17"/>
                </a:lnTo>
                <a:lnTo>
                  <a:pt x="601" y="17"/>
                </a:lnTo>
                <a:lnTo>
                  <a:pt x="601" y="17"/>
                </a:lnTo>
                <a:lnTo>
                  <a:pt x="601" y="15"/>
                </a:lnTo>
                <a:lnTo>
                  <a:pt x="601" y="15"/>
                </a:lnTo>
                <a:lnTo>
                  <a:pt x="601" y="15"/>
                </a:lnTo>
                <a:lnTo>
                  <a:pt x="601" y="15"/>
                </a:lnTo>
                <a:lnTo>
                  <a:pt x="602" y="15"/>
                </a:lnTo>
                <a:lnTo>
                  <a:pt x="602" y="15"/>
                </a:lnTo>
                <a:lnTo>
                  <a:pt x="602" y="14"/>
                </a:lnTo>
                <a:lnTo>
                  <a:pt x="602" y="14"/>
                </a:lnTo>
                <a:lnTo>
                  <a:pt x="602" y="14"/>
                </a:lnTo>
                <a:lnTo>
                  <a:pt x="602" y="14"/>
                </a:lnTo>
                <a:lnTo>
                  <a:pt x="602" y="14"/>
                </a:lnTo>
                <a:lnTo>
                  <a:pt x="602" y="14"/>
                </a:lnTo>
                <a:lnTo>
                  <a:pt x="603" y="14"/>
                </a:lnTo>
                <a:lnTo>
                  <a:pt x="603" y="13"/>
                </a:lnTo>
                <a:lnTo>
                  <a:pt x="603" y="13"/>
                </a:lnTo>
                <a:lnTo>
                  <a:pt x="603" y="13"/>
                </a:lnTo>
                <a:lnTo>
                  <a:pt x="603" y="13"/>
                </a:lnTo>
                <a:lnTo>
                  <a:pt x="603" y="13"/>
                </a:lnTo>
                <a:lnTo>
                  <a:pt x="603" y="13"/>
                </a:lnTo>
                <a:lnTo>
                  <a:pt x="603" y="12"/>
                </a:lnTo>
                <a:lnTo>
                  <a:pt x="604" y="12"/>
                </a:lnTo>
                <a:lnTo>
                  <a:pt x="604" y="12"/>
                </a:lnTo>
                <a:lnTo>
                  <a:pt x="604" y="12"/>
                </a:lnTo>
                <a:lnTo>
                  <a:pt x="604" y="12"/>
                </a:lnTo>
                <a:lnTo>
                  <a:pt x="604" y="12"/>
                </a:lnTo>
                <a:lnTo>
                  <a:pt x="604" y="12"/>
                </a:lnTo>
                <a:lnTo>
                  <a:pt x="604" y="11"/>
                </a:lnTo>
                <a:lnTo>
                  <a:pt x="605" y="11"/>
                </a:lnTo>
                <a:lnTo>
                  <a:pt x="605" y="11"/>
                </a:lnTo>
                <a:lnTo>
                  <a:pt x="605" y="11"/>
                </a:lnTo>
                <a:lnTo>
                  <a:pt x="605" y="11"/>
                </a:lnTo>
                <a:lnTo>
                  <a:pt x="605" y="11"/>
                </a:lnTo>
                <a:lnTo>
                  <a:pt x="605" y="11"/>
                </a:lnTo>
                <a:lnTo>
                  <a:pt x="605" y="10"/>
                </a:lnTo>
                <a:lnTo>
                  <a:pt x="607" y="10"/>
                </a:lnTo>
                <a:lnTo>
                  <a:pt x="607" y="10"/>
                </a:lnTo>
                <a:lnTo>
                  <a:pt x="607" y="10"/>
                </a:lnTo>
                <a:lnTo>
                  <a:pt x="607" y="10"/>
                </a:lnTo>
                <a:lnTo>
                  <a:pt x="607" y="10"/>
                </a:lnTo>
                <a:lnTo>
                  <a:pt x="607" y="10"/>
                </a:lnTo>
                <a:lnTo>
                  <a:pt x="607" y="9"/>
                </a:lnTo>
                <a:lnTo>
                  <a:pt x="608" y="9"/>
                </a:lnTo>
                <a:lnTo>
                  <a:pt x="608" y="9"/>
                </a:lnTo>
                <a:lnTo>
                  <a:pt x="608" y="9"/>
                </a:lnTo>
                <a:lnTo>
                  <a:pt x="608" y="9"/>
                </a:lnTo>
                <a:lnTo>
                  <a:pt x="608" y="9"/>
                </a:lnTo>
                <a:lnTo>
                  <a:pt x="608" y="9"/>
                </a:lnTo>
                <a:lnTo>
                  <a:pt x="608" y="9"/>
                </a:lnTo>
                <a:lnTo>
                  <a:pt x="609" y="8"/>
                </a:lnTo>
                <a:lnTo>
                  <a:pt x="609" y="8"/>
                </a:lnTo>
                <a:lnTo>
                  <a:pt x="609" y="8"/>
                </a:lnTo>
                <a:lnTo>
                  <a:pt x="609" y="8"/>
                </a:lnTo>
                <a:lnTo>
                  <a:pt x="609" y="8"/>
                </a:lnTo>
                <a:lnTo>
                  <a:pt x="609" y="8"/>
                </a:lnTo>
                <a:lnTo>
                  <a:pt x="610" y="8"/>
                </a:lnTo>
                <a:lnTo>
                  <a:pt x="610" y="8"/>
                </a:lnTo>
                <a:lnTo>
                  <a:pt x="610" y="6"/>
                </a:lnTo>
                <a:lnTo>
                  <a:pt x="610" y="6"/>
                </a:lnTo>
                <a:lnTo>
                  <a:pt x="610" y="6"/>
                </a:lnTo>
                <a:lnTo>
                  <a:pt x="610" y="6"/>
                </a:lnTo>
                <a:lnTo>
                  <a:pt x="611" y="6"/>
                </a:lnTo>
                <a:lnTo>
                  <a:pt x="611" y="6"/>
                </a:lnTo>
                <a:lnTo>
                  <a:pt x="611" y="6"/>
                </a:lnTo>
                <a:lnTo>
                  <a:pt x="611" y="6"/>
                </a:lnTo>
                <a:lnTo>
                  <a:pt x="611" y="6"/>
                </a:lnTo>
                <a:lnTo>
                  <a:pt x="611" y="5"/>
                </a:lnTo>
                <a:lnTo>
                  <a:pt x="612" y="5"/>
                </a:lnTo>
                <a:lnTo>
                  <a:pt x="612" y="5"/>
                </a:lnTo>
                <a:lnTo>
                  <a:pt x="612" y="5"/>
                </a:lnTo>
                <a:lnTo>
                  <a:pt x="612" y="5"/>
                </a:lnTo>
                <a:lnTo>
                  <a:pt x="612" y="5"/>
                </a:lnTo>
                <a:lnTo>
                  <a:pt x="612" y="5"/>
                </a:lnTo>
                <a:lnTo>
                  <a:pt x="613" y="5"/>
                </a:lnTo>
                <a:lnTo>
                  <a:pt x="613" y="5"/>
                </a:lnTo>
                <a:lnTo>
                  <a:pt x="613" y="4"/>
                </a:lnTo>
                <a:lnTo>
                  <a:pt x="613" y="4"/>
                </a:lnTo>
                <a:lnTo>
                  <a:pt x="613" y="4"/>
                </a:lnTo>
                <a:lnTo>
                  <a:pt x="613" y="4"/>
                </a:lnTo>
                <a:lnTo>
                  <a:pt x="614" y="4"/>
                </a:lnTo>
                <a:lnTo>
                  <a:pt x="614" y="4"/>
                </a:lnTo>
                <a:lnTo>
                  <a:pt x="614" y="4"/>
                </a:lnTo>
                <a:lnTo>
                  <a:pt x="614" y="4"/>
                </a:lnTo>
                <a:lnTo>
                  <a:pt x="614" y="4"/>
                </a:lnTo>
                <a:lnTo>
                  <a:pt x="616" y="4"/>
                </a:lnTo>
                <a:lnTo>
                  <a:pt x="616" y="4"/>
                </a:lnTo>
                <a:lnTo>
                  <a:pt x="616" y="3"/>
                </a:lnTo>
                <a:lnTo>
                  <a:pt x="616" y="3"/>
                </a:lnTo>
                <a:lnTo>
                  <a:pt x="616" y="3"/>
                </a:lnTo>
                <a:lnTo>
                  <a:pt x="616" y="3"/>
                </a:lnTo>
                <a:lnTo>
                  <a:pt x="617" y="3"/>
                </a:lnTo>
                <a:lnTo>
                  <a:pt x="617" y="3"/>
                </a:lnTo>
                <a:lnTo>
                  <a:pt x="617" y="3"/>
                </a:lnTo>
                <a:lnTo>
                  <a:pt x="617" y="3"/>
                </a:lnTo>
                <a:lnTo>
                  <a:pt x="617" y="3"/>
                </a:lnTo>
                <a:lnTo>
                  <a:pt x="618" y="3"/>
                </a:lnTo>
                <a:lnTo>
                  <a:pt x="618" y="3"/>
                </a:lnTo>
                <a:lnTo>
                  <a:pt x="618" y="2"/>
                </a:lnTo>
                <a:lnTo>
                  <a:pt x="618" y="2"/>
                </a:lnTo>
                <a:lnTo>
                  <a:pt x="618" y="2"/>
                </a:lnTo>
                <a:lnTo>
                  <a:pt x="619" y="2"/>
                </a:lnTo>
                <a:lnTo>
                  <a:pt x="619" y="2"/>
                </a:lnTo>
                <a:lnTo>
                  <a:pt x="619" y="2"/>
                </a:lnTo>
                <a:lnTo>
                  <a:pt x="619" y="2"/>
                </a:lnTo>
                <a:lnTo>
                  <a:pt x="619" y="2"/>
                </a:lnTo>
                <a:lnTo>
                  <a:pt x="619" y="2"/>
                </a:lnTo>
                <a:lnTo>
                  <a:pt x="620" y="2"/>
                </a:lnTo>
                <a:lnTo>
                  <a:pt x="620" y="2"/>
                </a:lnTo>
                <a:lnTo>
                  <a:pt x="620" y="2"/>
                </a:lnTo>
                <a:lnTo>
                  <a:pt x="620" y="2"/>
                </a:lnTo>
                <a:lnTo>
                  <a:pt x="620" y="2"/>
                </a:lnTo>
                <a:lnTo>
                  <a:pt x="621" y="2"/>
                </a:lnTo>
                <a:lnTo>
                  <a:pt x="621" y="1"/>
                </a:lnTo>
                <a:lnTo>
                  <a:pt x="621" y="1"/>
                </a:lnTo>
                <a:lnTo>
                  <a:pt x="621" y="1"/>
                </a:lnTo>
                <a:lnTo>
                  <a:pt x="621" y="1"/>
                </a:lnTo>
                <a:lnTo>
                  <a:pt x="622" y="1"/>
                </a:lnTo>
                <a:lnTo>
                  <a:pt x="622" y="1"/>
                </a:lnTo>
                <a:lnTo>
                  <a:pt x="622" y="1"/>
                </a:lnTo>
                <a:lnTo>
                  <a:pt x="622" y="1"/>
                </a:lnTo>
                <a:lnTo>
                  <a:pt x="622" y="1"/>
                </a:lnTo>
                <a:lnTo>
                  <a:pt x="623" y="1"/>
                </a:lnTo>
                <a:lnTo>
                  <a:pt x="623" y="1"/>
                </a:lnTo>
                <a:lnTo>
                  <a:pt x="623" y="1"/>
                </a:lnTo>
                <a:lnTo>
                  <a:pt x="623" y="1"/>
                </a:lnTo>
                <a:lnTo>
                  <a:pt x="623" y="1"/>
                </a:lnTo>
                <a:lnTo>
                  <a:pt x="625" y="1"/>
                </a:lnTo>
                <a:lnTo>
                  <a:pt x="625" y="1"/>
                </a:lnTo>
                <a:lnTo>
                  <a:pt x="625" y="1"/>
                </a:lnTo>
                <a:lnTo>
                  <a:pt x="625" y="1"/>
                </a:lnTo>
                <a:lnTo>
                  <a:pt x="625" y="1"/>
                </a:lnTo>
                <a:lnTo>
                  <a:pt x="626" y="1"/>
                </a:lnTo>
                <a:lnTo>
                  <a:pt x="626" y="1"/>
                </a:lnTo>
                <a:lnTo>
                  <a:pt x="626" y="0"/>
                </a:lnTo>
                <a:lnTo>
                  <a:pt x="626" y="0"/>
                </a:lnTo>
                <a:lnTo>
                  <a:pt x="626" y="0"/>
                </a:lnTo>
                <a:lnTo>
                  <a:pt x="627" y="0"/>
                </a:lnTo>
                <a:lnTo>
                  <a:pt x="627" y="0"/>
                </a:lnTo>
                <a:lnTo>
                  <a:pt x="627" y="0"/>
                </a:lnTo>
                <a:lnTo>
                  <a:pt x="627" y="0"/>
                </a:lnTo>
                <a:lnTo>
                  <a:pt x="628" y="0"/>
                </a:lnTo>
                <a:lnTo>
                  <a:pt x="628" y="0"/>
                </a:lnTo>
                <a:lnTo>
                  <a:pt x="628" y="0"/>
                </a:lnTo>
                <a:lnTo>
                  <a:pt x="628" y="0"/>
                </a:lnTo>
                <a:lnTo>
                  <a:pt x="628" y="0"/>
                </a:lnTo>
                <a:lnTo>
                  <a:pt x="629" y="0"/>
                </a:lnTo>
                <a:lnTo>
                  <a:pt x="629" y="0"/>
                </a:lnTo>
                <a:lnTo>
                  <a:pt x="629" y="0"/>
                </a:lnTo>
                <a:lnTo>
                  <a:pt x="629" y="0"/>
                </a:lnTo>
                <a:lnTo>
                  <a:pt x="629" y="0"/>
                </a:lnTo>
                <a:lnTo>
                  <a:pt x="630" y="0"/>
                </a:lnTo>
                <a:lnTo>
                  <a:pt x="630" y="0"/>
                </a:lnTo>
                <a:lnTo>
                  <a:pt x="630" y="0"/>
                </a:lnTo>
                <a:lnTo>
                  <a:pt x="630" y="0"/>
                </a:lnTo>
                <a:lnTo>
                  <a:pt x="630" y="0"/>
                </a:lnTo>
                <a:lnTo>
                  <a:pt x="631" y="0"/>
                </a:lnTo>
                <a:lnTo>
                  <a:pt x="631" y="0"/>
                </a:lnTo>
                <a:lnTo>
                  <a:pt x="631" y="0"/>
                </a:lnTo>
                <a:lnTo>
                  <a:pt x="631" y="0"/>
                </a:lnTo>
                <a:lnTo>
                  <a:pt x="632" y="0"/>
                </a:lnTo>
                <a:lnTo>
                  <a:pt x="632" y="0"/>
                </a:lnTo>
                <a:lnTo>
                  <a:pt x="632" y="0"/>
                </a:lnTo>
                <a:lnTo>
                  <a:pt x="632" y="0"/>
                </a:lnTo>
                <a:lnTo>
                  <a:pt x="632" y="0"/>
                </a:lnTo>
                <a:lnTo>
                  <a:pt x="634" y="0"/>
                </a:lnTo>
                <a:lnTo>
                  <a:pt x="634" y="0"/>
                </a:lnTo>
                <a:lnTo>
                  <a:pt x="634" y="0"/>
                </a:lnTo>
                <a:lnTo>
                  <a:pt x="634" y="0"/>
                </a:lnTo>
                <a:lnTo>
                  <a:pt x="634" y="0"/>
                </a:lnTo>
                <a:lnTo>
                  <a:pt x="635" y="0"/>
                </a:lnTo>
                <a:lnTo>
                  <a:pt x="635" y="0"/>
                </a:lnTo>
                <a:lnTo>
                  <a:pt x="635" y="0"/>
                </a:lnTo>
                <a:lnTo>
                  <a:pt x="635" y="0"/>
                </a:lnTo>
                <a:lnTo>
                  <a:pt x="636" y="0"/>
                </a:lnTo>
                <a:lnTo>
                  <a:pt x="636" y="0"/>
                </a:lnTo>
                <a:lnTo>
                  <a:pt x="636" y="0"/>
                </a:lnTo>
                <a:lnTo>
                  <a:pt x="636" y="0"/>
                </a:lnTo>
                <a:lnTo>
                  <a:pt x="636" y="0"/>
                </a:lnTo>
                <a:lnTo>
                  <a:pt x="637" y="0"/>
                </a:lnTo>
                <a:lnTo>
                  <a:pt x="637" y="0"/>
                </a:lnTo>
                <a:lnTo>
                  <a:pt x="637" y="0"/>
                </a:lnTo>
                <a:lnTo>
                  <a:pt x="637" y="0"/>
                </a:lnTo>
                <a:lnTo>
                  <a:pt x="637" y="0"/>
                </a:lnTo>
                <a:lnTo>
                  <a:pt x="638" y="0"/>
                </a:lnTo>
                <a:lnTo>
                  <a:pt x="638" y="0"/>
                </a:lnTo>
                <a:lnTo>
                  <a:pt x="638" y="0"/>
                </a:lnTo>
                <a:lnTo>
                  <a:pt x="638" y="1"/>
                </a:lnTo>
                <a:lnTo>
                  <a:pt x="638" y="1"/>
                </a:lnTo>
                <a:lnTo>
                  <a:pt x="639" y="1"/>
                </a:lnTo>
                <a:lnTo>
                  <a:pt x="639" y="1"/>
                </a:lnTo>
                <a:lnTo>
                  <a:pt x="639" y="1"/>
                </a:lnTo>
                <a:lnTo>
                  <a:pt x="639" y="1"/>
                </a:lnTo>
                <a:lnTo>
                  <a:pt x="639" y="1"/>
                </a:lnTo>
                <a:lnTo>
                  <a:pt x="640" y="1"/>
                </a:lnTo>
                <a:lnTo>
                  <a:pt x="640" y="1"/>
                </a:lnTo>
                <a:lnTo>
                  <a:pt x="640" y="1"/>
                </a:lnTo>
                <a:lnTo>
                  <a:pt x="640" y="1"/>
                </a:lnTo>
                <a:lnTo>
                  <a:pt x="640" y="1"/>
                </a:lnTo>
                <a:lnTo>
                  <a:pt x="641" y="1"/>
                </a:lnTo>
                <a:lnTo>
                  <a:pt x="641" y="1"/>
                </a:lnTo>
                <a:lnTo>
                  <a:pt x="641" y="1"/>
                </a:lnTo>
                <a:lnTo>
                  <a:pt x="641" y="1"/>
                </a:lnTo>
                <a:lnTo>
                  <a:pt x="641" y="1"/>
                </a:lnTo>
                <a:lnTo>
                  <a:pt x="643" y="1"/>
                </a:lnTo>
                <a:lnTo>
                  <a:pt x="643" y="1"/>
                </a:lnTo>
                <a:lnTo>
                  <a:pt x="643" y="1"/>
                </a:lnTo>
                <a:lnTo>
                  <a:pt x="643" y="1"/>
                </a:lnTo>
                <a:lnTo>
                  <a:pt x="643" y="2"/>
                </a:lnTo>
                <a:lnTo>
                  <a:pt x="644" y="2"/>
                </a:lnTo>
                <a:lnTo>
                  <a:pt x="644" y="2"/>
                </a:lnTo>
                <a:lnTo>
                  <a:pt x="644" y="2"/>
                </a:lnTo>
                <a:lnTo>
                  <a:pt x="644" y="2"/>
                </a:lnTo>
                <a:lnTo>
                  <a:pt x="644" y="2"/>
                </a:lnTo>
                <a:lnTo>
                  <a:pt x="645" y="2"/>
                </a:lnTo>
                <a:lnTo>
                  <a:pt x="645" y="2"/>
                </a:lnTo>
                <a:lnTo>
                  <a:pt x="645" y="2"/>
                </a:lnTo>
                <a:lnTo>
                  <a:pt x="645" y="2"/>
                </a:lnTo>
                <a:lnTo>
                  <a:pt x="645" y="2"/>
                </a:lnTo>
                <a:lnTo>
                  <a:pt x="646" y="2"/>
                </a:lnTo>
                <a:lnTo>
                  <a:pt x="646" y="2"/>
                </a:lnTo>
                <a:lnTo>
                  <a:pt x="646" y="2"/>
                </a:lnTo>
                <a:lnTo>
                  <a:pt x="646" y="2"/>
                </a:lnTo>
                <a:lnTo>
                  <a:pt x="646" y="3"/>
                </a:lnTo>
                <a:lnTo>
                  <a:pt x="647" y="3"/>
                </a:lnTo>
                <a:lnTo>
                  <a:pt x="647" y="3"/>
                </a:lnTo>
                <a:lnTo>
                  <a:pt x="647" y="3"/>
                </a:lnTo>
                <a:lnTo>
                  <a:pt x="647" y="3"/>
                </a:lnTo>
                <a:lnTo>
                  <a:pt x="647" y="3"/>
                </a:lnTo>
                <a:lnTo>
                  <a:pt x="647" y="3"/>
                </a:lnTo>
                <a:lnTo>
                  <a:pt x="648" y="3"/>
                </a:lnTo>
                <a:lnTo>
                  <a:pt x="648" y="3"/>
                </a:lnTo>
                <a:lnTo>
                  <a:pt x="648" y="3"/>
                </a:lnTo>
                <a:lnTo>
                  <a:pt x="648" y="3"/>
                </a:lnTo>
                <a:lnTo>
                  <a:pt x="648" y="4"/>
                </a:lnTo>
                <a:lnTo>
                  <a:pt x="649" y="4"/>
                </a:lnTo>
                <a:lnTo>
                  <a:pt x="649" y="4"/>
                </a:lnTo>
                <a:lnTo>
                  <a:pt x="649" y="4"/>
                </a:lnTo>
                <a:lnTo>
                  <a:pt x="649" y="4"/>
                </a:lnTo>
                <a:lnTo>
                  <a:pt x="649" y="4"/>
                </a:lnTo>
                <a:lnTo>
                  <a:pt x="649" y="4"/>
                </a:lnTo>
                <a:lnTo>
                  <a:pt x="650" y="4"/>
                </a:lnTo>
                <a:lnTo>
                  <a:pt x="650" y="4"/>
                </a:lnTo>
                <a:lnTo>
                  <a:pt x="650" y="4"/>
                </a:lnTo>
                <a:lnTo>
                  <a:pt x="650" y="4"/>
                </a:lnTo>
                <a:lnTo>
                  <a:pt x="650" y="5"/>
                </a:lnTo>
                <a:lnTo>
                  <a:pt x="652" y="5"/>
                </a:lnTo>
                <a:lnTo>
                  <a:pt x="652" y="5"/>
                </a:lnTo>
                <a:lnTo>
                  <a:pt x="652" y="5"/>
                </a:lnTo>
                <a:lnTo>
                  <a:pt x="652" y="5"/>
                </a:lnTo>
                <a:lnTo>
                  <a:pt x="652" y="5"/>
                </a:lnTo>
                <a:lnTo>
                  <a:pt x="652" y="5"/>
                </a:lnTo>
                <a:lnTo>
                  <a:pt x="653" y="5"/>
                </a:lnTo>
                <a:lnTo>
                  <a:pt x="653" y="5"/>
                </a:lnTo>
                <a:lnTo>
                  <a:pt x="653" y="6"/>
                </a:lnTo>
                <a:lnTo>
                  <a:pt x="653" y="6"/>
                </a:lnTo>
                <a:lnTo>
                  <a:pt x="653" y="6"/>
                </a:lnTo>
                <a:lnTo>
                  <a:pt x="653" y="6"/>
                </a:lnTo>
                <a:lnTo>
                  <a:pt x="654" y="6"/>
                </a:lnTo>
                <a:lnTo>
                  <a:pt x="654" y="6"/>
                </a:lnTo>
                <a:lnTo>
                  <a:pt x="654" y="6"/>
                </a:lnTo>
                <a:lnTo>
                  <a:pt x="654" y="6"/>
                </a:lnTo>
                <a:lnTo>
                  <a:pt x="654" y="6"/>
                </a:lnTo>
                <a:lnTo>
                  <a:pt x="654" y="8"/>
                </a:lnTo>
                <a:lnTo>
                  <a:pt x="655" y="8"/>
                </a:lnTo>
                <a:lnTo>
                  <a:pt x="655" y="8"/>
                </a:lnTo>
                <a:lnTo>
                  <a:pt x="655" y="8"/>
                </a:lnTo>
                <a:lnTo>
                  <a:pt x="655" y="8"/>
                </a:lnTo>
                <a:lnTo>
                  <a:pt x="655" y="8"/>
                </a:lnTo>
                <a:lnTo>
                  <a:pt x="655" y="8"/>
                </a:lnTo>
                <a:lnTo>
                  <a:pt x="655" y="8"/>
                </a:lnTo>
                <a:lnTo>
                  <a:pt x="656" y="9"/>
                </a:lnTo>
                <a:lnTo>
                  <a:pt x="656" y="9"/>
                </a:lnTo>
                <a:lnTo>
                  <a:pt x="656" y="9"/>
                </a:lnTo>
                <a:lnTo>
                  <a:pt x="656" y="9"/>
                </a:lnTo>
                <a:lnTo>
                  <a:pt x="656" y="9"/>
                </a:lnTo>
                <a:lnTo>
                  <a:pt x="656" y="9"/>
                </a:lnTo>
                <a:lnTo>
                  <a:pt x="657" y="9"/>
                </a:lnTo>
                <a:lnTo>
                  <a:pt x="657" y="9"/>
                </a:lnTo>
                <a:lnTo>
                  <a:pt x="657" y="10"/>
                </a:lnTo>
                <a:lnTo>
                  <a:pt x="657" y="10"/>
                </a:lnTo>
                <a:lnTo>
                  <a:pt x="657" y="10"/>
                </a:lnTo>
                <a:lnTo>
                  <a:pt x="657" y="10"/>
                </a:lnTo>
                <a:lnTo>
                  <a:pt x="657" y="10"/>
                </a:lnTo>
                <a:lnTo>
                  <a:pt x="658" y="10"/>
                </a:lnTo>
                <a:lnTo>
                  <a:pt x="658" y="10"/>
                </a:lnTo>
                <a:lnTo>
                  <a:pt x="658" y="11"/>
                </a:lnTo>
                <a:lnTo>
                  <a:pt x="658" y="11"/>
                </a:lnTo>
                <a:lnTo>
                  <a:pt x="658" y="11"/>
                </a:lnTo>
                <a:lnTo>
                  <a:pt x="658" y="11"/>
                </a:lnTo>
                <a:lnTo>
                  <a:pt x="658" y="11"/>
                </a:lnTo>
                <a:lnTo>
                  <a:pt x="659" y="11"/>
                </a:lnTo>
                <a:lnTo>
                  <a:pt x="659" y="11"/>
                </a:lnTo>
                <a:lnTo>
                  <a:pt x="659" y="12"/>
                </a:lnTo>
                <a:lnTo>
                  <a:pt x="659" y="12"/>
                </a:lnTo>
                <a:lnTo>
                  <a:pt x="659" y="12"/>
                </a:lnTo>
                <a:lnTo>
                  <a:pt x="659" y="12"/>
                </a:lnTo>
                <a:lnTo>
                  <a:pt x="659" y="12"/>
                </a:lnTo>
                <a:lnTo>
                  <a:pt x="661" y="12"/>
                </a:lnTo>
                <a:lnTo>
                  <a:pt x="661" y="12"/>
                </a:lnTo>
                <a:lnTo>
                  <a:pt x="661" y="13"/>
                </a:lnTo>
                <a:lnTo>
                  <a:pt x="661" y="13"/>
                </a:lnTo>
                <a:lnTo>
                  <a:pt x="661" y="13"/>
                </a:lnTo>
                <a:lnTo>
                  <a:pt x="661" y="13"/>
                </a:lnTo>
                <a:lnTo>
                  <a:pt x="661" y="13"/>
                </a:lnTo>
                <a:lnTo>
                  <a:pt x="661" y="13"/>
                </a:lnTo>
                <a:lnTo>
                  <a:pt x="662" y="14"/>
                </a:lnTo>
                <a:lnTo>
                  <a:pt x="662" y="14"/>
                </a:lnTo>
                <a:lnTo>
                  <a:pt x="662" y="14"/>
                </a:lnTo>
                <a:lnTo>
                  <a:pt x="662" y="14"/>
                </a:lnTo>
                <a:lnTo>
                  <a:pt x="662" y="14"/>
                </a:lnTo>
                <a:lnTo>
                  <a:pt x="662" y="14"/>
                </a:lnTo>
                <a:lnTo>
                  <a:pt x="662" y="14"/>
                </a:lnTo>
                <a:lnTo>
                  <a:pt x="662" y="15"/>
                </a:lnTo>
                <a:lnTo>
                  <a:pt x="663" y="15"/>
                </a:lnTo>
                <a:lnTo>
                  <a:pt x="663" y="15"/>
                </a:lnTo>
                <a:lnTo>
                  <a:pt x="663" y="15"/>
                </a:lnTo>
                <a:lnTo>
                  <a:pt x="663" y="15"/>
                </a:lnTo>
                <a:lnTo>
                  <a:pt x="663" y="15"/>
                </a:lnTo>
                <a:lnTo>
                  <a:pt x="663" y="17"/>
                </a:lnTo>
                <a:lnTo>
                  <a:pt x="663" y="17"/>
                </a:lnTo>
                <a:lnTo>
                  <a:pt x="663" y="17"/>
                </a:lnTo>
                <a:lnTo>
                  <a:pt x="663" y="17"/>
                </a:lnTo>
                <a:lnTo>
                  <a:pt x="664" y="17"/>
                </a:lnTo>
                <a:lnTo>
                  <a:pt x="664" y="17"/>
                </a:lnTo>
                <a:lnTo>
                  <a:pt x="664" y="18"/>
                </a:lnTo>
                <a:lnTo>
                  <a:pt x="664" y="18"/>
                </a:lnTo>
                <a:lnTo>
                  <a:pt x="664" y="18"/>
                </a:lnTo>
                <a:lnTo>
                  <a:pt x="664" y="18"/>
                </a:lnTo>
                <a:lnTo>
                  <a:pt x="664" y="18"/>
                </a:lnTo>
                <a:lnTo>
                  <a:pt x="664" y="18"/>
                </a:lnTo>
                <a:lnTo>
                  <a:pt x="664" y="19"/>
                </a:lnTo>
                <a:lnTo>
                  <a:pt x="665" y="19"/>
                </a:lnTo>
                <a:lnTo>
                  <a:pt x="665" y="19"/>
                </a:lnTo>
                <a:lnTo>
                  <a:pt x="665" y="19"/>
                </a:lnTo>
                <a:lnTo>
                  <a:pt x="665" y="19"/>
                </a:lnTo>
                <a:lnTo>
                  <a:pt x="665" y="20"/>
                </a:lnTo>
                <a:lnTo>
                  <a:pt x="665" y="20"/>
                </a:lnTo>
                <a:lnTo>
                  <a:pt x="665" y="20"/>
                </a:lnTo>
                <a:lnTo>
                  <a:pt x="665" y="20"/>
                </a:lnTo>
                <a:lnTo>
                  <a:pt x="665" y="20"/>
                </a:lnTo>
                <a:lnTo>
                  <a:pt x="665" y="20"/>
                </a:lnTo>
                <a:lnTo>
                  <a:pt x="665" y="21"/>
                </a:lnTo>
                <a:lnTo>
                  <a:pt x="666" y="21"/>
                </a:lnTo>
                <a:lnTo>
                  <a:pt x="666" y="21"/>
                </a:lnTo>
                <a:lnTo>
                  <a:pt x="666" y="21"/>
                </a:lnTo>
                <a:lnTo>
                  <a:pt x="666" y="21"/>
                </a:lnTo>
                <a:lnTo>
                  <a:pt x="666" y="22"/>
                </a:lnTo>
                <a:lnTo>
                  <a:pt x="666" y="22"/>
                </a:lnTo>
                <a:lnTo>
                  <a:pt x="666" y="22"/>
                </a:lnTo>
                <a:lnTo>
                  <a:pt x="666" y="22"/>
                </a:lnTo>
                <a:lnTo>
                  <a:pt x="666" y="22"/>
                </a:lnTo>
                <a:lnTo>
                  <a:pt x="666" y="22"/>
                </a:lnTo>
                <a:lnTo>
                  <a:pt x="666" y="23"/>
                </a:lnTo>
                <a:lnTo>
                  <a:pt x="666" y="23"/>
                </a:lnTo>
                <a:lnTo>
                  <a:pt x="667" y="23"/>
                </a:lnTo>
                <a:lnTo>
                  <a:pt x="667" y="23"/>
                </a:lnTo>
                <a:lnTo>
                  <a:pt x="667" y="23"/>
                </a:lnTo>
                <a:lnTo>
                  <a:pt x="667" y="24"/>
                </a:lnTo>
                <a:lnTo>
                  <a:pt x="667" y="24"/>
                </a:lnTo>
                <a:lnTo>
                  <a:pt x="667" y="24"/>
                </a:lnTo>
                <a:lnTo>
                  <a:pt x="667" y="24"/>
                </a:lnTo>
                <a:lnTo>
                  <a:pt x="667" y="24"/>
                </a:lnTo>
                <a:lnTo>
                  <a:pt x="667" y="26"/>
                </a:lnTo>
                <a:lnTo>
                  <a:pt x="667" y="26"/>
                </a:lnTo>
                <a:lnTo>
                  <a:pt x="667" y="26"/>
                </a:lnTo>
                <a:lnTo>
                  <a:pt x="667" y="26"/>
                </a:lnTo>
                <a:lnTo>
                  <a:pt x="667" y="26"/>
                </a:lnTo>
                <a:lnTo>
                  <a:pt x="667" y="27"/>
                </a:lnTo>
                <a:lnTo>
                  <a:pt x="668" y="27"/>
                </a:lnTo>
                <a:lnTo>
                  <a:pt x="668" y="27"/>
                </a:lnTo>
                <a:lnTo>
                  <a:pt x="668" y="27"/>
                </a:lnTo>
                <a:lnTo>
                  <a:pt x="668" y="27"/>
                </a:lnTo>
                <a:lnTo>
                  <a:pt x="668" y="28"/>
                </a:lnTo>
                <a:lnTo>
                  <a:pt x="668" y="28"/>
                </a:lnTo>
                <a:lnTo>
                  <a:pt x="668" y="28"/>
                </a:lnTo>
                <a:lnTo>
                  <a:pt x="668" y="28"/>
                </a:lnTo>
                <a:lnTo>
                  <a:pt x="668" y="28"/>
                </a:lnTo>
                <a:lnTo>
                  <a:pt x="668" y="28"/>
                </a:lnTo>
                <a:lnTo>
                  <a:pt x="668" y="29"/>
                </a:lnTo>
                <a:lnTo>
                  <a:pt x="668" y="29"/>
                </a:lnTo>
                <a:lnTo>
                  <a:pt x="668" y="29"/>
                </a:lnTo>
                <a:lnTo>
                  <a:pt x="668" y="29"/>
                </a:lnTo>
                <a:lnTo>
                  <a:pt x="668" y="30"/>
                </a:lnTo>
                <a:lnTo>
                  <a:pt x="668" y="30"/>
                </a:lnTo>
                <a:lnTo>
                  <a:pt x="668" y="30"/>
                </a:lnTo>
                <a:lnTo>
                  <a:pt x="668" y="30"/>
                </a:lnTo>
                <a:lnTo>
                  <a:pt x="668" y="30"/>
                </a:lnTo>
                <a:lnTo>
                  <a:pt x="668" y="31"/>
                </a:lnTo>
                <a:lnTo>
                  <a:pt x="668" y="31"/>
                </a:lnTo>
                <a:lnTo>
                  <a:pt x="670" y="31"/>
                </a:lnTo>
                <a:lnTo>
                  <a:pt x="670" y="31"/>
                </a:lnTo>
                <a:lnTo>
                  <a:pt x="670" y="31"/>
                </a:lnTo>
                <a:lnTo>
                  <a:pt x="670" y="32"/>
                </a:lnTo>
                <a:lnTo>
                  <a:pt x="670" y="32"/>
                </a:lnTo>
                <a:lnTo>
                  <a:pt x="670" y="32"/>
                </a:lnTo>
                <a:lnTo>
                  <a:pt x="670" y="32"/>
                </a:lnTo>
                <a:lnTo>
                  <a:pt x="670" y="32"/>
                </a:lnTo>
                <a:lnTo>
                  <a:pt x="670" y="34"/>
                </a:lnTo>
                <a:lnTo>
                  <a:pt x="670" y="34"/>
                </a:lnTo>
                <a:lnTo>
                  <a:pt x="670" y="34"/>
                </a:lnTo>
                <a:lnTo>
                  <a:pt x="670" y="34"/>
                </a:lnTo>
                <a:lnTo>
                  <a:pt x="670" y="34"/>
                </a:lnTo>
                <a:lnTo>
                  <a:pt x="670" y="35"/>
                </a:lnTo>
                <a:lnTo>
                  <a:pt x="670" y="35"/>
                </a:lnTo>
                <a:lnTo>
                  <a:pt x="670" y="35"/>
                </a:lnTo>
                <a:lnTo>
                  <a:pt x="670" y="35"/>
                </a:lnTo>
                <a:lnTo>
                  <a:pt x="670" y="36"/>
                </a:lnTo>
                <a:lnTo>
                  <a:pt x="670" y="36"/>
                </a:lnTo>
                <a:lnTo>
                  <a:pt x="670" y="36"/>
                </a:lnTo>
                <a:lnTo>
                  <a:pt x="670" y="36"/>
                </a:lnTo>
                <a:lnTo>
                  <a:pt x="670" y="36"/>
                </a:lnTo>
                <a:lnTo>
                  <a:pt x="670" y="37"/>
                </a:lnTo>
                <a:lnTo>
                  <a:pt x="670" y="37"/>
                </a:lnTo>
                <a:lnTo>
                  <a:pt x="670" y="37"/>
                </a:lnTo>
                <a:lnTo>
                  <a:pt x="670" y="37"/>
                </a:lnTo>
                <a:lnTo>
                  <a:pt x="670" y="37"/>
                </a:lnTo>
                <a:lnTo>
                  <a:pt x="670" y="38"/>
                </a:lnTo>
                <a:lnTo>
                  <a:pt x="670" y="38"/>
                </a:lnTo>
                <a:lnTo>
                  <a:pt x="670" y="38"/>
                </a:lnTo>
                <a:lnTo>
                  <a:pt x="670" y="38"/>
                </a:lnTo>
                <a:lnTo>
                  <a:pt x="670" y="39"/>
                </a:lnTo>
                <a:lnTo>
                  <a:pt x="670" y="39"/>
                </a:lnTo>
                <a:lnTo>
                  <a:pt x="670" y="39"/>
                </a:lnTo>
                <a:lnTo>
                  <a:pt x="670" y="39"/>
                </a:lnTo>
                <a:lnTo>
                  <a:pt x="670" y="39"/>
                </a:lnTo>
                <a:lnTo>
                  <a:pt x="670" y="40"/>
                </a:lnTo>
                <a:lnTo>
                  <a:pt x="670" y="40"/>
                </a:lnTo>
                <a:lnTo>
                  <a:pt x="670" y="40"/>
                </a:lnTo>
                <a:lnTo>
                  <a:pt x="670" y="40"/>
                </a:lnTo>
                <a:lnTo>
                  <a:pt x="670" y="40"/>
                </a:lnTo>
                <a:lnTo>
                  <a:pt x="670" y="41"/>
                </a:lnTo>
                <a:lnTo>
                  <a:pt x="670" y="41"/>
                </a:lnTo>
                <a:lnTo>
                  <a:pt x="670" y="41"/>
                </a:lnTo>
                <a:lnTo>
                  <a:pt x="670" y="41"/>
                </a:lnTo>
                <a:lnTo>
                  <a:pt x="670" y="41"/>
                </a:lnTo>
                <a:lnTo>
                  <a:pt x="670" y="43"/>
                </a:lnTo>
                <a:lnTo>
                  <a:pt x="670" y="43"/>
                </a:lnTo>
                <a:lnTo>
                  <a:pt x="670" y="43"/>
                </a:lnTo>
                <a:lnTo>
                  <a:pt x="670" y="43"/>
                </a:lnTo>
                <a:lnTo>
                  <a:pt x="670" y="44"/>
                </a:lnTo>
                <a:lnTo>
                  <a:pt x="670" y="44"/>
                </a:lnTo>
                <a:lnTo>
                  <a:pt x="670" y="44"/>
                </a:lnTo>
                <a:lnTo>
                  <a:pt x="668" y="44"/>
                </a:lnTo>
                <a:lnTo>
                  <a:pt x="668" y="44"/>
                </a:lnTo>
                <a:lnTo>
                  <a:pt x="668" y="45"/>
                </a:lnTo>
                <a:lnTo>
                  <a:pt x="668" y="45"/>
                </a:lnTo>
                <a:lnTo>
                  <a:pt x="668" y="45"/>
                </a:lnTo>
                <a:lnTo>
                  <a:pt x="668" y="45"/>
                </a:lnTo>
                <a:lnTo>
                  <a:pt x="668" y="45"/>
                </a:lnTo>
                <a:lnTo>
                  <a:pt x="668" y="46"/>
                </a:lnTo>
                <a:lnTo>
                  <a:pt x="668" y="46"/>
                </a:lnTo>
                <a:lnTo>
                  <a:pt x="668" y="46"/>
                </a:lnTo>
                <a:lnTo>
                  <a:pt x="668" y="46"/>
                </a:lnTo>
                <a:lnTo>
                  <a:pt x="668" y="46"/>
                </a:lnTo>
                <a:lnTo>
                  <a:pt x="668" y="47"/>
                </a:lnTo>
                <a:lnTo>
                  <a:pt x="668" y="47"/>
                </a:lnTo>
                <a:lnTo>
                  <a:pt x="668" y="47"/>
                </a:lnTo>
                <a:lnTo>
                  <a:pt x="668" y="47"/>
                </a:lnTo>
                <a:lnTo>
                  <a:pt x="668" y="47"/>
                </a:lnTo>
                <a:lnTo>
                  <a:pt x="668" y="48"/>
                </a:lnTo>
                <a:lnTo>
                  <a:pt x="668" y="48"/>
                </a:lnTo>
                <a:lnTo>
                  <a:pt x="668" y="48"/>
                </a:lnTo>
                <a:lnTo>
                  <a:pt x="668" y="48"/>
                </a:lnTo>
                <a:lnTo>
                  <a:pt x="667" y="48"/>
                </a:lnTo>
                <a:lnTo>
                  <a:pt x="667" y="49"/>
                </a:lnTo>
                <a:lnTo>
                  <a:pt x="667" y="49"/>
                </a:lnTo>
                <a:lnTo>
                  <a:pt x="667" y="49"/>
                </a:lnTo>
                <a:lnTo>
                  <a:pt x="667" y="49"/>
                </a:lnTo>
                <a:lnTo>
                  <a:pt x="667" y="49"/>
                </a:lnTo>
                <a:lnTo>
                  <a:pt x="667" y="50"/>
                </a:lnTo>
                <a:lnTo>
                  <a:pt x="667" y="50"/>
                </a:lnTo>
                <a:lnTo>
                  <a:pt x="667" y="50"/>
                </a:lnTo>
                <a:lnTo>
                  <a:pt x="667" y="50"/>
                </a:lnTo>
                <a:lnTo>
                  <a:pt x="667" y="50"/>
                </a:lnTo>
                <a:lnTo>
                  <a:pt x="667" y="50"/>
                </a:lnTo>
                <a:lnTo>
                  <a:pt x="667" y="52"/>
                </a:lnTo>
                <a:lnTo>
                  <a:pt x="667" y="52"/>
                </a:lnTo>
                <a:lnTo>
                  <a:pt x="666" y="52"/>
                </a:lnTo>
                <a:lnTo>
                  <a:pt x="666" y="52"/>
                </a:lnTo>
                <a:lnTo>
                  <a:pt x="666" y="52"/>
                </a:lnTo>
                <a:lnTo>
                  <a:pt x="666" y="53"/>
                </a:lnTo>
                <a:lnTo>
                  <a:pt x="666" y="53"/>
                </a:lnTo>
                <a:lnTo>
                  <a:pt x="666" y="53"/>
                </a:lnTo>
                <a:lnTo>
                  <a:pt x="666" y="53"/>
                </a:lnTo>
                <a:lnTo>
                  <a:pt x="666" y="53"/>
                </a:lnTo>
                <a:lnTo>
                  <a:pt x="666" y="54"/>
                </a:lnTo>
                <a:lnTo>
                  <a:pt x="666" y="54"/>
                </a:lnTo>
                <a:lnTo>
                  <a:pt x="666" y="54"/>
                </a:lnTo>
                <a:lnTo>
                  <a:pt x="666" y="54"/>
                </a:lnTo>
                <a:lnTo>
                  <a:pt x="665" y="54"/>
                </a:lnTo>
                <a:lnTo>
                  <a:pt x="665" y="54"/>
                </a:lnTo>
                <a:lnTo>
                  <a:pt x="665" y="55"/>
                </a:lnTo>
                <a:lnTo>
                  <a:pt x="665" y="55"/>
                </a:lnTo>
                <a:lnTo>
                  <a:pt x="665" y="55"/>
                </a:lnTo>
                <a:lnTo>
                  <a:pt x="665" y="55"/>
                </a:lnTo>
                <a:lnTo>
                  <a:pt x="665" y="55"/>
                </a:lnTo>
                <a:lnTo>
                  <a:pt x="665" y="56"/>
                </a:lnTo>
                <a:lnTo>
                  <a:pt x="665" y="56"/>
                </a:lnTo>
                <a:lnTo>
                  <a:pt x="665" y="56"/>
                </a:lnTo>
                <a:lnTo>
                  <a:pt x="665" y="56"/>
                </a:lnTo>
                <a:lnTo>
                  <a:pt x="664" y="56"/>
                </a:lnTo>
                <a:lnTo>
                  <a:pt x="664" y="56"/>
                </a:lnTo>
                <a:lnTo>
                  <a:pt x="664" y="57"/>
                </a:lnTo>
                <a:lnTo>
                  <a:pt x="664" y="57"/>
                </a:lnTo>
                <a:lnTo>
                  <a:pt x="664" y="57"/>
                </a:lnTo>
                <a:lnTo>
                  <a:pt x="664" y="57"/>
                </a:lnTo>
                <a:lnTo>
                  <a:pt x="664" y="57"/>
                </a:lnTo>
                <a:lnTo>
                  <a:pt x="664" y="57"/>
                </a:lnTo>
                <a:lnTo>
                  <a:pt x="664" y="58"/>
                </a:lnTo>
                <a:lnTo>
                  <a:pt x="663" y="58"/>
                </a:lnTo>
                <a:lnTo>
                  <a:pt x="663" y="58"/>
                </a:lnTo>
                <a:lnTo>
                  <a:pt x="663" y="58"/>
                </a:lnTo>
                <a:lnTo>
                  <a:pt x="663" y="58"/>
                </a:lnTo>
                <a:lnTo>
                  <a:pt x="663" y="58"/>
                </a:lnTo>
                <a:lnTo>
                  <a:pt x="663" y="59"/>
                </a:lnTo>
                <a:lnTo>
                  <a:pt x="663" y="59"/>
                </a:lnTo>
                <a:lnTo>
                  <a:pt x="663" y="59"/>
                </a:lnTo>
                <a:lnTo>
                  <a:pt x="663" y="59"/>
                </a:lnTo>
                <a:lnTo>
                  <a:pt x="662" y="59"/>
                </a:lnTo>
                <a:lnTo>
                  <a:pt x="662" y="59"/>
                </a:lnTo>
                <a:lnTo>
                  <a:pt x="662" y="61"/>
                </a:lnTo>
                <a:lnTo>
                  <a:pt x="662" y="61"/>
                </a:lnTo>
                <a:lnTo>
                  <a:pt x="662" y="61"/>
                </a:lnTo>
                <a:lnTo>
                  <a:pt x="662" y="61"/>
                </a:lnTo>
                <a:lnTo>
                  <a:pt x="662" y="61"/>
                </a:lnTo>
                <a:lnTo>
                  <a:pt x="662" y="61"/>
                </a:lnTo>
                <a:lnTo>
                  <a:pt x="661" y="61"/>
                </a:lnTo>
                <a:lnTo>
                  <a:pt x="661" y="62"/>
                </a:lnTo>
                <a:lnTo>
                  <a:pt x="661" y="62"/>
                </a:lnTo>
                <a:lnTo>
                  <a:pt x="661" y="62"/>
                </a:lnTo>
                <a:lnTo>
                  <a:pt x="661" y="62"/>
                </a:lnTo>
                <a:lnTo>
                  <a:pt x="661" y="62"/>
                </a:lnTo>
                <a:lnTo>
                  <a:pt x="661" y="62"/>
                </a:lnTo>
                <a:lnTo>
                  <a:pt x="661" y="63"/>
                </a:lnTo>
                <a:lnTo>
                  <a:pt x="659" y="63"/>
                </a:lnTo>
                <a:lnTo>
                  <a:pt x="659" y="63"/>
                </a:lnTo>
                <a:lnTo>
                  <a:pt x="659" y="63"/>
                </a:lnTo>
                <a:lnTo>
                  <a:pt x="659" y="63"/>
                </a:lnTo>
                <a:lnTo>
                  <a:pt x="659" y="63"/>
                </a:lnTo>
                <a:lnTo>
                  <a:pt x="659" y="63"/>
                </a:lnTo>
                <a:lnTo>
                  <a:pt x="659" y="64"/>
                </a:lnTo>
                <a:lnTo>
                  <a:pt x="658" y="64"/>
                </a:lnTo>
                <a:lnTo>
                  <a:pt x="658" y="64"/>
                </a:lnTo>
                <a:lnTo>
                  <a:pt x="658" y="64"/>
                </a:lnTo>
                <a:lnTo>
                  <a:pt x="658" y="64"/>
                </a:lnTo>
                <a:lnTo>
                  <a:pt x="658" y="64"/>
                </a:lnTo>
                <a:lnTo>
                  <a:pt x="658" y="64"/>
                </a:lnTo>
                <a:lnTo>
                  <a:pt x="658" y="65"/>
                </a:lnTo>
                <a:lnTo>
                  <a:pt x="657" y="65"/>
                </a:lnTo>
                <a:lnTo>
                  <a:pt x="657" y="65"/>
                </a:lnTo>
                <a:lnTo>
                  <a:pt x="657" y="65"/>
                </a:lnTo>
                <a:lnTo>
                  <a:pt x="657" y="65"/>
                </a:lnTo>
                <a:lnTo>
                  <a:pt x="657" y="65"/>
                </a:lnTo>
                <a:lnTo>
                  <a:pt x="657" y="65"/>
                </a:lnTo>
                <a:lnTo>
                  <a:pt x="657" y="66"/>
                </a:lnTo>
                <a:lnTo>
                  <a:pt x="656" y="66"/>
                </a:lnTo>
                <a:lnTo>
                  <a:pt x="656" y="66"/>
                </a:lnTo>
                <a:lnTo>
                  <a:pt x="656" y="66"/>
                </a:lnTo>
                <a:lnTo>
                  <a:pt x="656" y="66"/>
                </a:lnTo>
                <a:lnTo>
                  <a:pt x="656" y="66"/>
                </a:lnTo>
                <a:lnTo>
                  <a:pt x="656" y="66"/>
                </a:lnTo>
                <a:lnTo>
                  <a:pt x="655" y="66"/>
                </a:lnTo>
                <a:lnTo>
                  <a:pt x="655" y="67"/>
                </a:lnTo>
                <a:lnTo>
                  <a:pt x="655" y="67"/>
                </a:lnTo>
                <a:lnTo>
                  <a:pt x="655" y="67"/>
                </a:lnTo>
                <a:lnTo>
                  <a:pt x="655" y="67"/>
                </a:lnTo>
                <a:lnTo>
                  <a:pt x="655" y="67"/>
                </a:lnTo>
                <a:lnTo>
                  <a:pt x="655" y="67"/>
                </a:lnTo>
                <a:lnTo>
                  <a:pt x="654" y="67"/>
                </a:lnTo>
                <a:lnTo>
                  <a:pt x="654" y="67"/>
                </a:lnTo>
                <a:lnTo>
                  <a:pt x="654" y="68"/>
                </a:lnTo>
                <a:lnTo>
                  <a:pt x="654" y="68"/>
                </a:lnTo>
                <a:lnTo>
                  <a:pt x="654" y="68"/>
                </a:lnTo>
                <a:lnTo>
                  <a:pt x="654" y="68"/>
                </a:lnTo>
                <a:lnTo>
                  <a:pt x="653" y="68"/>
                </a:lnTo>
                <a:lnTo>
                  <a:pt x="653" y="68"/>
                </a:lnTo>
                <a:lnTo>
                  <a:pt x="653" y="68"/>
                </a:lnTo>
                <a:lnTo>
                  <a:pt x="653" y="68"/>
                </a:lnTo>
                <a:lnTo>
                  <a:pt x="653" y="68"/>
                </a:lnTo>
                <a:lnTo>
                  <a:pt x="653" y="70"/>
                </a:lnTo>
                <a:lnTo>
                  <a:pt x="652" y="70"/>
                </a:lnTo>
                <a:lnTo>
                  <a:pt x="652" y="70"/>
                </a:lnTo>
                <a:lnTo>
                  <a:pt x="652" y="70"/>
                </a:lnTo>
                <a:lnTo>
                  <a:pt x="652" y="70"/>
                </a:lnTo>
                <a:lnTo>
                  <a:pt x="652" y="70"/>
                </a:lnTo>
                <a:lnTo>
                  <a:pt x="652" y="70"/>
                </a:lnTo>
                <a:lnTo>
                  <a:pt x="650" y="70"/>
                </a:lnTo>
                <a:lnTo>
                  <a:pt x="650" y="70"/>
                </a:lnTo>
                <a:lnTo>
                  <a:pt x="650" y="70"/>
                </a:lnTo>
                <a:lnTo>
                  <a:pt x="650" y="71"/>
                </a:lnTo>
                <a:lnTo>
                  <a:pt x="650" y="71"/>
                </a:lnTo>
                <a:lnTo>
                  <a:pt x="649" y="71"/>
                </a:lnTo>
                <a:lnTo>
                  <a:pt x="649" y="71"/>
                </a:lnTo>
                <a:lnTo>
                  <a:pt x="649" y="71"/>
                </a:lnTo>
                <a:lnTo>
                  <a:pt x="649" y="71"/>
                </a:lnTo>
                <a:lnTo>
                  <a:pt x="649" y="71"/>
                </a:lnTo>
                <a:lnTo>
                  <a:pt x="649" y="71"/>
                </a:lnTo>
                <a:lnTo>
                  <a:pt x="648" y="71"/>
                </a:lnTo>
                <a:lnTo>
                  <a:pt x="648" y="71"/>
                </a:lnTo>
                <a:lnTo>
                  <a:pt x="648" y="72"/>
                </a:lnTo>
                <a:lnTo>
                  <a:pt x="648" y="72"/>
                </a:lnTo>
                <a:lnTo>
                  <a:pt x="648" y="72"/>
                </a:lnTo>
                <a:lnTo>
                  <a:pt x="647" y="72"/>
                </a:lnTo>
                <a:lnTo>
                  <a:pt x="647" y="72"/>
                </a:lnTo>
                <a:lnTo>
                  <a:pt x="647" y="72"/>
                </a:lnTo>
                <a:lnTo>
                  <a:pt x="647" y="72"/>
                </a:lnTo>
                <a:lnTo>
                  <a:pt x="647" y="72"/>
                </a:lnTo>
                <a:lnTo>
                  <a:pt x="647" y="72"/>
                </a:lnTo>
                <a:lnTo>
                  <a:pt x="646" y="72"/>
                </a:lnTo>
                <a:lnTo>
                  <a:pt x="646" y="72"/>
                </a:lnTo>
                <a:lnTo>
                  <a:pt x="646" y="72"/>
                </a:lnTo>
                <a:lnTo>
                  <a:pt x="646" y="72"/>
                </a:lnTo>
                <a:lnTo>
                  <a:pt x="646" y="73"/>
                </a:lnTo>
                <a:lnTo>
                  <a:pt x="645" y="73"/>
                </a:lnTo>
                <a:lnTo>
                  <a:pt x="645" y="73"/>
                </a:lnTo>
                <a:lnTo>
                  <a:pt x="645" y="73"/>
                </a:lnTo>
                <a:lnTo>
                  <a:pt x="645" y="73"/>
                </a:lnTo>
                <a:lnTo>
                  <a:pt x="645" y="73"/>
                </a:lnTo>
                <a:lnTo>
                  <a:pt x="644" y="73"/>
                </a:lnTo>
                <a:lnTo>
                  <a:pt x="644" y="73"/>
                </a:lnTo>
                <a:lnTo>
                  <a:pt x="644" y="73"/>
                </a:lnTo>
                <a:lnTo>
                  <a:pt x="644" y="73"/>
                </a:lnTo>
                <a:lnTo>
                  <a:pt x="644" y="73"/>
                </a:lnTo>
                <a:lnTo>
                  <a:pt x="643" y="73"/>
                </a:lnTo>
                <a:lnTo>
                  <a:pt x="643" y="73"/>
                </a:lnTo>
                <a:lnTo>
                  <a:pt x="643" y="73"/>
                </a:lnTo>
                <a:lnTo>
                  <a:pt x="643" y="73"/>
                </a:lnTo>
                <a:lnTo>
                  <a:pt x="643" y="74"/>
                </a:lnTo>
                <a:lnTo>
                  <a:pt x="641" y="74"/>
                </a:lnTo>
                <a:lnTo>
                  <a:pt x="641" y="74"/>
                </a:lnTo>
                <a:lnTo>
                  <a:pt x="641" y="74"/>
                </a:lnTo>
                <a:lnTo>
                  <a:pt x="641" y="74"/>
                </a:lnTo>
                <a:lnTo>
                  <a:pt x="641" y="74"/>
                </a:lnTo>
                <a:lnTo>
                  <a:pt x="640" y="74"/>
                </a:lnTo>
                <a:lnTo>
                  <a:pt x="640" y="74"/>
                </a:lnTo>
                <a:lnTo>
                  <a:pt x="640" y="74"/>
                </a:lnTo>
                <a:lnTo>
                  <a:pt x="640" y="74"/>
                </a:lnTo>
                <a:lnTo>
                  <a:pt x="640" y="74"/>
                </a:lnTo>
                <a:lnTo>
                  <a:pt x="639" y="74"/>
                </a:lnTo>
                <a:lnTo>
                  <a:pt x="639" y="74"/>
                </a:lnTo>
                <a:lnTo>
                  <a:pt x="639" y="74"/>
                </a:lnTo>
                <a:lnTo>
                  <a:pt x="639" y="74"/>
                </a:lnTo>
                <a:lnTo>
                  <a:pt x="639" y="74"/>
                </a:lnTo>
                <a:lnTo>
                  <a:pt x="638" y="74"/>
                </a:lnTo>
                <a:lnTo>
                  <a:pt x="638" y="74"/>
                </a:lnTo>
                <a:lnTo>
                  <a:pt x="638" y="74"/>
                </a:lnTo>
                <a:lnTo>
                  <a:pt x="638" y="74"/>
                </a:lnTo>
                <a:lnTo>
                  <a:pt x="638" y="74"/>
                </a:lnTo>
                <a:lnTo>
                  <a:pt x="637" y="74"/>
                </a:lnTo>
                <a:lnTo>
                  <a:pt x="637" y="75"/>
                </a:lnTo>
                <a:lnTo>
                  <a:pt x="637" y="75"/>
                </a:lnTo>
                <a:lnTo>
                  <a:pt x="637" y="75"/>
                </a:lnTo>
                <a:lnTo>
                  <a:pt x="637" y="75"/>
                </a:lnTo>
                <a:lnTo>
                  <a:pt x="636" y="75"/>
                </a:lnTo>
                <a:lnTo>
                  <a:pt x="636" y="75"/>
                </a:lnTo>
                <a:lnTo>
                  <a:pt x="636" y="75"/>
                </a:lnTo>
                <a:lnTo>
                  <a:pt x="636" y="75"/>
                </a:lnTo>
                <a:lnTo>
                  <a:pt x="636" y="75"/>
                </a:lnTo>
                <a:lnTo>
                  <a:pt x="635" y="75"/>
                </a:lnTo>
                <a:lnTo>
                  <a:pt x="635" y="75"/>
                </a:lnTo>
                <a:lnTo>
                  <a:pt x="635" y="75"/>
                </a:lnTo>
                <a:lnTo>
                  <a:pt x="635" y="75"/>
                </a:lnTo>
                <a:lnTo>
                  <a:pt x="634" y="75"/>
                </a:lnTo>
                <a:lnTo>
                  <a:pt x="634" y="75"/>
                </a:lnTo>
                <a:lnTo>
                  <a:pt x="634" y="75"/>
                </a:lnTo>
                <a:lnTo>
                  <a:pt x="634" y="75"/>
                </a:lnTo>
                <a:lnTo>
                  <a:pt x="634" y="75"/>
                </a:lnTo>
                <a:lnTo>
                  <a:pt x="632" y="75"/>
                </a:lnTo>
                <a:lnTo>
                  <a:pt x="632" y="75"/>
                </a:lnTo>
                <a:lnTo>
                  <a:pt x="632" y="75"/>
                </a:lnTo>
                <a:lnTo>
                  <a:pt x="632" y="75"/>
                </a:lnTo>
                <a:lnTo>
                  <a:pt x="632" y="75"/>
                </a:lnTo>
                <a:lnTo>
                  <a:pt x="632" y="75"/>
                </a:lnTo>
                <a:close/>
                <a:moveTo>
                  <a:pt x="628" y="77"/>
                </a:moveTo>
                <a:lnTo>
                  <a:pt x="636" y="77"/>
                </a:lnTo>
                <a:lnTo>
                  <a:pt x="636" y="93"/>
                </a:lnTo>
                <a:lnTo>
                  <a:pt x="628" y="93"/>
                </a:lnTo>
                <a:lnTo>
                  <a:pt x="628" y="77"/>
                </a:lnTo>
                <a:lnTo>
                  <a:pt x="628" y="77"/>
                </a:lnTo>
                <a:close/>
                <a:moveTo>
                  <a:pt x="628" y="125"/>
                </a:moveTo>
                <a:lnTo>
                  <a:pt x="636" y="125"/>
                </a:lnTo>
                <a:lnTo>
                  <a:pt x="636" y="140"/>
                </a:lnTo>
                <a:lnTo>
                  <a:pt x="628" y="140"/>
                </a:lnTo>
                <a:lnTo>
                  <a:pt x="628" y="125"/>
                </a:lnTo>
                <a:lnTo>
                  <a:pt x="628" y="125"/>
                </a:lnTo>
                <a:close/>
                <a:moveTo>
                  <a:pt x="628" y="172"/>
                </a:moveTo>
                <a:lnTo>
                  <a:pt x="636" y="172"/>
                </a:lnTo>
                <a:lnTo>
                  <a:pt x="636" y="188"/>
                </a:lnTo>
                <a:lnTo>
                  <a:pt x="628" y="188"/>
                </a:lnTo>
                <a:lnTo>
                  <a:pt x="628" y="172"/>
                </a:lnTo>
                <a:lnTo>
                  <a:pt x="628" y="172"/>
                </a:lnTo>
                <a:close/>
                <a:moveTo>
                  <a:pt x="628" y="219"/>
                </a:moveTo>
                <a:lnTo>
                  <a:pt x="636" y="219"/>
                </a:lnTo>
                <a:lnTo>
                  <a:pt x="636" y="235"/>
                </a:lnTo>
                <a:lnTo>
                  <a:pt x="628" y="235"/>
                </a:lnTo>
                <a:lnTo>
                  <a:pt x="628" y="219"/>
                </a:lnTo>
                <a:lnTo>
                  <a:pt x="628" y="219"/>
                </a:lnTo>
                <a:close/>
                <a:moveTo>
                  <a:pt x="628" y="266"/>
                </a:moveTo>
                <a:lnTo>
                  <a:pt x="636" y="266"/>
                </a:lnTo>
                <a:lnTo>
                  <a:pt x="636" y="281"/>
                </a:lnTo>
                <a:lnTo>
                  <a:pt x="628" y="281"/>
                </a:lnTo>
                <a:lnTo>
                  <a:pt x="628" y="266"/>
                </a:lnTo>
                <a:lnTo>
                  <a:pt x="628" y="266"/>
                </a:lnTo>
                <a:close/>
                <a:moveTo>
                  <a:pt x="628" y="305"/>
                </a:moveTo>
                <a:lnTo>
                  <a:pt x="628" y="313"/>
                </a:lnTo>
                <a:lnTo>
                  <a:pt x="612" y="313"/>
                </a:lnTo>
                <a:lnTo>
                  <a:pt x="612" y="305"/>
                </a:lnTo>
                <a:lnTo>
                  <a:pt x="628" y="305"/>
                </a:lnTo>
                <a:lnTo>
                  <a:pt x="628" y="305"/>
                </a:lnTo>
                <a:close/>
                <a:moveTo>
                  <a:pt x="581" y="305"/>
                </a:moveTo>
                <a:lnTo>
                  <a:pt x="581" y="313"/>
                </a:lnTo>
                <a:lnTo>
                  <a:pt x="565" y="313"/>
                </a:lnTo>
                <a:lnTo>
                  <a:pt x="565" y="305"/>
                </a:lnTo>
                <a:lnTo>
                  <a:pt x="581" y="305"/>
                </a:lnTo>
                <a:lnTo>
                  <a:pt x="581" y="305"/>
                </a:lnTo>
                <a:close/>
                <a:moveTo>
                  <a:pt x="533" y="305"/>
                </a:moveTo>
                <a:lnTo>
                  <a:pt x="533" y="313"/>
                </a:lnTo>
                <a:lnTo>
                  <a:pt x="518" y="313"/>
                </a:lnTo>
                <a:lnTo>
                  <a:pt x="518" y="305"/>
                </a:lnTo>
                <a:lnTo>
                  <a:pt x="533" y="305"/>
                </a:lnTo>
                <a:lnTo>
                  <a:pt x="533" y="305"/>
                </a:lnTo>
                <a:close/>
                <a:moveTo>
                  <a:pt x="486" y="305"/>
                </a:moveTo>
                <a:lnTo>
                  <a:pt x="486" y="313"/>
                </a:lnTo>
                <a:lnTo>
                  <a:pt x="470" y="313"/>
                </a:lnTo>
                <a:lnTo>
                  <a:pt x="470" y="305"/>
                </a:lnTo>
                <a:lnTo>
                  <a:pt x="486" y="305"/>
                </a:lnTo>
                <a:lnTo>
                  <a:pt x="486" y="305"/>
                </a:lnTo>
                <a:close/>
                <a:moveTo>
                  <a:pt x="440" y="305"/>
                </a:moveTo>
                <a:lnTo>
                  <a:pt x="440" y="313"/>
                </a:lnTo>
                <a:lnTo>
                  <a:pt x="424" y="313"/>
                </a:lnTo>
                <a:lnTo>
                  <a:pt x="424" y="305"/>
                </a:lnTo>
                <a:lnTo>
                  <a:pt x="440" y="305"/>
                </a:lnTo>
                <a:lnTo>
                  <a:pt x="440" y="305"/>
                </a:lnTo>
                <a:close/>
                <a:moveTo>
                  <a:pt x="393" y="305"/>
                </a:moveTo>
                <a:lnTo>
                  <a:pt x="393" y="313"/>
                </a:lnTo>
                <a:lnTo>
                  <a:pt x="377" y="313"/>
                </a:lnTo>
                <a:lnTo>
                  <a:pt x="377" y="305"/>
                </a:lnTo>
                <a:lnTo>
                  <a:pt x="393" y="305"/>
                </a:lnTo>
                <a:lnTo>
                  <a:pt x="393" y="305"/>
                </a:lnTo>
                <a:close/>
                <a:moveTo>
                  <a:pt x="345" y="305"/>
                </a:moveTo>
                <a:lnTo>
                  <a:pt x="345" y="313"/>
                </a:lnTo>
                <a:lnTo>
                  <a:pt x="330" y="313"/>
                </a:lnTo>
                <a:lnTo>
                  <a:pt x="330" y="305"/>
                </a:lnTo>
                <a:lnTo>
                  <a:pt x="345" y="305"/>
                </a:lnTo>
                <a:lnTo>
                  <a:pt x="345" y="305"/>
                </a:lnTo>
                <a:close/>
                <a:moveTo>
                  <a:pt x="298" y="305"/>
                </a:moveTo>
                <a:lnTo>
                  <a:pt x="298" y="313"/>
                </a:lnTo>
                <a:lnTo>
                  <a:pt x="282" y="313"/>
                </a:lnTo>
                <a:lnTo>
                  <a:pt x="282" y="305"/>
                </a:lnTo>
                <a:lnTo>
                  <a:pt x="298" y="305"/>
                </a:lnTo>
                <a:lnTo>
                  <a:pt x="298" y="305"/>
                </a:lnTo>
                <a:close/>
                <a:moveTo>
                  <a:pt x="251" y="305"/>
                </a:moveTo>
                <a:lnTo>
                  <a:pt x="251" y="313"/>
                </a:lnTo>
                <a:lnTo>
                  <a:pt x="235" y="313"/>
                </a:lnTo>
                <a:lnTo>
                  <a:pt x="235" y="305"/>
                </a:lnTo>
                <a:lnTo>
                  <a:pt x="251" y="305"/>
                </a:lnTo>
                <a:lnTo>
                  <a:pt x="251" y="305"/>
                </a:lnTo>
                <a:close/>
                <a:moveTo>
                  <a:pt x="203" y="305"/>
                </a:moveTo>
                <a:lnTo>
                  <a:pt x="203" y="313"/>
                </a:lnTo>
                <a:lnTo>
                  <a:pt x="188" y="313"/>
                </a:lnTo>
                <a:lnTo>
                  <a:pt x="188" y="305"/>
                </a:lnTo>
                <a:lnTo>
                  <a:pt x="203" y="305"/>
                </a:lnTo>
                <a:lnTo>
                  <a:pt x="203" y="305"/>
                </a:lnTo>
                <a:close/>
                <a:moveTo>
                  <a:pt x="156" y="305"/>
                </a:moveTo>
                <a:lnTo>
                  <a:pt x="156" y="313"/>
                </a:lnTo>
                <a:lnTo>
                  <a:pt x="140" y="313"/>
                </a:lnTo>
                <a:lnTo>
                  <a:pt x="140" y="305"/>
                </a:lnTo>
                <a:lnTo>
                  <a:pt x="156" y="305"/>
                </a:lnTo>
                <a:lnTo>
                  <a:pt x="156" y="305"/>
                </a:lnTo>
                <a:close/>
                <a:moveTo>
                  <a:pt x="110" y="305"/>
                </a:moveTo>
                <a:lnTo>
                  <a:pt x="110" y="313"/>
                </a:lnTo>
                <a:lnTo>
                  <a:pt x="94" y="313"/>
                </a:lnTo>
                <a:lnTo>
                  <a:pt x="94" y="305"/>
                </a:lnTo>
                <a:lnTo>
                  <a:pt x="110" y="305"/>
                </a:lnTo>
                <a:lnTo>
                  <a:pt x="110" y="305"/>
                </a:lnTo>
                <a:close/>
                <a:moveTo>
                  <a:pt x="63" y="305"/>
                </a:moveTo>
                <a:lnTo>
                  <a:pt x="63" y="313"/>
                </a:lnTo>
                <a:lnTo>
                  <a:pt x="47" y="313"/>
                </a:lnTo>
                <a:lnTo>
                  <a:pt x="47" y="305"/>
                </a:lnTo>
                <a:lnTo>
                  <a:pt x="63" y="305"/>
                </a:lnTo>
                <a:close/>
              </a:path>
            </a:pathLst>
          </a:custGeom>
          <a:solidFill>
            <a:srgbClr val="8497B0"/>
          </a:solidFill>
          <a:ln>
            <a:solidFill>
              <a:schemeClr val="accent1">
                <a:lumMod val="90000"/>
              </a:schemeClr>
            </a:solidFill>
          </a:ln>
        </p:spPr>
        <p:txBody>
          <a:bodyPr vert="horz" wrap="square" lIns="91440" tIns="45720" rIns="91440" bIns="45720" numCol="1" anchor="t" anchorCtr="0" compatLnSpc="1">
            <a:prstTxWarp prst="textNoShape">
              <a:avLst/>
            </a:prstTxWarp>
          </a:bodyPr>
          <a:lstStyle/>
          <a:p>
            <a:endParaRPr lang="en-US"/>
          </a:p>
        </p:txBody>
      </p:sp>
      <p:sp>
        <p:nvSpPr>
          <p:cNvPr id="88" name="Freeform 82">
            <a:extLst>
              <a:ext uri="{FF2B5EF4-FFF2-40B4-BE49-F238E27FC236}">
                <a16:creationId xmlns:a16="http://schemas.microsoft.com/office/drawing/2014/main" id="{794FB12A-160E-427D-B327-E152F69B78A8}"/>
              </a:ext>
            </a:extLst>
          </p:cNvPr>
          <p:cNvSpPr>
            <a:spLocks noEditPoints="1"/>
          </p:cNvSpPr>
          <p:nvPr/>
        </p:nvSpPr>
        <p:spPr bwMode="auto">
          <a:xfrm>
            <a:off x="7555358" y="5302250"/>
            <a:ext cx="738188" cy="522287"/>
          </a:xfrm>
          <a:custGeom>
            <a:avLst/>
            <a:gdLst>
              <a:gd name="T0" fmla="*/ 8 w 465"/>
              <a:gd name="T1" fmla="*/ 43 h 329"/>
              <a:gd name="T2" fmla="*/ 10 w 465"/>
              <a:gd name="T3" fmla="*/ 48 h 329"/>
              <a:gd name="T4" fmla="*/ 12 w 465"/>
              <a:gd name="T5" fmla="*/ 54 h 329"/>
              <a:gd name="T6" fmla="*/ 17 w 465"/>
              <a:gd name="T7" fmla="*/ 58 h 329"/>
              <a:gd name="T8" fmla="*/ 21 w 465"/>
              <a:gd name="T9" fmla="*/ 63 h 329"/>
              <a:gd name="T10" fmla="*/ 27 w 465"/>
              <a:gd name="T11" fmla="*/ 65 h 329"/>
              <a:gd name="T12" fmla="*/ 33 w 465"/>
              <a:gd name="T13" fmla="*/ 66 h 329"/>
              <a:gd name="T14" fmla="*/ 39 w 465"/>
              <a:gd name="T15" fmla="*/ 67 h 329"/>
              <a:gd name="T16" fmla="*/ 45 w 465"/>
              <a:gd name="T17" fmla="*/ 66 h 329"/>
              <a:gd name="T18" fmla="*/ 51 w 465"/>
              <a:gd name="T19" fmla="*/ 64 h 329"/>
              <a:gd name="T20" fmla="*/ 56 w 465"/>
              <a:gd name="T21" fmla="*/ 61 h 329"/>
              <a:gd name="T22" fmla="*/ 61 w 465"/>
              <a:gd name="T23" fmla="*/ 56 h 329"/>
              <a:gd name="T24" fmla="*/ 64 w 465"/>
              <a:gd name="T25" fmla="*/ 52 h 329"/>
              <a:gd name="T26" fmla="*/ 66 w 465"/>
              <a:gd name="T27" fmla="*/ 45 h 329"/>
              <a:gd name="T28" fmla="*/ 66 w 465"/>
              <a:gd name="T29" fmla="*/ 39 h 329"/>
              <a:gd name="T30" fmla="*/ 66 w 465"/>
              <a:gd name="T31" fmla="*/ 32 h 329"/>
              <a:gd name="T32" fmla="*/ 65 w 465"/>
              <a:gd name="T33" fmla="*/ 27 h 329"/>
              <a:gd name="T34" fmla="*/ 62 w 465"/>
              <a:gd name="T35" fmla="*/ 21 h 329"/>
              <a:gd name="T36" fmla="*/ 59 w 465"/>
              <a:gd name="T37" fmla="*/ 17 h 329"/>
              <a:gd name="T38" fmla="*/ 54 w 465"/>
              <a:gd name="T39" fmla="*/ 12 h 329"/>
              <a:gd name="T40" fmla="*/ 48 w 465"/>
              <a:gd name="T41" fmla="*/ 10 h 329"/>
              <a:gd name="T42" fmla="*/ 43 w 465"/>
              <a:gd name="T43" fmla="*/ 8 h 329"/>
              <a:gd name="T44" fmla="*/ 36 w 465"/>
              <a:gd name="T45" fmla="*/ 8 h 329"/>
              <a:gd name="T46" fmla="*/ 29 w 465"/>
              <a:gd name="T47" fmla="*/ 9 h 329"/>
              <a:gd name="T48" fmla="*/ 24 w 465"/>
              <a:gd name="T49" fmla="*/ 11 h 329"/>
              <a:gd name="T50" fmla="*/ 19 w 465"/>
              <a:gd name="T51" fmla="*/ 14 h 329"/>
              <a:gd name="T52" fmla="*/ 15 w 465"/>
              <a:gd name="T53" fmla="*/ 19 h 329"/>
              <a:gd name="T54" fmla="*/ 11 w 465"/>
              <a:gd name="T55" fmla="*/ 23 h 329"/>
              <a:gd name="T56" fmla="*/ 9 w 465"/>
              <a:gd name="T57" fmla="*/ 29 h 329"/>
              <a:gd name="T58" fmla="*/ 8 w 465"/>
              <a:gd name="T59" fmla="*/ 36 h 329"/>
              <a:gd name="T60" fmla="*/ 33 w 465"/>
              <a:gd name="T61" fmla="*/ 75 h 329"/>
              <a:gd name="T62" fmla="*/ 25 w 465"/>
              <a:gd name="T63" fmla="*/ 73 h 329"/>
              <a:gd name="T64" fmla="*/ 18 w 465"/>
              <a:gd name="T65" fmla="*/ 70 h 329"/>
              <a:gd name="T66" fmla="*/ 11 w 465"/>
              <a:gd name="T67" fmla="*/ 65 h 329"/>
              <a:gd name="T68" fmla="*/ 7 w 465"/>
              <a:gd name="T69" fmla="*/ 59 h 329"/>
              <a:gd name="T70" fmla="*/ 2 w 465"/>
              <a:gd name="T71" fmla="*/ 53 h 329"/>
              <a:gd name="T72" fmla="*/ 0 w 465"/>
              <a:gd name="T73" fmla="*/ 45 h 329"/>
              <a:gd name="T74" fmla="*/ 0 w 465"/>
              <a:gd name="T75" fmla="*/ 37 h 329"/>
              <a:gd name="T76" fmla="*/ 1 w 465"/>
              <a:gd name="T77" fmla="*/ 29 h 329"/>
              <a:gd name="T78" fmla="*/ 3 w 465"/>
              <a:gd name="T79" fmla="*/ 21 h 329"/>
              <a:gd name="T80" fmla="*/ 7 w 465"/>
              <a:gd name="T81" fmla="*/ 14 h 329"/>
              <a:gd name="T82" fmla="*/ 12 w 465"/>
              <a:gd name="T83" fmla="*/ 9 h 329"/>
              <a:gd name="T84" fmla="*/ 19 w 465"/>
              <a:gd name="T85" fmla="*/ 4 h 329"/>
              <a:gd name="T86" fmla="*/ 26 w 465"/>
              <a:gd name="T87" fmla="*/ 2 h 329"/>
              <a:gd name="T88" fmla="*/ 34 w 465"/>
              <a:gd name="T89" fmla="*/ 0 h 329"/>
              <a:gd name="T90" fmla="*/ 42 w 465"/>
              <a:gd name="T91" fmla="*/ 0 h 329"/>
              <a:gd name="T92" fmla="*/ 50 w 465"/>
              <a:gd name="T93" fmla="*/ 2 h 329"/>
              <a:gd name="T94" fmla="*/ 56 w 465"/>
              <a:gd name="T95" fmla="*/ 5 h 329"/>
              <a:gd name="T96" fmla="*/ 63 w 465"/>
              <a:gd name="T97" fmla="*/ 10 h 329"/>
              <a:gd name="T98" fmla="*/ 68 w 465"/>
              <a:gd name="T99" fmla="*/ 15 h 329"/>
              <a:gd name="T100" fmla="*/ 72 w 465"/>
              <a:gd name="T101" fmla="*/ 22 h 329"/>
              <a:gd name="T102" fmla="*/ 74 w 465"/>
              <a:gd name="T103" fmla="*/ 30 h 329"/>
              <a:gd name="T104" fmla="*/ 74 w 465"/>
              <a:gd name="T105" fmla="*/ 38 h 329"/>
              <a:gd name="T106" fmla="*/ 74 w 465"/>
              <a:gd name="T107" fmla="*/ 46 h 329"/>
              <a:gd name="T108" fmla="*/ 71 w 465"/>
              <a:gd name="T109" fmla="*/ 53 h 329"/>
              <a:gd name="T110" fmla="*/ 68 w 465"/>
              <a:gd name="T111" fmla="*/ 59 h 329"/>
              <a:gd name="T112" fmla="*/ 62 w 465"/>
              <a:gd name="T113" fmla="*/ 65 h 329"/>
              <a:gd name="T114" fmla="*/ 56 w 465"/>
              <a:gd name="T115" fmla="*/ 70 h 329"/>
              <a:gd name="T116" fmla="*/ 50 w 465"/>
              <a:gd name="T117" fmla="*/ 73 h 329"/>
              <a:gd name="T118" fmla="*/ 42 w 465"/>
              <a:gd name="T119" fmla="*/ 75 h 329"/>
              <a:gd name="T120" fmla="*/ 34 w 465"/>
              <a:gd name="T121" fmla="*/ 188 h 329"/>
              <a:gd name="T122" fmla="*/ 135 w 465"/>
              <a:gd name="T123" fmla="*/ 329 h 329"/>
              <a:gd name="T124" fmla="*/ 403 w 465"/>
              <a:gd name="T125" fmla="*/ 32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5" h="329">
                <a:moveTo>
                  <a:pt x="449" y="329"/>
                </a:moveTo>
                <a:lnTo>
                  <a:pt x="449" y="321"/>
                </a:lnTo>
                <a:lnTo>
                  <a:pt x="465" y="321"/>
                </a:lnTo>
                <a:lnTo>
                  <a:pt x="465" y="329"/>
                </a:lnTo>
                <a:lnTo>
                  <a:pt x="449" y="329"/>
                </a:lnTo>
                <a:lnTo>
                  <a:pt x="449" y="329"/>
                </a:lnTo>
                <a:close/>
                <a:moveTo>
                  <a:pt x="8" y="37"/>
                </a:moveTo>
                <a:lnTo>
                  <a:pt x="8" y="38"/>
                </a:lnTo>
                <a:lnTo>
                  <a:pt x="8" y="38"/>
                </a:lnTo>
                <a:lnTo>
                  <a:pt x="8" y="38"/>
                </a:lnTo>
                <a:lnTo>
                  <a:pt x="8" y="38"/>
                </a:lnTo>
                <a:lnTo>
                  <a:pt x="8" y="38"/>
                </a:lnTo>
                <a:lnTo>
                  <a:pt x="8" y="38"/>
                </a:lnTo>
                <a:lnTo>
                  <a:pt x="8" y="39"/>
                </a:lnTo>
                <a:lnTo>
                  <a:pt x="8" y="39"/>
                </a:lnTo>
                <a:lnTo>
                  <a:pt x="8" y="39"/>
                </a:lnTo>
                <a:lnTo>
                  <a:pt x="8" y="39"/>
                </a:lnTo>
                <a:lnTo>
                  <a:pt x="8" y="39"/>
                </a:lnTo>
                <a:lnTo>
                  <a:pt x="8" y="39"/>
                </a:lnTo>
                <a:lnTo>
                  <a:pt x="8" y="40"/>
                </a:lnTo>
                <a:lnTo>
                  <a:pt x="8" y="40"/>
                </a:lnTo>
                <a:lnTo>
                  <a:pt x="8" y="40"/>
                </a:lnTo>
                <a:lnTo>
                  <a:pt x="8" y="40"/>
                </a:lnTo>
                <a:lnTo>
                  <a:pt x="8" y="40"/>
                </a:lnTo>
                <a:lnTo>
                  <a:pt x="8" y="40"/>
                </a:lnTo>
                <a:lnTo>
                  <a:pt x="8" y="41"/>
                </a:lnTo>
                <a:lnTo>
                  <a:pt x="8" y="41"/>
                </a:lnTo>
                <a:lnTo>
                  <a:pt x="8" y="41"/>
                </a:lnTo>
                <a:lnTo>
                  <a:pt x="8" y="41"/>
                </a:lnTo>
                <a:lnTo>
                  <a:pt x="8" y="41"/>
                </a:lnTo>
                <a:lnTo>
                  <a:pt x="8" y="41"/>
                </a:lnTo>
                <a:lnTo>
                  <a:pt x="8" y="43"/>
                </a:lnTo>
                <a:lnTo>
                  <a:pt x="8" y="43"/>
                </a:lnTo>
                <a:lnTo>
                  <a:pt x="8" y="43"/>
                </a:lnTo>
                <a:lnTo>
                  <a:pt x="8" y="43"/>
                </a:lnTo>
                <a:lnTo>
                  <a:pt x="8" y="43"/>
                </a:lnTo>
                <a:lnTo>
                  <a:pt x="8" y="43"/>
                </a:lnTo>
                <a:lnTo>
                  <a:pt x="8" y="44"/>
                </a:lnTo>
                <a:lnTo>
                  <a:pt x="8" y="44"/>
                </a:lnTo>
                <a:lnTo>
                  <a:pt x="8" y="44"/>
                </a:lnTo>
                <a:lnTo>
                  <a:pt x="8" y="44"/>
                </a:lnTo>
                <a:lnTo>
                  <a:pt x="8" y="44"/>
                </a:lnTo>
                <a:lnTo>
                  <a:pt x="8" y="44"/>
                </a:lnTo>
                <a:lnTo>
                  <a:pt x="8" y="45"/>
                </a:lnTo>
                <a:lnTo>
                  <a:pt x="8" y="45"/>
                </a:lnTo>
                <a:lnTo>
                  <a:pt x="9" y="45"/>
                </a:lnTo>
                <a:lnTo>
                  <a:pt x="9" y="45"/>
                </a:lnTo>
                <a:lnTo>
                  <a:pt x="9" y="45"/>
                </a:lnTo>
                <a:lnTo>
                  <a:pt x="9" y="45"/>
                </a:lnTo>
                <a:lnTo>
                  <a:pt x="9" y="45"/>
                </a:lnTo>
                <a:lnTo>
                  <a:pt x="9" y="46"/>
                </a:lnTo>
                <a:lnTo>
                  <a:pt x="9" y="46"/>
                </a:lnTo>
                <a:lnTo>
                  <a:pt x="9" y="46"/>
                </a:lnTo>
                <a:lnTo>
                  <a:pt x="9" y="46"/>
                </a:lnTo>
                <a:lnTo>
                  <a:pt x="9" y="46"/>
                </a:lnTo>
                <a:lnTo>
                  <a:pt x="9" y="46"/>
                </a:lnTo>
                <a:lnTo>
                  <a:pt x="9" y="47"/>
                </a:lnTo>
                <a:lnTo>
                  <a:pt x="9" y="47"/>
                </a:lnTo>
                <a:lnTo>
                  <a:pt x="9" y="47"/>
                </a:lnTo>
                <a:lnTo>
                  <a:pt x="9" y="47"/>
                </a:lnTo>
                <a:lnTo>
                  <a:pt x="9" y="47"/>
                </a:lnTo>
                <a:lnTo>
                  <a:pt x="9" y="47"/>
                </a:lnTo>
                <a:lnTo>
                  <a:pt x="9" y="47"/>
                </a:lnTo>
                <a:lnTo>
                  <a:pt x="9" y="48"/>
                </a:lnTo>
                <a:lnTo>
                  <a:pt x="9" y="48"/>
                </a:lnTo>
                <a:lnTo>
                  <a:pt x="9" y="48"/>
                </a:lnTo>
                <a:lnTo>
                  <a:pt x="10" y="48"/>
                </a:lnTo>
                <a:lnTo>
                  <a:pt x="10" y="48"/>
                </a:lnTo>
                <a:lnTo>
                  <a:pt x="10" y="48"/>
                </a:lnTo>
                <a:lnTo>
                  <a:pt x="10" y="49"/>
                </a:lnTo>
                <a:lnTo>
                  <a:pt x="10" y="49"/>
                </a:lnTo>
                <a:lnTo>
                  <a:pt x="10" y="49"/>
                </a:lnTo>
                <a:lnTo>
                  <a:pt x="10" y="49"/>
                </a:lnTo>
                <a:lnTo>
                  <a:pt x="10" y="49"/>
                </a:lnTo>
                <a:lnTo>
                  <a:pt x="10" y="49"/>
                </a:lnTo>
                <a:lnTo>
                  <a:pt x="10" y="49"/>
                </a:lnTo>
                <a:lnTo>
                  <a:pt x="10" y="50"/>
                </a:lnTo>
                <a:lnTo>
                  <a:pt x="10" y="50"/>
                </a:lnTo>
                <a:lnTo>
                  <a:pt x="10" y="50"/>
                </a:lnTo>
                <a:lnTo>
                  <a:pt x="10" y="50"/>
                </a:lnTo>
                <a:lnTo>
                  <a:pt x="10" y="50"/>
                </a:lnTo>
                <a:lnTo>
                  <a:pt x="11" y="50"/>
                </a:lnTo>
                <a:lnTo>
                  <a:pt x="11" y="50"/>
                </a:lnTo>
                <a:lnTo>
                  <a:pt x="11" y="52"/>
                </a:lnTo>
                <a:lnTo>
                  <a:pt x="11" y="52"/>
                </a:lnTo>
                <a:lnTo>
                  <a:pt x="11" y="52"/>
                </a:lnTo>
                <a:lnTo>
                  <a:pt x="11" y="52"/>
                </a:lnTo>
                <a:lnTo>
                  <a:pt x="11" y="52"/>
                </a:lnTo>
                <a:lnTo>
                  <a:pt x="11" y="52"/>
                </a:lnTo>
                <a:lnTo>
                  <a:pt x="11" y="52"/>
                </a:lnTo>
                <a:lnTo>
                  <a:pt x="11" y="53"/>
                </a:lnTo>
                <a:lnTo>
                  <a:pt x="11" y="53"/>
                </a:lnTo>
                <a:lnTo>
                  <a:pt x="11" y="53"/>
                </a:lnTo>
                <a:lnTo>
                  <a:pt x="11" y="53"/>
                </a:lnTo>
                <a:lnTo>
                  <a:pt x="12" y="53"/>
                </a:lnTo>
                <a:lnTo>
                  <a:pt x="12" y="53"/>
                </a:lnTo>
                <a:lnTo>
                  <a:pt x="12" y="53"/>
                </a:lnTo>
                <a:lnTo>
                  <a:pt x="12" y="53"/>
                </a:lnTo>
                <a:lnTo>
                  <a:pt x="12" y="54"/>
                </a:lnTo>
                <a:lnTo>
                  <a:pt x="12" y="54"/>
                </a:lnTo>
                <a:lnTo>
                  <a:pt x="12" y="54"/>
                </a:lnTo>
                <a:lnTo>
                  <a:pt x="12" y="54"/>
                </a:lnTo>
                <a:lnTo>
                  <a:pt x="12" y="54"/>
                </a:lnTo>
                <a:lnTo>
                  <a:pt x="12" y="54"/>
                </a:lnTo>
                <a:lnTo>
                  <a:pt x="12" y="54"/>
                </a:lnTo>
                <a:lnTo>
                  <a:pt x="14" y="55"/>
                </a:lnTo>
                <a:lnTo>
                  <a:pt x="14" y="55"/>
                </a:lnTo>
                <a:lnTo>
                  <a:pt x="14" y="55"/>
                </a:lnTo>
                <a:lnTo>
                  <a:pt x="14" y="55"/>
                </a:lnTo>
                <a:lnTo>
                  <a:pt x="14" y="55"/>
                </a:lnTo>
                <a:lnTo>
                  <a:pt x="14" y="55"/>
                </a:lnTo>
                <a:lnTo>
                  <a:pt x="14" y="55"/>
                </a:lnTo>
                <a:lnTo>
                  <a:pt x="14" y="55"/>
                </a:lnTo>
                <a:lnTo>
                  <a:pt x="14" y="56"/>
                </a:lnTo>
                <a:lnTo>
                  <a:pt x="14" y="56"/>
                </a:lnTo>
                <a:lnTo>
                  <a:pt x="14" y="56"/>
                </a:lnTo>
                <a:lnTo>
                  <a:pt x="15" y="56"/>
                </a:lnTo>
                <a:lnTo>
                  <a:pt x="15" y="56"/>
                </a:lnTo>
                <a:lnTo>
                  <a:pt x="15" y="56"/>
                </a:lnTo>
                <a:lnTo>
                  <a:pt x="15" y="56"/>
                </a:lnTo>
                <a:lnTo>
                  <a:pt x="15" y="56"/>
                </a:lnTo>
                <a:lnTo>
                  <a:pt x="15" y="57"/>
                </a:lnTo>
                <a:lnTo>
                  <a:pt x="15" y="57"/>
                </a:lnTo>
                <a:lnTo>
                  <a:pt x="15" y="57"/>
                </a:lnTo>
                <a:lnTo>
                  <a:pt x="15" y="57"/>
                </a:lnTo>
                <a:lnTo>
                  <a:pt x="15" y="57"/>
                </a:lnTo>
                <a:lnTo>
                  <a:pt x="16" y="57"/>
                </a:lnTo>
                <a:lnTo>
                  <a:pt x="16" y="57"/>
                </a:lnTo>
                <a:lnTo>
                  <a:pt x="16" y="57"/>
                </a:lnTo>
                <a:lnTo>
                  <a:pt x="16" y="57"/>
                </a:lnTo>
                <a:lnTo>
                  <a:pt x="16" y="58"/>
                </a:lnTo>
                <a:lnTo>
                  <a:pt x="16" y="58"/>
                </a:lnTo>
                <a:lnTo>
                  <a:pt x="16" y="58"/>
                </a:lnTo>
                <a:lnTo>
                  <a:pt x="16" y="58"/>
                </a:lnTo>
                <a:lnTo>
                  <a:pt x="16" y="58"/>
                </a:lnTo>
                <a:lnTo>
                  <a:pt x="17" y="58"/>
                </a:lnTo>
                <a:lnTo>
                  <a:pt x="17" y="58"/>
                </a:lnTo>
                <a:lnTo>
                  <a:pt x="17" y="58"/>
                </a:lnTo>
                <a:lnTo>
                  <a:pt x="17" y="58"/>
                </a:lnTo>
                <a:lnTo>
                  <a:pt x="17" y="59"/>
                </a:lnTo>
                <a:lnTo>
                  <a:pt x="17" y="59"/>
                </a:lnTo>
                <a:lnTo>
                  <a:pt x="17" y="59"/>
                </a:lnTo>
                <a:lnTo>
                  <a:pt x="17" y="59"/>
                </a:lnTo>
                <a:lnTo>
                  <a:pt x="18" y="59"/>
                </a:lnTo>
                <a:lnTo>
                  <a:pt x="18" y="59"/>
                </a:lnTo>
                <a:lnTo>
                  <a:pt x="18" y="59"/>
                </a:lnTo>
                <a:lnTo>
                  <a:pt x="18" y="59"/>
                </a:lnTo>
                <a:lnTo>
                  <a:pt x="18" y="59"/>
                </a:lnTo>
                <a:lnTo>
                  <a:pt x="18" y="61"/>
                </a:lnTo>
                <a:lnTo>
                  <a:pt x="18" y="61"/>
                </a:lnTo>
                <a:lnTo>
                  <a:pt x="18" y="61"/>
                </a:lnTo>
                <a:lnTo>
                  <a:pt x="18" y="61"/>
                </a:lnTo>
                <a:lnTo>
                  <a:pt x="19" y="61"/>
                </a:lnTo>
                <a:lnTo>
                  <a:pt x="19" y="61"/>
                </a:lnTo>
                <a:lnTo>
                  <a:pt x="19" y="61"/>
                </a:lnTo>
                <a:lnTo>
                  <a:pt x="19" y="61"/>
                </a:lnTo>
                <a:lnTo>
                  <a:pt x="19" y="61"/>
                </a:lnTo>
                <a:lnTo>
                  <a:pt x="19" y="61"/>
                </a:lnTo>
                <a:lnTo>
                  <a:pt x="19" y="62"/>
                </a:lnTo>
                <a:lnTo>
                  <a:pt x="19" y="62"/>
                </a:lnTo>
                <a:lnTo>
                  <a:pt x="20" y="62"/>
                </a:lnTo>
                <a:lnTo>
                  <a:pt x="20" y="62"/>
                </a:lnTo>
                <a:lnTo>
                  <a:pt x="20" y="62"/>
                </a:lnTo>
                <a:lnTo>
                  <a:pt x="20" y="62"/>
                </a:lnTo>
                <a:lnTo>
                  <a:pt x="20" y="62"/>
                </a:lnTo>
                <a:lnTo>
                  <a:pt x="20" y="62"/>
                </a:lnTo>
                <a:lnTo>
                  <a:pt x="20" y="62"/>
                </a:lnTo>
                <a:lnTo>
                  <a:pt x="20" y="62"/>
                </a:lnTo>
                <a:lnTo>
                  <a:pt x="21" y="62"/>
                </a:lnTo>
                <a:lnTo>
                  <a:pt x="21" y="63"/>
                </a:lnTo>
                <a:lnTo>
                  <a:pt x="21" y="63"/>
                </a:lnTo>
                <a:lnTo>
                  <a:pt x="21" y="63"/>
                </a:lnTo>
                <a:lnTo>
                  <a:pt x="21" y="63"/>
                </a:lnTo>
                <a:lnTo>
                  <a:pt x="21" y="63"/>
                </a:lnTo>
                <a:lnTo>
                  <a:pt x="21" y="63"/>
                </a:lnTo>
                <a:lnTo>
                  <a:pt x="23" y="63"/>
                </a:lnTo>
                <a:lnTo>
                  <a:pt x="23" y="63"/>
                </a:lnTo>
                <a:lnTo>
                  <a:pt x="23" y="63"/>
                </a:lnTo>
                <a:lnTo>
                  <a:pt x="23" y="63"/>
                </a:lnTo>
                <a:lnTo>
                  <a:pt x="23" y="63"/>
                </a:lnTo>
                <a:lnTo>
                  <a:pt x="23" y="63"/>
                </a:lnTo>
                <a:lnTo>
                  <a:pt x="23" y="64"/>
                </a:lnTo>
                <a:lnTo>
                  <a:pt x="24" y="64"/>
                </a:lnTo>
                <a:lnTo>
                  <a:pt x="24" y="64"/>
                </a:lnTo>
                <a:lnTo>
                  <a:pt x="24" y="64"/>
                </a:lnTo>
                <a:lnTo>
                  <a:pt x="24" y="64"/>
                </a:lnTo>
                <a:lnTo>
                  <a:pt x="24" y="64"/>
                </a:lnTo>
                <a:lnTo>
                  <a:pt x="24" y="64"/>
                </a:lnTo>
                <a:lnTo>
                  <a:pt x="24" y="64"/>
                </a:lnTo>
                <a:lnTo>
                  <a:pt x="25" y="64"/>
                </a:lnTo>
                <a:lnTo>
                  <a:pt x="25" y="64"/>
                </a:lnTo>
                <a:lnTo>
                  <a:pt x="25" y="64"/>
                </a:lnTo>
                <a:lnTo>
                  <a:pt x="25" y="64"/>
                </a:lnTo>
                <a:lnTo>
                  <a:pt x="25" y="64"/>
                </a:lnTo>
                <a:lnTo>
                  <a:pt x="25" y="64"/>
                </a:lnTo>
                <a:lnTo>
                  <a:pt x="25" y="65"/>
                </a:lnTo>
                <a:lnTo>
                  <a:pt x="26" y="65"/>
                </a:lnTo>
                <a:lnTo>
                  <a:pt x="26" y="65"/>
                </a:lnTo>
                <a:lnTo>
                  <a:pt x="26" y="65"/>
                </a:lnTo>
                <a:lnTo>
                  <a:pt x="26" y="65"/>
                </a:lnTo>
                <a:lnTo>
                  <a:pt x="26" y="65"/>
                </a:lnTo>
                <a:lnTo>
                  <a:pt x="26" y="65"/>
                </a:lnTo>
                <a:lnTo>
                  <a:pt x="26" y="65"/>
                </a:lnTo>
                <a:lnTo>
                  <a:pt x="27" y="65"/>
                </a:lnTo>
                <a:lnTo>
                  <a:pt x="27" y="65"/>
                </a:lnTo>
                <a:lnTo>
                  <a:pt x="27" y="65"/>
                </a:lnTo>
                <a:lnTo>
                  <a:pt x="27" y="65"/>
                </a:lnTo>
                <a:lnTo>
                  <a:pt x="27" y="65"/>
                </a:lnTo>
                <a:lnTo>
                  <a:pt x="27" y="65"/>
                </a:lnTo>
                <a:lnTo>
                  <a:pt x="28" y="65"/>
                </a:lnTo>
                <a:lnTo>
                  <a:pt x="28" y="65"/>
                </a:lnTo>
                <a:lnTo>
                  <a:pt x="28" y="65"/>
                </a:lnTo>
                <a:lnTo>
                  <a:pt x="28" y="65"/>
                </a:lnTo>
                <a:lnTo>
                  <a:pt x="28" y="66"/>
                </a:lnTo>
                <a:lnTo>
                  <a:pt x="28" y="66"/>
                </a:lnTo>
                <a:lnTo>
                  <a:pt x="28" y="66"/>
                </a:lnTo>
                <a:lnTo>
                  <a:pt x="29" y="66"/>
                </a:lnTo>
                <a:lnTo>
                  <a:pt x="29" y="66"/>
                </a:lnTo>
                <a:lnTo>
                  <a:pt x="29" y="66"/>
                </a:lnTo>
                <a:lnTo>
                  <a:pt x="29" y="66"/>
                </a:lnTo>
                <a:lnTo>
                  <a:pt x="29" y="66"/>
                </a:lnTo>
                <a:lnTo>
                  <a:pt x="29" y="66"/>
                </a:lnTo>
                <a:lnTo>
                  <a:pt x="30" y="66"/>
                </a:lnTo>
                <a:lnTo>
                  <a:pt x="30" y="66"/>
                </a:lnTo>
                <a:lnTo>
                  <a:pt x="30" y="66"/>
                </a:lnTo>
                <a:lnTo>
                  <a:pt x="30" y="66"/>
                </a:lnTo>
                <a:lnTo>
                  <a:pt x="30" y="66"/>
                </a:lnTo>
                <a:lnTo>
                  <a:pt x="30" y="66"/>
                </a:lnTo>
                <a:lnTo>
                  <a:pt x="30" y="66"/>
                </a:lnTo>
                <a:lnTo>
                  <a:pt x="32" y="66"/>
                </a:lnTo>
                <a:lnTo>
                  <a:pt x="32" y="66"/>
                </a:lnTo>
                <a:lnTo>
                  <a:pt x="32" y="66"/>
                </a:lnTo>
                <a:lnTo>
                  <a:pt x="32" y="66"/>
                </a:lnTo>
                <a:lnTo>
                  <a:pt x="32" y="66"/>
                </a:lnTo>
                <a:lnTo>
                  <a:pt x="32" y="66"/>
                </a:lnTo>
                <a:lnTo>
                  <a:pt x="33" y="66"/>
                </a:lnTo>
                <a:lnTo>
                  <a:pt x="33" y="66"/>
                </a:lnTo>
                <a:lnTo>
                  <a:pt x="33" y="66"/>
                </a:lnTo>
                <a:lnTo>
                  <a:pt x="33" y="66"/>
                </a:lnTo>
                <a:lnTo>
                  <a:pt x="33" y="67"/>
                </a:lnTo>
                <a:lnTo>
                  <a:pt x="33" y="67"/>
                </a:lnTo>
                <a:lnTo>
                  <a:pt x="34" y="67"/>
                </a:lnTo>
                <a:lnTo>
                  <a:pt x="34" y="67"/>
                </a:lnTo>
                <a:lnTo>
                  <a:pt x="34" y="67"/>
                </a:lnTo>
                <a:lnTo>
                  <a:pt x="34" y="67"/>
                </a:lnTo>
                <a:lnTo>
                  <a:pt x="34" y="67"/>
                </a:lnTo>
                <a:lnTo>
                  <a:pt x="34" y="67"/>
                </a:lnTo>
                <a:lnTo>
                  <a:pt x="35" y="67"/>
                </a:lnTo>
                <a:lnTo>
                  <a:pt x="35" y="67"/>
                </a:lnTo>
                <a:lnTo>
                  <a:pt x="35" y="67"/>
                </a:lnTo>
                <a:lnTo>
                  <a:pt x="35" y="67"/>
                </a:lnTo>
                <a:lnTo>
                  <a:pt x="35" y="67"/>
                </a:lnTo>
                <a:lnTo>
                  <a:pt x="35" y="67"/>
                </a:lnTo>
                <a:lnTo>
                  <a:pt x="36" y="67"/>
                </a:lnTo>
                <a:lnTo>
                  <a:pt x="36" y="67"/>
                </a:lnTo>
                <a:lnTo>
                  <a:pt x="36" y="67"/>
                </a:lnTo>
                <a:lnTo>
                  <a:pt x="36" y="67"/>
                </a:lnTo>
                <a:lnTo>
                  <a:pt x="36" y="67"/>
                </a:lnTo>
                <a:lnTo>
                  <a:pt x="36" y="67"/>
                </a:lnTo>
                <a:lnTo>
                  <a:pt x="37" y="67"/>
                </a:lnTo>
                <a:lnTo>
                  <a:pt x="37" y="67"/>
                </a:lnTo>
                <a:lnTo>
                  <a:pt x="37" y="67"/>
                </a:lnTo>
                <a:lnTo>
                  <a:pt x="37" y="67"/>
                </a:lnTo>
                <a:lnTo>
                  <a:pt x="37" y="67"/>
                </a:lnTo>
                <a:lnTo>
                  <a:pt x="37" y="67"/>
                </a:lnTo>
                <a:lnTo>
                  <a:pt x="38" y="67"/>
                </a:lnTo>
                <a:lnTo>
                  <a:pt x="38" y="67"/>
                </a:lnTo>
                <a:lnTo>
                  <a:pt x="38" y="67"/>
                </a:lnTo>
                <a:lnTo>
                  <a:pt x="38" y="67"/>
                </a:lnTo>
                <a:lnTo>
                  <a:pt x="38" y="67"/>
                </a:lnTo>
                <a:lnTo>
                  <a:pt x="38" y="67"/>
                </a:lnTo>
                <a:lnTo>
                  <a:pt x="39" y="67"/>
                </a:lnTo>
                <a:lnTo>
                  <a:pt x="39" y="67"/>
                </a:lnTo>
                <a:lnTo>
                  <a:pt x="39" y="67"/>
                </a:lnTo>
                <a:lnTo>
                  <a:pt x="39" y="67"/>
                </a:lnTo>
                <a:lnTo>
                  <a:pt x="39" y="67"/>
                </a:lnTo>
                <a:lnTo>
                  <a:pt x="39" y="67"/>
                </a:lnTo>
                <a:lnTo>
                  <a:pt x="41" y="67"/>
                </a:lnTo>
                <a:lnTo>
                  <a:pt x="41" y="67"/>
                </a:lnTo>
                <a:lnTo>
                  <a:pt x="41" y="67"/>
                </a:lnTo>
                <a:lnTo>
                  <a:pt x="41" y="67"/>
                </a:lnTo>
                <a:lnTo>
                  <a:pt x="41" y="67"/>
                </a:lnTo>
                <a:lnTo>
                  <a:pt x="41" y="67"/>
                </a:lnTo>
                <a:lnTo>
                  <a:pt x="42" y="67"/>
                </a:lnTo>
                <a:lnTo>
                  <a:pt x="42" y="67"/>
                </a:lnTo>
                <a:lnTo>
                  <a:pt x="42" y="67"/>
                </a:lnTo>
                <a:lnTo>
                  <a:pt x="42" y="66"/>
                </a:lnTo>
                <a:lnTo>
                  <a:pt x="42" y="66"/>
                </a:lnTo>
                <a:lnTo>
                  <a:pt x="42" y="66"/>
                </a:lnTo>
                <a:lnTo>
                  <a:pt x="43" y="66"/>
                </a:lnTo>
                <a:lnTo>
                  <a:pt x="43" y="66"/>
                </a:lnTo>
                <a:lnTo>
                  <a:pt x="43" y="66"/>
                </a:lnTo>
                <a:lnTo>
                  <a:pt x="43" y="66"/>
                </a:lnTo>
                <a:lnTo>
                  <a:pt x="43" y="66"/>
                </a:lnTo>
                <a:lnTo>
                  <a:pt x="43" y="66"/>
                </a:lnTo>
                <a:lnTo>
                  <a:pt x="44" y="66"/>
                </a:lnTo>
                <a:lnTo>
                  <a:pt x="44" y="66"/>
                </a:lnTo>
                <a:lnTo>
                  <a:pt x="44" y="66"/>
                </a:lnTo>
                <a:lnTo>
                  <a:pt x="44" y="66"/>
                </a:lnTo>
                <a:lnTo>
                  <a:pt x="44" y="66"/>
                </a:lnTo>
                <a:lnTo>
                  <a:pt x="44" y="66"/>
                </a:lnTo>
                <a:lnTo>
                  <a:pt x="45" y="66"/>
                </a:lnTo>
                <a:lnTo>
                  <a:pt x="45" y="66"/>
                </a:lnTo>
                <a:lnTo>
                  <a:pt x="45" y="66"/>
                </a:lnTo>
                <a:lnTo>
                  <a:pt x="45" y="66"/>
                </a:lnTo>
                <a:lnTo>
                  <a:pt x="45" y="66"/>
                </a:lnTo>
                <a:lnTo>
                  <a:pt x="45" y="66"/>
                </a:lnTo>
                <a:lnTo>
                  <a:pt x="45" y="66"/>
                </a:lnTo>
                <a:lnTo>
                  <a:pt x="46" y="66"/>
                </a:lnTo>
                <a:lnTo>
                  <a:pt x="46" y="66"/>
                </a:lnTo>
                <a:lnTo>
                  <a:pt x="46" y="66"/>
                </a:lnTo>
                <a:lnTo>
                  <a:pt x="46" y="66"/>
                </a:lnTo>
                <a:lnTo>
                  <a:pt x="46" y="66"/>
                </a:lnTo>
                <a:lnTo>
                  <a:pt x="46" y="65"/>
                </a:lnTo>
                <a:lnTo>
                  <a:pt x="47" y="65"/>
                </a:lnTo>
                <a:lnTo>
                  <a:pt x="47" y="65"/>
                </a:lnTo>
                <a:lnTo>
                  <a:pt x="47" y="65"/>
                </a:lnTo>
                <a:lnTo>
                  <a:pt x="47" y="65"/>
                </a:lnTo>
                <a:lnTo>
                  <a:pt x="47" y="65"/>
                </a:lnTo>
                <a:lnTo>
                  <a:pt x="47" y="65"/>
                </a:lnTo>
                <a:lnTo>
                  <a:pt x="47" y="65"/>
                </a:lnTo>
                <a:lnTo>
                  <a:pt x="48" y="65"/>
                </a:lnTo>
                <a:lnTo>
                  <a:pt x="48" y="65"/>
                </a:lnTo>
                <a:lnTo>
                  <a:pt x="48" y="65"/>
                </a:lnTo>
                <a:lnTo>
                  <a:pt x="48" y="65"/>
                </a:lnTo>
                <a:lnTo>
                  <a:pt x="48" y="65"/>
                </a:lnTo>
                <a:lnTo>
                  <a:pt x="48" y="65"/>
                </a:lnTo>
                <a:lnTo>
                  <a:pt x="48" y="65"/>
                </a:lnTo>
                <a:lnTo>
                  <a:pt x="50" y="65"/>
                </a:lnTo>
                <a:lnTo>
                  <a:pt x="50" y="65"/>
                </a:lnTo>
                <a:lnTo>
                  <a:pt x="50" y="64"/>
                </a:lnTo>
                <a:lnTo>
                  <a:pt x="50" y="64"/>
                </a:lnTo>
                <a:lnTo>
                  <a:pt x="50" y="64"/>
                </a:lnTo>
                <a:lnTo>
                  <a:pt x="50" y="64"/>
                </a:lnTo>
                <a:lnTo>
                  <a:pt x="51" y="64"/>
                </a:lnTo>
                <a:lnTo>
                  <a:pt x="51" y="64"/>
                </a:lnTo>
                <a:lnTo>
                  <a:pt x="51" y="64"/>
                </a:lnTo>
                <a:lnTo>
                  <a:pt x="51" y="64"/>
                </a:lnTo>
                <a:lnTo>
                  <a:pt x="51" y="64"/>
                </a:lnTo>
                <a:lnTo>
                  <a:pt x="51" y="64"/>
                </a:lnTo>
                <a:lnTo>
                  <a:pt x="51" y="64"/>
                </a:lnTo>
                <a:lnTo>
                  <a:pt x="52" y="64"/>
                </a:lnTo>
                <a:lnTo>
                  <a:pt x="52" y="64"/>
                </a:lnTo>
                <a:lnTo>
                  <a:pt x="52" y="64"/>
                </a:lnTo>
                <a:lnTo>
                  <a:pt x="52" y="63"/>
                </a:lnTo>
                <a:lnTo>
                  <a:pt x="52" y="63"/>
                </a:lnTo>
                <a:lnTo>
                  <a:pt x="52" y="63"/>
                </a:lnTo>
                <a:lnTo>
                  <a:pt x="52" y="63"/>
                </a:lnTo>
                <a:lnTo>
                  <a:pt x="52" y="63"/>
                </a:lnTo>
                <a:lnTo>
                  <a:pt x="53" y="63"/>
                </a:lnTo>
                <a:lnTo>
                  <a:pt x="53" y="63"/>
                </a:lnTo>
                <a:lnTo>
                  <a:pt x="53" y="63"/>
                </a:lnTo>
                <a:lnTo>
                  <a:pt x="53" y="63"/>
                </a:lnTo>
                <a:lnTo>
                  <a:pt x="53" y="63"/>
                </a:lnTo>
                <a:lnTo>
                  <a:pt x="53" y="63"/>
                </a:lnTo>
                <a:lnTo>
                  <a:pt x="53" y="63"/>
                </a:lnTo>
                <a:lnTo>
                  <a:pt x="54" y="62"/>
                </a:lnTo>
                <a:lnTo>
                  <a:pt x="54" y="62"/>
                </a:lnTo>
                <a:lnTo>
                  <a:pt x="54" y="62"/>
                </a:lnTo>
                <a:lnTo>
                  <a:pt x="54" y="62"/>
                </a:lnTo>
                <a:lnTo>
                  <a:pt x="54" y="62"/>
                </a:lnTo>
                <a:lnTo>
                  <a:pt x="54" y="62"/>
                </a:lnTo>
                <a:lnTo>
                  <a:pt x="54" y="62"/>
                </a:lnTo>
                <a:lnTo>
                  <a:pt x="54" y="62"/>
                </a:lnTo>
                <a:lnTo>
                  <a:pt x="55" y="62"/>
                </a:lnTo>
                <a:lnTo>
                  <a:pt x="55" y="62"/>
                </a:lnTo>
                <a:lnTo>
                  <a:pt x="55" y="62"/>
                </a:lnTo>
                <a:lnTo>
                  <a:pt x="55" y="61"/>
                </a:lnTo>
                <a:lnTo>
                  <a:pt x="55" y="61"/>
                </a:lnTo>
                <a:lnTo>
                  <a:pt x="55" y="61"/>
                </a:lnTo>
                <a:lnTo>
                  <a:pt x="55" y="61"/>
                </a:lnTo>
                <a:lnTo>
                  <a:pt x="55" y="61"/>
                </a:lnTo>
                <a:lnTo>
                  <a:pt x="56" y="61"/>
                </a:lnTo>
                <a:lnTo>
                  <a:pt x="56" y="61"/>
                </a:lnTo>
                <a:lnTo>
                  <a:pt x="56" y="61"/>
                </a:lnTo>
                <a:lnTo>
                  <a:pt x="56" y="61"/>
                </a:lnTo>
                <a:lnTo>
                  <a:pt x="56" y="61"/>
                </a:lnTo>
                <a:lnTo>
                  <a:pt x="56" y="59"/>
                </a:lnTo>
                <a:lnTo>
                  <a:pt x="56" y="59"/>
                </a:lnTo>
                <a:lnTo>
                  <a:pt x="56" y="59"/>
                </a:lnTo>
                <a:lnTo>
                  <a:pt x="57" y="59"/>
                </a:lnTo>
                <a:lnTo>
                  <a:pt x="57" y="59"/>
                </a:lnTo>
                <a:lnTo>
                  <a:pt x="57" y="59"/>
                </a:lnTo>
                <a:lnTo>
                  <a:pt x="57" y="59"/>
                </a:lnTo>
                <a:lnTo>
                  <a:pt x="57" y="59"/>
                </a:lnTo>
                <a:lnTo>
                  <a:pt x="57" y="59"/>
                </a:lnTo>
                <a:lnTo>
                  <a:pt x="57" y="58"/>
                </a:lnTo>
                <a:lnTo>
                  <a:pt x="57" y="58"/>
                </a:lnTo>
                <a:lnTo>
                  <a:pt x="59" y="58"/>
                </a:lnTo>
                <a:lnTo>
                  <a:pt x="59" y="58"/>
                </a:lnTo>
                <a:lnTo>
                  <a:pt x="59" y="58"/>
                </a:lnTo>
                <a:lnTo>
                  <a:pt x="59" y="58"/>
                </a:lnTo>
                <a:lnTo>
                  <a:pt x="59" y="58"/>
                </a:lnTo>
                <a:lnTo>
                  <a:pt x="59" y="58"/>
                </a:lnTo>
                <a:lnTo>
                  <a:pt x="59" y="58"/>
                </a:lnTo>
                <a:lnTo>
                  <a:pt x="59" y="57"/>
                </a:lnTo>
                <a:lnTo>
                  <a:pt x="59" y="57"/>
                </a:lnTo>
                <a:lnTo>
                  <a:pt x="59" y="57"/>
                </a:lnTo>
                <a:lnTo>
                  <a:pt x="60" y="57"/>
                </a:lnTo>
                <a:lnTo>
                  <a:pt x="60" y="57"/>
                </a:lnTo>
                <a:lnTo>
                  <a:pt x="60" y="57"/>
                </a:lnTo>
                <a:lnTo>
                  <a:pt x="60" y="57"/>
                </a:lnTo>
                <a:lnTo>
                  <a:pt x="60" y="57"/>
                </a:lnTo>
                <a:lnTo>
                  <a:pt x="60" y="57"/>
                </a:lnTo>
                <a:lnTo>
                  <a:pt x="60" y="56"/>
                </a:lnTo>
                <a:lnTo>
                  <a:pt x="60" y="56"/>
                </a:lnTo>
                <a:lnTo>
                  <a:pt x="60" y="56"/>
                </a:lnTo>
                <a:lnTo>
                  <a:pt x="61" y="56"/>
                </a:lnTo>
                <a:lnTo>
                  <a:pt x="61" y="56"/>
                </a:lnTo>
                <a:lnTo>
                  <a:pt x="61" y="56"/>
                </a:lnTo>
                <a:lnTo>
                  <a:pt x="61" y="56"/>
                </a:lnTo>
                <a:lnTo>
                  <a:pt x="61" y="56"/>
                </a:lnTo>
                <a:lnTo>
                  <a:pt x="61" y="55"/>
                </a:lnTo>
                <a:lnTo>
                  <a:pt x="61" y="55"/>
                </a:lnTo>
                <a:lnTo>
                  <a:pt x="61" y="55"/>
                </a:lnTo>
                <a:lnTo>
                  <a:pt x="61" y="55"/>
                </a:lnTo>
                <a:lnTo>
                  <a:pt x="61" y="55"/>
                </a:lnTo>
                <a:lnTo>
                  <a:pt x="62" y="55"/>
                </a:lnTo>
                <a:lnTo>
                  <a:pt x="62" y="55"/>
                </a:lnTo>
                <a:lnTo>
                  <a:pt x="62" y="55"/>
                </a:lnTo>
                <a:lnTo>
                  <a:pt x="62" y="54"/>
                </a:lnTo>
                <a:lnTo>
                  <a:pt x="62" y="54"/>
                </a:lnTo>
                <a:lnTo>
                  <a:pt x="62" y="54"/>
                </a:lnTo>
                <a:lnTo>
                  <a:pt x="62" y="54"/>
                </a:lnTo>
                <a:lnTo>
                  <a:pt x="62" y="54"/>
                </a:lnTo>
                <a:lnTo>
                  <a:pt x="62" y="54"/>
                </a:lnTo>
                <a:lnTo>
                  <a:pt x="62" y="54"/>
                </a:lnTo>
                <a:lnTo>
                  <a:pt x="62" y="53"/>
                </a:lnTo>
                <a:lnTo>
                  <a:pt x="62" y="53"/>
                </a:lnTo>
                <a:lnTo>
                  <a:pt x="63" y="53"/>
                </a:lnTo>
                <a:lnTo>
                  <a:pt x="63" y="53"/>
                </a:lnTo>
                <a:lnTo>
                  <a:pt x="63" y="53"/>
                </a:lnTo>
                <a:lnTo>
                  <a:pt x="63" y="53"/>
                </a:lnTo>
                <a:lnTo>
                  <a:pt x="63" y="53"/>
                </a:lnTo>
                <a:lnTo>
                  <a:pt x="63" y="53"/>
                </a:lnTo>
                <a:lnTo>
                  <a:pt x="63" y="52"/>
                </a:lnTo>
                <a:lnTo>
                  <a:pt x="63" y="52"/>
                </a:lnTo>
                <a:lnTo>
                  <a:pt x="63" y="52"/>
                </a:lnTo>
                <a:lnTo>
                  <a:pt x="63" y="52"/>
                </a:lnTo>
                <a:lnTo>
                  <a:pt x="63" y="52"/>
                </a:lnTo>
                <a:lnTo>
                  <a:pt x="63" y="52"/>
                </a:lnTo>
                <a:lnTo>
                  <a:pt x="64" y="52"/>
                </a:lnTo>
                <a:lnTo>
                  <a:pt x="64" y="50"/>
                </a:lnTo>
                <a:lnTo>
                  <a:pt x="64" y="50"/>
                </a:lnTo>
                <a:lnTo>
                  <a:pt x="64" y="50"/>
                </a:lnTo>
                <a:lnTo>
                  <a:pt x="64" y="50"/>
                </a:lnTo>
                <a:lnTo>
                  <a:pt x="64" y="50"/>
                </a:lnTo>
                <a:lnTo>
                  <a:pt x="64" y="50"/>
                </a:lnTo>
                <a:lnTo>
                  <a:pt x="64" y="50"/>
                </a:lnTo>
                <a:lnTo>
                  <a:pt x="64" y="49"/>
                </a:lnTo>
                <a:lnTo>
                  <a:pt x="64" y="49"/>
                </a:lnTo>
                <a:lnTo>
                  <a:pt x="64" y="49"/>
                </a:lnTo>
                <a:lnTo>
                  <a:pt x="64" y="49"/>
                </a:lnTo>
                <a:lnTo>
                  <a:pt x="64" y="49"/>
                </a:lnTo>
                <a:lnTo>
                  <a:pt x="64" y="49"/>
                </a:lnTo>
                <a:lnTo>
                  <a:pt x="64" y="49"/>
                </a:lnTo>
                <a:lnTo>
                  <a:pt x="65" y="48"/>
                </a:lnTo>
                <a:lnTo>
                  <a:pt x="65" y="48"/>
                </a:lnTo>
                <a:lnTo>
                  <a:pt x="65" y="48"/>
                </a:lnTo>
                <a:lnTo>
                  <a:pt x="65" y="48"/>
                </a:lnTo>
                <a:lnTo>
                  <a:pt x="65" y="48"/>
                </a:lnTo>
                <a:lnTo>
                  <a:pt x="65" y="48"/>
                </a:lnTo>
                <a:lnTo>
                  <a:pt x="65" y="47"/>
                </a:lnTo>
                <a:lnTo>
                  <a:pt x="65" y="47"/>
                </a:lnTo>
                <a:lnTo>
                  <a:pt x="65" y="47"/>
                </a:lnTo>
                <a:lnTo>
                  <a:pt x="65" y="47"/>
                </a:lnTo>
                <a:lnTo>
                  <a:pt x="65" y="47"/>
                </a:lnTo>
                <a:lnTo>
                  <a:pt x="65" y="47"/>
                </a:lnTo>
                <a:lnTo>
                  <a:pt x="65" y="47"/>
                </a:lnTo>
                <a:lnTo>
                  <a:pt x="65" y="46"/>
                </a:lnTo>
                <a:lnTo>
                  <a:pt x="65" y="46"/>
                </a:lnTo>
                <a:lnTo>
                  <a:pt x="65" y="46"/>
                </a:lnTo>
                <a:lnTo>
                  <a:pt x="65" y="46"/>
                </a:lnTo>
                <a:lnTo>
                  <a:pt x="65" y="46"/>
                </a:lnTo>
                <a:lnTo>
                  <a:pt x="65" y="46"/>
                </a:lnTo>
                <a:lnTo>
                  <a:pt x="66" y="45"/>
                </a:lnTo>
                <a:lnTo>
                  <a:pt x="66" y="45"/>
                </a:lnTo>
                <a:lnTo>
                  <a:pt x="66" y="45"/>
                </a:lnTo>
                <a:lnTo>
                  <a:pt x="66" y="45"/>
                </a:lnTo>
                <a:lnTo>
                  <a:pt x="66" y="45"/>
                </a:lnTo>
                <a:lnTo>
                  <a:pt x="66" y="45"/>
                </a:lnTo>
                <a:lnTo>
                  <a:pt x="66" y="45"/>
                </a:lnTo>
                <a:lnTo>
                  <a:pt x="66" y="44"/>
                </a:lnTo>
                <a:lnTo>
                  <a:pt x="66" y="44"/>
                </a:lnTo>
                <a:lnTo>
                  <a:pt x="66" y="44"/>
                </a:lnTo>
                <a:lnTo>
                  <a:pt x="66" y="44"/>
                </a:lnTo>
                <a:lnTo>
                  <a:pt x="66" y="44"/>
                </a:lnTo>
                <a:lnTo>
                  <a:pt x="66" y="44"/>
                </a:lnTo>
                <a:lnTo>
                  <a:pt x="66" y="43"/>
                </a:lnTo>
                <a:lnTo>
                  <a:pt x="66" y="43"/>
                </a:lnTo>
                <a:lnTo>
                  <a:pt x="66" y="43"/>
                </a:lnTo>
                <a:lnTo>
                  <a:pt x="66" y="43"/>
                </a:lnTo>
                <a:lnTo>
                  <a:pt x="66" y="43"/>
                </a:lnTo>
                <a:lnTo>
                  <a:pt x="66" y="43"/>
                </a:lnTo>
                <a:lnTo>
                  <a:pt x="66" y="41"/>
                </a:lnTo>
                <a:lnTo>
                  <a:pt x="66" y="41"/>
                </a:lnTo>
                <a:lnTo>
                  <a:pt x="66" y="41"/>
                </a:lnTo>
                <a:lnTo>
                  <a:pt x="66" y="41"/>
                </a:lnTo>
                <a:lnTo>
                  <a:pt x="66" y="41"/>
                </a:lnTo>
                <a:lnTo>
                  <a:pt x="66" y="41"/>
                </a:lnTo>
                <a:lnTo>
                  <a:pt x="66" y="40"/>
                </a:lnTo>
                <a:lnTo>
                  <a:pt x="66" y="40"/>
                </a:lnTo>
                <a:lnTo>
                  <a:pt x="66" y="40"/>
                </a:lnTo>
                <a:lnTo>
                  <a:pt x="66" y="40"/>
                </a:lnTo>
                <a:lnTo>
                  <a:pt x="66" y="40"/>
                </a:lnTo>
                <a:lnTo>
                  <a:pt x="66" y="40"/>
                </a:lnTo>
                <a:lnTo>
                  <a:pt x="66" y="39"/>
                </a:lnTo>
                <a:lnTo>
                  <a:pt x="66" y="39"/>
                </a:lnTo>
                <a:lnTo>
                  <a:pt x="66" y="39"/>
                </a:lnTo>
                <a:lnTo>
                  <a:pt x="66" y="39"/>
                </a:lnTo>
                <a:lnTo>
                  <a:pt x="66" y="39"/>
                </a:lnTo>
                <a:lnTo>
                  <a:pt x="66" y="39"/>
                </a:lnTo>
                <a:lnTo>
                  <a:pt x="66" y="38"/>
                </a:lnTo>
                <a:lnTo>
                  <a:pt x="66" y="38"/>
                </a:lnTo>
                <a:lnTo>
                  <a:pt x="66" y="38"/>
                </a:lnTo>
                <a:lnTo>
                  <a:pt x="66" y="38"/>
                </a:lnTo>
                <a:lnTo>
                  <a:pt x="66" y="38"/>
                </a:lnTo>
                <a:lnTo>
                  <a:pt x="66" y="38"/>
                </a:lnTo>
                <a:lnTo>
                  <a:pt x="66" y="37"/>
                </a:lnTo>
                <a:lnTo>
                  <a:pt x="66" y="37"/>
                </a:lnTo>
                <a:lnTo>
                  <a:pt x="66" y="37"/>
                </a:lnTo>
                <a:lnTo>
                  <a:pt x="66" y="37"/>
                </a:lnTo>
                <a:lnTo>
                  <a:pt x="66" y="37"/>
                </a:lnTo>
                <a:lnTo>
                  <a:pt x="66" y="37"/>
                </a:lnTo>
                <a:lnTo>
                  <a:pt x="66" y="36"/>
                </a:lnTo>
                <a:lnTo>
                  <a:pt x="66" y="36"/>
                </a:lnTo>
                <a:lnTo>
                  <a:pt x="66" y="36"/>
                </a:lnTo>
                <a:lnTo>
                  <a:pt x="66" y="36"/>
                </a:lnTo>
                <a:lnTo>
                  <a:pt x="66" y="36"/>
                </a:lnTo>
                <a:lnTo>
                  <a:pt x="66" y="36"/>
                </a:lnTo>
                <a:lnTo>
                  <a:pt x="66" y="35"/>
                </a:lnTo>
                <a:lnTo>
                  <a:pt x="66" y="35"/>
                </a:lnTo>
                <a:lnTo>
                  <a:pt x="66" y="35"/>
                </a:lnTo>
                <a:lnTo>
                  <a:pt x="66" y="35"/>
                </a:lnTo>
                <a:lnTo>
                  <a:pt x="66" y="35"/>
                </a:lnTo>
                <a:lnTo>
                  <a:pt x="66" y="35"/>
                </a:lnTo>
                <a:lnTo>
                  <a:pt x="66" y="34"/>
                </a:lnTo>
                <a:lnTo>
                  <a:pt x="66" y="34"/>
                </a:lnTo>
                <a:lnTo>
                  <a:pt x="66" y="34"/>
                </a:lnTo>
                <a:lnTo>
                  <a:pt x="66" y="34"/>
                </a:lnTo>
                <a:lnTo>
                  <a:pt x="66" y="34"/>
                </a:lnTo>
                <a:lnTo>
                  <a:pt x="66" y="34"/>
                </a:lnTo>
                <a:lnTo>
                  <a:pt x="66" y="32"/>
                </a:lnTo>
                <a:lnTo>
                  <a:pt x="66" y="32"/>
                </a:lnTo>
                <a:lnTo>
                  <a:pt x="66" y="32"/>
                </a:lnTo>
                <a:lnTo>
                  <a:pt x="66" y="32"/>
                </a:lnTo>
                <a:lnTo>
                  <a:pt x="66" y="32"/>
                </a:lnTo>
                <a:lnTo>
                  <a:pt x="66" y="32"/>
                </a:lnTo>
                <a:lnTo>
                  <a:pt x="66" y="31"/>
                </a:lnTo>
                <a:lnTo>
                  <a:pt x="66" y="31"/>
                </a:lnTo>
                <a:lnTo>
                  <a:pt x="66" y="31"/>
                </a:lnTo>
                <a:lnTo>
                  <a:pt x="66" y="31"/>
                </a:lnTo>
                <a:lnTo>
                  <a:pt x="66" y="31"/>
                </a:lnTo>
                <a:lnTo>
                  <a:pt x="66" y="31"/>
                </a:lnTo>
                <a:lnTo>
                  <a:pt x="66" y="30"/>
                </a:lnTo>
                <a:lnTo>
                  <a:pt x="66" y="30"/>
                </a:lnTo>
                <a:lnTo>
                  <a:pt x="66" y="30"/>
                </a:lnTo>
                <a:lnTo>
                  <a:pt x="66" y="30"/>
                </a:lnTo>
                <a:lnTo>
                  <a:pt x="66" y="30"/>
                </a:lnTo>
                <a:lnTo>
                  <a:pt x="66" y="30"/>
                </a:lnTo>
                <a:lnTo>
                  <a:pt x="66" y="30"/>
                </a:lnTo>
                <a:lnTo>
                  <a:pt x="66" y="29"/>
                </a:lnTo>
                <a:lnTo>
                  <a:pt x="65" y="29"/>
                </a:lnTo>
                <a:lnTo>
                  <a:pt x="65" y="29"/>
                </a:lnTo>
                <a:lnTo>
                  <a:pt x="65" y="29"/>
                </a:lnTo>
                <a:lnTo>
                  <a:pt x="65" y="29"/>
                </a:lnTo>
                <a:lnTo>
                  <a:pt x="65" y="29"/>
                </a:lnTo>
                <a:lnTo>
                  <a:pt x="65" y="28"/>
                </a:lnTo>
                <a:lnTo>
                  <a:pt x="65" y="28"/>
                </a:lnTo>
                <a:lnTo>
                  <a:pt x="65" y="28"/>
                </a:lnTo>
                <a:lnTo>
                  <a:pt x="65" y="28"/>
                </a:lnTo>
                <a:lnTo>
                  <a:pt x="65" y="28"/>
                </a:lnTo>
                <a:lnTo>
                  <a:pt x="65" y="28"/>
                </a:lnTo>
                <a:lnTo>
                  <a:pt x="65" y="28"/>
                </a:lnTo>
                <a:lnTo>
                  <a:pt x="65" y="27"/>
                </a:lnTo>
                <a:lnTo>
                  <a:pt x="65" y="27"/>
                </a:lnTo>
                <a:lnTo>
                  <a:pt x="65" y="27"/>
                </a:lnTo>
                <a:lnTo>
                  <a:pt x="65" y="27"/>
                </a:lnTo>
                <a:lnTo>
                  <a:pt x="65" y="27"/>
                </a:lnTo>
                <a:lnTo>
                  <a:pt x="65" y="27"/>
                </a:lnTo>
                <a:lnTo>
                  <a:pt x="65" y="26"/>
                </a:lnTo>
                <a:lnTo>
                  <a:pt x="64" y="26"/>
                </a:lnTo>
                <a:lnTo>
                  <a:pt x="64" y="26"/>
                </a:lnTo>
                <a:lnTo>
                  <a:pt x="64" y="26"/>
                </a:lnTo>
                <a:lnTo>
                  <a:pt x="64" y="26"/>
                </a:lnTo>
                <a:lnTo>
                  <a:pt x="64" y="26"/>
                </a:lnTo>
                <a:lnTo>
                  <a:pt x="64" y="26"/>
                </a:lnTo>
                <a:lnTo>
                  <a:pt x="64" y="24"/>
                </a:lnTo>
                <a:lnTo>
                  <a:pt x="64" y="24"/>
                </a:lnTo>
                <a:lnTo>
                  <a:pt x="64" y="24"/>
                </a:lnTo>
                <a:lnTo>
                  <a:pt x="64" y="24"/>
                </a:lnTo>
                <a:lnTo>
                  <a:pt x="64" y="24"/>
                </a:lnTo>
                <a:lnTo>
                  <a:pt x="64" y="24"/>
                </a:lnTo>
                <a:lnTo>
                  <a:pt x="64" y="24"/>
                </a:lnTo>
                <a:lnTo>
                  <a:pt x="64" y="23"/>
                </a:lnTo>
                <a:lnTo>
                  <a:pt x="64" y="23"/>
                </a:lnTo>
                <a:lnTo>
                  <a:pt x="63" y="23"/>
                </a:lnTo>
                <a:lnTo>
                  <a:pt x="63" y="23"/>
                </a:lnTo>
                <a:lnTo>
                  <a:pt x="63" y="23"/>
                </a:lnTo>
                <a:lnTo>
                  <a:pt x="63" y="23"/>
                </a:lnTo>
                <a:lnTo>
                  <a:pt x="63" y="23"/>
                </a:lnTo>
                <a:lnTo>
                  <a:pt x="63" y="22"/>
                </a:lnTo>
                <a:lnTo>
                  <a:pt x="63" y="22"/>
                </a:lnTo>
                <a:lnTo>
                  <a:pt x="63" y="22"/>
                </a:lnTo>
                <a:lnTo>
                  <a:pt x="63" y="22"/>
                </a:lnTo>
                <a:lnTo>
                  <a:pt x="63" y="22"/>
                </a:lnTo>
                <a:lnTo>
                  <a:pt x="63" y="22"/>
                </a:lnTo>
                <a:lnTo>
                  <a:pt x="63" y="22"/>
                </a:lnTo>
                <a:lnTo>
                  <a:pt x="62" y="22"/>
                </a:lnTo>
                <a:lnTo>
                  <a:pt x="62" y="21"/>
                </a:lnTo>
                <a:lnTo>
                  <a:pt x="62" y="21"/>
                </a:lnTo>
                <a:lnTo>
                  <a:pt x="62" y="21"/>
                </a:lnTo>
                <a:lnTo>
                  <a:pt x="62" y="21"/>
                </a:lnTo>
                <a:lnTo>
                  <a:pt x="62" y="21"/>
                </a:lnTo>
                <a:lnTo>
                  <a:pt x="62" y="21"/>
                </a:lnTo>
                <a:lnTo>
                  <a:pt x="62" y="21"/>
                </a:lnTo>
                <a:lnTo>
                  <a:pt x="62" y="20"/>
                </a:lnTo>
                <a:lnTo>
                  <a:pt x="62" y="20"/>
                </a:lnTo>
                <a:lnTo>
                  <a:pt x="62" y="20"/>
                </a:lnTo>
                <a:lnTo>
                  <a:pt x="62" y="20"/>
                </a:lnTo>
                <a:lnTo>
                  <a:pt x="61" y="20"/>
                </a:lnTo>
                <a:lnTo>
                  <a:pt x="61" y="20"/>
                </a:lnTo>
                <a:lnTo>
                  <a:pt x="61" y="20"/>
                </a:lnTo>
                <a:lnTo>
                  <a:pt x="61" y="20"/>
                </a:lnTo>
                <a:lnTo>
                  <a:pt x="61" y="19"/>
                </a:lnTo>
                <a:lnTo>
                  <a:pt x="61" y="19"/>
                </a:lnTo>
                <a:lnTo>
                  <a:pt x="61" y="19"/>
                </a:lnTo>
                <a:lnTo>
                  <a:pt x="61" y="19"/>
                </a:lnTo>
                <a:lnTo>
                  <a:pt x="61" y="19"/>
                </a:lnTo>
                <a:lnTo>
                  <a:pt x="61" y="19"/>
                </a:lnTo>
                <a:lnTo>
                  <a:pt x="60" y="19"/>
                </a:lnTo>
                <a:lnTo>
                  <a:pt x="60" y="19"/>
                </a:lnTo>
                <a:lnTo>
                  <a:pt x="60" y="18"/>
                </a:lnTo>
                <a:lnTo>
                  <a:pt x="60" y="18"/>
                </a:lnTo>
                <a:lnTo>
                  <a:pt x="60" y="18"/>
                </a:lnTo>
                <a:lnTo>
                  <a:pt x="60" y="18"/>
                </a:lnTo>
                <a:lnTo>
                  <a:pt x="60" y="18"/>
                </a:lnTo>
                <a:lnTo>
                  <a:pt x="60" y="18"/>
                </a:lnTo>
                <a:lnTo>
                  <a:pt x="60" y="18"/>
                </a:lnTo>
                <a:lnTo>
                  <a:pt x="59" y="18"/>
                </a:lnTo>
                <a:lnTo>
                  <a:pt x="59" y="17"/>
                </a:lnTo>
                <a:lnTo>
                  <a:pt x="59" y="17"/>
                </a:lnTo>
                <a:lnTo>
                  <a:pt x="59" y="17"/>
                </a:lnTo>
                <a:lnTo>
                  <a:pt x="59" y="17"/>
                </a:lnTo>
                <a:lnTo>
                  <a:pt x="59" y="17"/>
                </a:lnTo>
                <a:lnTo>
                  <a:pt x="59" y="17"/>
                </a:lnTo>
                <a:lnTo>
                  <a:pt x="59" y="17"/>
                </a:lnTo>
                <a:lnTo>
                  <a:pt x="59" y="17"/>
                </a:lnTo>
                <a:lnTo>
                  <a:pt x="59" y="17"/>
                </a:lnTo>
                <a:lnTo>
                  <a:pt x="57" y="15"/>
                </a:lnTo>
                <a:lnTo>
                  <a:pt x="57" y="15"/>
                </a:lnTo>
                <a:lnTo>
                  <a:pt x="57" y="15"/>
                </a:lnTo>
                <a:lnTo>
                  <a:pt x="57" y="15"/>
                </a:lnTo>
                <a:lnTo>
                  <a:pt x="57" y="15"/>
                </a:lnTo>
                <a:lnTo>
                  <a:pt x="57" y="15"/>
                </a:lnTo>
                <a:lnTo>
                  <a:pt x="57" y="15"/>
                </a:lnTo>
                <a:lnTo>
                  <a:pt x="57" y="15"/>
                </a:lnTo>
                <a:lnTo>
                  <a:pt x="56" y="15"/>
                </a:lnTo>
                <a:lnTo>
                  <a:pt x="56" y="15"/>
                </a:lnTo>
                <a:lnTo>
                  <a:pt x="56" y="14"/>
                </a:lnTo>
                <a:lnTo>
                  <a:pt x="56" y="14"/>
                </a:lnTo>
                <a:lnTo>
                  <a:pt x="56" y="14"/>
                </a:lnTo>
                <a:lnTo>
                  <a:pt x="56" y="14"/>
                </a:lnTo>
                <a:lnTo>
                  <a:pt x="56" y="14"/>
                </a:lnTo>
                <a:lnTo>
                  <a:pt x="56" y="14"/>
                </a:lnTo>
                <a:lnTo>
                  <a:pt x="55" y="14"/>
                </a:lnTo>
                <a:lnTo>
                  <a:pt x="55" y="14"/>
                </a:lnTo>
                <a:lnTo>
                  <a:pt x="55" y="14"/>
                </a:lnTo>
                <a:lnTo>
                  <a:pt x="55" y="13"/>
                </a:lnTo>
                <a:lnTo>
                  <a:pt x="55" y="13"/>
                </a:lnTo>
                <a:lnTo>
                  <a:pt x="55" y="13"/>
                </a:lnTo>
                <a:lnTo>
                  <a:pt x="55" y="13"/>
                </a:lnTo>
                <a:lnTo>
                  <a:pt x="55" y="13"/>
                </a:lnTo>
                <a:lnTo>
                  <a:pt x="54" y="13"/>
                </a:lnTo>
                <a:lnTo>
                  <a:pt x="54" y="13"/>
                </a:lnTo>
                <a:lnTo>
                  <a:pt x="54" y="13"/>
                </a:lnTo>
                <a:lnTo>
                  <a:pt x="54" y="13"/>
                </a:lnTo>
                <a:lnTo>
                  <a:pt x="54" y="13"/>
                </a:lnTo>
                <a:lnTo>
                  <a:pt x="54" y="13"/>
                </a:lnTo>
                <a:lnTo>
                  <a:pt x="54" y="12"/>
                </a:lnTo>
                <a:lnTo>
                  <a:pt x="54" y="12"/>
                </a:lnTo>
                <a:lnTo>
                  <a:pt x="53" y="12"/>
                </a:lnTo>
                <a:lnTo>
                  <a:pt x="53" y="12"/>
                </a:lnTo>
                <a:lnTo>
                  <a:pt x="53" y="12"/>
                </a:lnTo>
                <a:lnTo>
                  <a:pt x="53" y="12"/>
                </a:lnTo>
                <a:lnTo>
                  <a:pt x="53" y="12"/>
                </a:lnTo>
                <a:lnTo>
                  <a:pt x="53" y="12"/>
                </a:lnTo>
                <a:lnTo>
                  <a:pt x="53" y="12"/>
                </a:lnTo>
                <a:lnTo>
                  <a:pt x="52" y="12"/>
                </a:lnTo>
                <a:lnTo>
                  <a:pt x="52" y="12"/>
                </a:lnTo>
                <a:lnTo>
                  <a:pt x="52" y="12"/>
                </a:lnTo>
                <a:lnTo>
                  <a:pt x="52" y="11"/>
                </a:lnTo>
                <a:lnTo>
                  <a:pt x="52" y="11"/>
                </a:lnTo>
                <a:lnTo>
                  <a:pt x="52" y="11"/>
                </a:lnTo>
                <a:lnTo>
                  <a:pt x="52" y="11"/>
                </a:lnTo>
                <a:lnTo>
                  <a:pt x="52" y="11"/>
                </a:lnTo>
                <a:lnTo>
                  <a:pt x="51" y="11"/>
                </a:lnTo>
                <a:lnTo>
                  <a:pt x="51" y="11"/>
                </a:lnTo>
                <a:lnTo>
                  <a:pt x="51" y="11"/>
                </a:lnTo>
                <a:lnTo>
                  <a:pt x="51" y="11"/>
                </a:lnTo>
                <a:lnTo>
                  <a:pt x="51" y="11"/>
                </a:lnTo>
                <a:lnTo>
                  <a:pt x="51" y="11"/>
                </a:lnTo>
                <a:lnTo>
                  <a:pt x="51" y="11"/>
                </a:lnTo>
                <a:lnTo>
                  <a:pt x="50" y="11"/>
                </a:lnTo>
                <a:lnTo>
                  <a:pt x="50" y="11"/>
                </a:lnTo>
                <a:lnTo>
                  <a:pt x="50" y="10"/>
                </a:lnTo>
                <a:lnTo>
                  <a:pt x="50" y="10"/>
                </a:lnTo>
                <a:lnTo>
                  <a:pt x="50" y="10"/>
                </a:lnTo>
                <a:lnTo>
                  <a:pt x="50" y="10"/>
                </a:lnTo>
                <a:lnTo>
                  <a:pt x="48" y="10"/>
                </a:lnTo>
                <a:lnTo>
                  <a:pt x="48" y="10"/>
                </a:lnTo>
                <a:lnTo>
                  <a:pt x="48" y="10"/>
                </a:lnTo>
                <a:lnTo>
                  <a:pt x="48" y="10"/>
                </a:lnTo>
                <a:lnTo>
                  <a:pt x="48" y="10"/>
                </a:lnTo>
                <a:lnTo>
                  <a:pt x="48" y="10"/>
                </a:lnTo>
                <a:lnTo>
                  <a:pt x="48" y="10"/>
                </a:lnTo>
                <a:lnTo>
                  <a:pt x="47" y="10"/>
                </a:lnTo>
                <a:lnTo>
                  <a:pt x="47" y="10"/>
                </a:lnTo>
                <a:lnTo>
                  <a:pt x="47" y="10"/>
                </a:lnTo>
                <a:lnTo>
                  <a:pt x="47" y="10"/>
                </a:lnTo>
                <a:lnTo>
                  <a:pt x="47" y="10"/>
                </a:lnTo>
                <a:lnTo>
                  <a:pt x="47" y="10"/>
                </a:lnTo>
                <a:lnTo>
                  <a:pt x="47" y="9"/>
                </a:lnTo>
                <a:lnTo>
                  <a:pt x="46" y="9"/>
                </a:lnTo>
                <a:lnTo>
                  <a:pt x="46" y="9"/>
                </a:lnTo>
                <a:lnTo>
                  <a:pt x="46" y="9"/>
                </a:lnTo>
                <a:lnTo>
                  <a:pt x="46" y="9"/>
                </a:lnTo>
                <a:lnTo>
                  <a:pt x="46" y="9"/>
                </a:lnTo>
                <a:lnTo>
                  <a:pt x="46" y="9"/>
                </a:lnTo>
                <a:lnTo>
                  <a:pt x="45" y="9"/>
                </a:lnTo>
                <a:lnTo>
                  <a:pt x="45" y="9"/>
                </a:lnTo>
                <a:lnTo>
                  <a:pt x="45" y="9"/>
                </a:lnTo>
                <a:lnTo>
                  <a:pt x="45" y="9"/>
                </a:lnTo>
                <a:lnTo>
                  <a:pt x="45" y="9"/>
                </a:lnTo>
                <a:lnTo>
                  <a:pt x="45" y="9"/>
                </a:lnTo>
                <a:lnTo>
                  <a:pt x="45" y="9"/>
                </a:lnTo>
                <a:lnTo>
                  <a:pt x="44" y="9"/>
                </a:lnTo>
                <a:lnTo>
                  <a:pt x="44" y="9"/>
                </a:lnTo>
                <a:lnTo>
                  <a:pt x="44" y="9"/>
                </a:lnTo>
                <a:lnTo>
                  <a:pt x="44" y="9"/>
                </a:lnTo>
                <a:lnTo>
                  <a:pt x="44" y="9"/>
                </a:lnTo>
                <a:lnTo>
                  <a:pt x="44" y="9"/>
                </a:lnTo>
                <a:lnTo>
                  <a:pt x="43" y="9"/>
                </a:lnTo>
                <a:lnTo>
                  <a:pt x="43" y="9"/>
                </a:lnTo>
                <a:lnTo>
                  <a:pt x="43" y="9"/>
                </a:lnTo>
                <a:lnTo>
                  <a:pt x="43" y="8"/>
                </a:lnTo>
                <a:lnTo>
                  <a:pt x="43" y="8"/>
                </a:lnTo>
                <a:lnTo>
                  <a:pt x="43" y="8"/>
                </a:lnTo>
                <a:lnTo>
                  <a:pt x="42" y="8"/>
                </a:lnTo>
                <a:lnTo>
                  <a:pt x="42" y="8"/>
                </a:lnTo>
                <a:lnTo>
                  <a:pt x="42" y="8"/>
                </a:lnTo>
                <a:lnTo>
                  <a:pt x="42" y="8"/>
                </a:lnTo>
                <a:lnTo>
                  <a:pt x="42" y="8"/>
                </a:lnTo>
                <a:lnTo>
                  <a:pt x="42" y="8"/>
                </a:lnTo>
                <a:lnTo>
                  <a:pt x="41" y="8"/>
                </a:lnTo>
                <a:lnTo>
                  <a:pt x="41" y="8"/>
                </a:lnTo>
                <a:lnTo>
                  <a:pt x="41" y="8"/>
                </a:lnTo>
                <a:lnTo>
                  <a:pt x="41" y="8"/>
                </a:lnTo>
                <a:lnTo>
                  <a:pt x="41" y="8"/>
                </a:lnTo>
                <a:lnTo>
                  <a:pt x="41" y="8"/>
                </a:lnTo>
                <a:lnTo>
                  <a:pt x="39" y="8"/>
                </a:lnTo>
                <a:lnTo>
                  <a:pt x="39" y="8"/>
                </a:lnTo>
                <a:lnTo>
                  <a:pt x="39" y="8"/>
                </a:lnTo>
                <a:lnTo>
                  <a:pt x="39" y="8"/>
                </a:lnTo>
                <a:lnTo>
                  <a:pt x="39" y="8"/>
                </a:lnTo>
                <a:lnTo>
                  <a:pt x="39" y="8"/>
                </a:lnTo>
                <a:lnTo>
                  <a:pt x="38" y="8"/>
                </a:lnTo>
                <a:lnTo>
                  <a:pt x="38" y="8"/>
                </a:lnTo>
                <a:lnTo>
                  <a:pt x="38" y="8"/>
                </a:lnTo>
                <a:lnTo>
                  <a:pt x="38" y="8"/>
                </a:lnTo>
                <a:lnTo>
                  <a:pt x="38" y="8"/>
                </a:lnTo>
                <a:lnTo>
                  <a:pt x="38" y="8"/>
                </a:lnTo>
                <a:lnTo>
                  <a:pt x="37" y="8"/>
                </a:lnTo>
                <a:lnTo>
                  <a:pt x="37" y="8"/>
                </a:lnTo>
                <a:lnTo>
                  <a:pt x="37" y="8"/>
                </a:lnTo>
                <a:lnTo>
                  <a:pt x="37" y="8"/>
                </a:lnTo>
                <a:lnTo>
                  <a:pt x="37" y="8"/>
                </a:lnTo>
                <a:lnTo>
                  <a:pt x="37" y="8"/>
                </a:lnTo>
                <a:lnTo>
                  <a:pt x="36" y="8"/>
                </a:lnTo>
                <a:lnTo>
                  <a:pt x="36" y="8"/>
                </a:lnTo>
                <a:lnTo>
                  <a:pt x="36" y="8"/>
                </a:lnTo>
                <a:lnTo>
                  <a:pt x="36" y="8"/>
                </a:lnTo>
                <a:lnTo>
                  <a:pt x="36" y="8"/>
                </a:lnTo>
                <a:lnTo>
                  <a:pt x="36" y="8"/>
                </a:lnTo>
                <a:lnTo>
                  <a:pt x="35" y="8"/>
                </a:lnTo>
                <a:lnTo>
                  <a:pt x="35" y="8"/>
                </a:lnTo>
                <a:lnTo>
                  <a:pt x="35" y="8"/>
                </a:lnTo>
                <a:lnTo>
                  <a:pt x="35" y="8"/>
                </a:lnTo>
                <a:lnTo>
                  <a:pt x="35" y="8"/>
                </a:lnTo>
                <a:lnTo>
                  <a:pt x="35" y="8"/>
                </a:lnTo>
                <a:lnTo>
                  <a:pt x="34" y="8"/>
                </a:lnTo>
                <a:lnTo>
                  <a:pt x="34" y="8"/>
                </a:lnTo>
                <a:lnTo>
                  <a:pt x="34" y="8"/>
                </a:lnTo>
                <a:lnTo>
                  <a:pt x="34" y="8"/>
                </a:lnTo>
                <a:lnTo>
                  <a:pt x="34" y="8"/>
                </a:lnTo>
                <a:lnTo>
                  <a:pt x="34" y="8"/>
                </a:lnTo>
                <a:lnTo>
                  <a:pt x="33" y="8"/>
                </a:lnTo>
                <a:lnTo>
                  <a:pt x="33" y="8"/>
                </a:lnTo>
                <a:lnTo>
                  <a:pt x="33" y="8"/>
                </a:lnTo>
                <a:lnTo>
                  <a:pt x="33" y="8"/>
                </a:lnTo>
                <a:lnTo>
                  <a:pt x="33" y="8"/>
                </a:lnTo>
                <a:lnTo>
                  <a:pt x="33" y="8"/>
                </a:lnTo>
                <a:lnTo>
                  <a:pt x="32" y="8"/>
                </a:lnTo>
                <a:lnTo>
                  <a:pt x="32" y="8"/>
                </a:lnTo>
                <a:lnTo>
                  <a:pt x="32" y="9"/>
                </a:lnTo>
                <a:lnTo>
                  <a:pt x="32" y="9"/>
                </a:lnTo>
                <a:lnTo>
                  <a:pt x="32" y="9"/>
                </a:lnTo>
                <a:lnTo>
                  <a:pt x="32" y="9"/>
                </a:lnTo>
                <a:lnTo>
                  <a:pt x="30" y="9"/>
                </a:lnTo>
                <a:lnTo>
                  <a:pt x="30" y="9"/>
                </a:lnTo>
                <a:lnTo>
                  <a:pt x="30" y="9"/>
                </a:lnTo>
                <a:lnTo>
                  <a:pt x="30" y="9"/>
                </a:lnTo>
                <a:lnTo>
                  <a:pt x="30" y="9"/>
                </a:lnTo>
                <a:lnTo>
                  <a:pt x="30" y="9"/>
                </a:lnTo>
                <a:lnTo>
                  <a:pt x="30" y="9"/>
                </a:lnTo>
                <a:lnTo>
                  <a:pt x="29" y="9"/>
                </a:lnTo>
                <a:lnTo>
                  <a:pt x="29" y="9"/>
                </a:lnTo>
                <a:lnTo>
                  <a:pt x="29" y="9"/>
                </a:lnTo>
                <a:lnTo>
                  <a:pt x="29" y="9"/>
                </a:lnTo>
                <a:lnTo>
                  <a:pt x="29" y="9"/>
                </a:lnTo>
                <a:lnTo>
                  <a:pt x="29" y="9"/>
                </a:lnTo>
                <a:lnTo>
                  <a:pt x="28" y="9"/>
                </a:lnTo>
                <a:lnTo>
                  <a:pt x="28" y="9"/>
                </a:lnTo>
                <a:lnTo>
                  <a:pt x="28" y="9"/>
                </a:lnTo>
                <a:lnTo>
                  <a:pt x="28" y="9"/>
                </a:lnTo>
                <a:lnTo>
                  <a:pt x="28" y="9"/>
                </a:lnTo>
                <a:lnTo>
                  <a:pt x="28" y="9"/>
                </a:lnTo>
                <a:lnTo>
                  <a:pt x="28" y="10"/>
                </a:lnTo>
                <a:lnTo>
                  <a:pt x="27" y="10"/>
                </a:lnTo>
                <a:lnTo>
                  <a:pt x="27" y="10"/>
                </a:lnTo>
                <a:lnTo>
                  <a:pt x="27" y="10"/>
                </a:lnTo>
                <a:lnTo>
                  <a:pt x="27" y="10"/>
                </a:lnTo>
                <a:lnTo>
                  <a:pt x="27" y="10"/>
                </a:lnTo>
                <a:lnTo>
                  <a:pt x="27" y="10"/>
                </a:lnTo>
                <a:lnTo>
                  <a:pt x="26" y="10"/>
                </a:lnTo>
                <a:lnTo>
                  <a:pt x="26" y="10"/>
                </a:lnTo>
                <a:lnTo>
                  <a:pt x="26" y="10"/>
                </a:lnTo>
                <a:lnTo>
                  <a:pt x="26" y="10"/>
                </a:lnTo>
                <a:lnTo>
                  <a:pt x="26" y="10"/>
                </a:lnTo>
                <a:lnTo>
                  <a:pt x="26" y="10"/>
                </a:lnTo>
                <a:lnTo>
                  <a:pt x="26" y="10"/>
                </a:lnTo>
                <a:lnTo>
                  <a:pt x="25" y="10"/>
                </a:lnTo>
                <a:lnTo>
                  <a:pt x="25" y="10"/>
                </a:lnTo>
                <a:lnTo>
                  <a:pt x="25" y="10"/>
                </a:lnTo>
                <a:lnTo>
                  <a:pt x="25" y="11"/>
                </a:lnTo>
                <a:lnTo>
                  <a:pt x="25" y="11"/>
                </a:lnTo>
                <a:lnTo>
                  <a:pt x="25" y="11"/>
                </a:lnTo>
                <a:lnTo>
                  <a:pt x="25" y="11"/>
                </a:lnTo>
                <a:lnTo>
                  <a:pt x="24" y="11"/>
                </a:lnTo>
                <a:lnTo>
                  <a:pt x="24" y="11"/>
                </a:lnTo>
                <a:lnTo>
                  <a:pt x="24" y="11"/>
                </a:lnTo>
                <a:lnTo>
                  <a:pt x="24" y="11"/>
                </a:lnTo>
                <a:lnTo>
                  <a:pt x="24" y="11"/>
                </a:lnTo>
                <a:lnTo>
                  <a:pt x="24" y="11"/>
                </a:lnTo>
                <a:lnTo>
                  <a:pt x="24" y="11"/>
                </a:lnTo>
                <a:lnTo>
                  <a:pt x="23" y="11"/>
                </a:lnTo>
                <a:lnTo>
                  <a:pt x="23" y="11"/>
                </a:lnTo>
                <a:lnTo>
                  <a:pt x="23" y="11"/>
                </a:lnTo>
                <a:lnTo>
                  <a:pt x="23" y="12"/>
                </a:lnTo>
                <a:lnTo>
                  <a:pt x="23" y="12"/>
                </a:lnTo>
                <a:lnTo>
                  <a:pt x="23" y="12"/>
                </a:lnTo>
                <a:lnTo>
                  <a:pt x="23" y="12"/>
                </a:lnTo>
                <a:lnTo>
                  <a:pt x="21" y="12"/>
                </a:lnTo>
                <a:lnTo>
                  <a:pt x="21" y="12"/>
                </a:lnTo>
                <a:lnTo>
                  <a:pt x="21" y="12"/>
                </a:lnTo>
                <a:lnTo>
                  <a:pt x="21" y="12"/>
                </a:lnTo>
                <a:lnTo>
                  <a:pt x="21" y="12"/>
                </a:lnTo>
                <a:lnTo>
                  <a:pt x="21" y="12"/>
                </a:lnTo>
                <a:lnTo>
                  <a:pt x="21" y="12"/>
                </a:lnTo>
                <a:lnTo>
                  <a:pt x="20" y="12"/>
                </a:lnTo>
                <a:lnTo>
                  <a:pt x="20" y="13"/>
                </a:lnTo>
                <a:lnTo>
                  <a:pt x="20" y="13"/>
                </a:lnTo>
                <a:lnTo>
                  <a:pt x="20" y="13"/>
                </a:lnTo>
                <a:lnTo>
                  <a:pt x="20" y="13"/>
                </a:lnTo>
                <a:lnTo>
                  <a:pt x="20" y="13"/>
                </a:lnTo>
                <a:lnTo>
                  <a:pt x="20" y="13"/>
                </a:lnTo>
                <a:lnTo>
                  <a:pt x="20" y="13"/>
                </a:lnTo>
                <a:lnTo>
                  <a:pt x="19" y="13"/>
                </a:lnTo>
                <a:lnTo>
                  <a:pt x="19" y="13"/>
                </a:lnTo>
                <a:lnTo>
                  <a:pt x="19" y="13"/>
                </a:lnTo>
                <a:lnTo>
                  <a:pt x="19" y="13"/>
                </a:lnTo>
                <a:lnTo>
                  <a:pt x="19" y="14"/>
                </a:lnTo>
                <a:lnTo>
                  <a:pt x="19" y="14"/>
                </a:lnTo>
                <a:lnTo>
                  <a:pt x="19" y="14"/>
                </a:lnTo>
                <a:lnTo>
                  <a:pt x="19" y="14"/>
                </a:lnTo>
                <a:lnTo>
                  <a:pt x="18" y="14"/>
                </a:lnTo>
                <a:lnTo>
                  <a:pt x="18" y="14"/>
                </a:lnTo>
                <a:lnTo>
                  <a:pt x="18" y="14"/>
                </a:lnTo>
                <a:lnTo>
                  <a:pt x="18" y="14"/>
                </a:lnTo>
                <a:lnTo>
                  <a:pt x="18" y="14"/>
                </a:lnTo>
                <a:lnTo>
                  <a:pt x="18" y="15"/>
                </a:lnTo>
                <a:lnTo>
                  <a:pt x="18" y="15"/>
                </a:lnTo>
                <a:lnTo>
                  <a:pt x="18" y="15"/>
                </a:lnTo>
                <a:lnTo>
                  <a:pt x="18" y="15"/>
                </a:lnTo>
                <a:lnTo>
                  <a:pt x="17" y="15"/>
                </a:lnTo>
                <a:lnTo>
                  <a:pt x="17" y="15"/>
                </a:lnTo>
                <a:lnTo>
                  <a:pt x="17" y="15"/>
                </a:lnTo>
                <a:lnTo>
                  <a:pt x="17" y="15"/>
                </a:lnTo>
                <a:lnTo>
                  <a:pt x="17" y="15"/>
                </a:lnTo>
                <a:lnTo>
                  <a:pt x="17" y="15"/>
                </a:lnTo>
                <a:lnTo>
                  <a:pt x="17" y="17"/>
                </a:lnTo>
                <a:lnTo>
                  <a:pt x="17" y="17"/>
                </a:lnTo>
                <a:lnTo>
                  <a:pt x="16" y="17"/>
                </a:lnTo>
                <a:lnTo>
                  <a:pt x="16" y="17"/>
                </a:lnTo>
                <a:lnTo>
                  <a:pt x="16" y="17"/>
                </a:lnTo>
                <a:lnTo>
                  <a:pt x="16" y="17"/>
                </a:lnTo>
                <a:lnTo>
                  <a:pt x="16" y="17"/>
                </a:lnTo>
                <a:lnTo>
                  <a:pt x="16" y="17"/>
                </a:lnTo>
                <a:lnTo>
                  <a:pt x="16" y="17"/>
                </a:lnTo>
                <a:lnTo>
                  <a:pt x="16" y="18"/>
                </a:lnTo>
                <a:lnTo>
                  <a:pt x="16" y="18"/>
                </a:lnTo>
                <a:lnTo>
                  <a:pt x="15" y="18"/>
                </a:lnTo>
                <a:lnTo>
                  <a:pt x="15" y="18"/>
                </a:lnTo>
                <a:lnTo>
                  <a:pt x="15" y="18"/>
                </a:lnTo>
                <a:lnTo>
                  <a:pt x="15" y="18"/>
                </a:lnTo>
                <a:lnTo>
                  <a:pt x="15" y="18"/>
                </a:lnTo>
                <a:lnTo>
                  <a:pt x="15" y="18"/>
                </a:lnTo>
                <a:lnTo>
                  <a:pt x="15" y="19"/>
                </a:lnTo>
                <a:lnTo>
                  <a:pt x="15" y="19"/>
                </a:lnTo>
                <a:lnTo>
                  <a:pt x="15" y="19"/>
                </a:lnTo>
                <a:lnTo>
                  <a:pt x="15" y="19"/>
                </a:lnTo>
                <a:lnTo>
                  <a:pt x="14" y="19"/>
                </a:lnTo>
                <a:lnTo>
                  <a:pt x="14" y="19"/>
                </a:lnTo>
                <a:lnTo>
                  <a:pt x="14" y="19"/>
                </a:lnTo>
                <a:lnTo>
                  <a:pt x="14" y="19"/>
                </a:lnTo>
                <a:lnTo>
                  <a:pt x="14" y="20"/>
                </a:lnTo>
                <a:lnTo>
                  <a:pt x="14" y="20"/>
                </a:lnTo>
                <a:lnTo>
                  <a:pt x="14" y="20"/>
                </a:lnTo>
                <a:lnTo>
                  <a:pt x="14" y="20"/>
                </a:lnTo>
                <a:lnTo>
                  <a:pt x="14" y="20"/>
                </a:lnTo>
                <a:lnTo>
                  <a:pt x="14" y="20"/>
                </a:lnTo>
                <a:lnTo>
                  <a:pt x="14" y="20"/>
                </a:lnTo>
                <a:lnTo>
                  <a:pt x="12" y="20"/>
                </a:lnTo>
                <a:lnTo>
                  <a:pt x="12" y="21"/>
                </a:lnTo>
                <a:lnTo>
                  <a:pt x="12" y="21"/>
                </a:lnTo>
                <a:lnTo>
                  <a:pt x="12" y="21"/>
                </a:lnTo>
                <a:lnTo>
                  <a:pt x="12" y="21"/>
                </a:lnTo>
                <a:lnTo>
                  <a:pt x="12" y="21"/>
                </a:lnTo>
                <a:lnTo>
                  <a:pt x="12" y="21"/>
                </a:lnTo>
                <a:lnTo>
                  <a:pt x="12" y="21"/>
                </a:lnTo>
                <a:lnTo>
                  <a:pt x="12" y="22"/>
                </a:lnTo>
                <a:lnTo>
                  <a:pt x="12" y="22"/>
                </a:lnTo>
                <a:lnTo>
                  <a:pt x="12" y="22"/>
                </a:lnTo>
                <a:lnTo>
                  <a:pt x="11" y="22"/>
                </a:lnTo>
                <a:lnTo>
                  <a:pt x="11" y="22"/>
                </a:lnTo>
                <a:lnTo>
                  <a:pt x="11" y="22"/>
                </a:lnTo>
                <a:lnTo>
                  <a:pt x="11" y="22"/>
                </a:lnTo>
                <a:lnTo>
                  <a:pt x="11" y="22"/>
                </a:lnTo>
                <a:lnTo>
                  <a:pt x="11" y="23"/>
                </a:lnTo>
                <a:lnTo>
                  <a:pt x="11" y="23"/>
                </a:lnTo>
                <a:lnTo>
                  <a:pt x="11" y="23"/>
                </a:lnTo>
                <a:lnTo>
                  <a:pt x="11" y="23"/>
                </a:lnTo>
                <a:lnTo>
                  <a:pt x="11" y="23"/>
                </a:lnTo>
                <a:lnTo>
                  <a:pt x="11" y="23"/>
                </a:lnTo>
                <a:lnTo>
                  <a:pt x="11" y="23"/>
                </a:lnTo>
                <a:lnTo>
                  <a:pt x="11" y="24"/>
                </a:lnTo>
                <a:lnTo>
                  <a:pt x="10" y="24"/>
                </a:lnTo>
                <a:lnTo>
                  <a:pt x="10" y="24"/>
                </a:lnTo>
                <a:lnTo>
                  <a:pt x="10" y="24"/>
                </a:lnTo>
                <a:lnTo>
                  <a:pt x="10" y="24"/>
                </a:lnTo>
                <a:lnTo>
                  <a:pt x="10" y="24"/>
                </a:lnTo>
                <a:lnTo>
                  <a:pt x="10" y="24"/>
                </a:lnTo>
                <a:lnTo>
                  <a:pt x="10" y="26"/>
                </a:lnTo>
                <a:lnTo>
                  <a:pt x="10" y="26"/>
                </a:lnTo>
                <a:lnTo>
                  <a:pt x="10" y="26"/>
                </a:lnTo>
                <a:lnTo>
                  <a:pt x="10" y="26"/>
                </a:lnTo>
                <a:lnTo>
                  <a:pt x="10" y="26"/>
                </a:lnTo>
                <a:lnTo>
                  <a:pt x="10" y="26"/>
                </a:lnTo>
                <a:lnTo>
                  <a:pt x="10" y="26"/>
                </a:lnTo>
                <a:lnTo>
                  <a:pt x="10" y="27"/>
                </a:lnTo>
                <a:lnTo>
                  <a:pt x="10" y="27"/>
                </a:lnTo>
                <a:lnTo>
                  <a:pt x="9" y="27"/>
                </a:lnTo>
                <a:lnTo>
                  <a:pt x="9" y="27"/>
                </a:lnTo>
                <a:lnTo>
                  <a:pt x="9" y="27"/>
                </a:lnTo>
                <a:lnTo>
                  <a:pt x="9" y="27"/>
                </a:lnTo>
                <a:lnTo>
                  <a:pt x="9" y="28"/>
                </a:lnTo>
                <a:lnTo>
                  <a:pt x="9" y="28"/>
                </a:lnTo>
                <a:lnTo>
                  <a:pt x="9" y="28"/>
                </a:lnTo>
                <a:lnTo>
                  <a:pt x="9" y="28"/>
                </a:lnTo>
                <a:lnTo>
                  <a:pt x="9" y="28"/>
                </a:lnTo>
                <a:lnTo>
                  <a:pt x="9" y="28"/>
                </a:lnTo>
                <a:lnTo>
                  <a:pt x="9" y="28"/>
                </a:lnTo>
                <a:lnTo>
                  <a:pt x="9" y="29"/>
                </a:lnTo>
                <a:lnTo>
                  <a:pt x="9" y="29"/>
                </a:lnTo>
                <a:lnTo>
                  <a:pt x="9" y="29"/>
                </a:lnTo>
                <a:lnTo>
                  <a:pt x="9" y="29"/>
                </a:lnTo>
                <a:lnTo>
                  <a:pt x="9" y="29"/>
                </a:lnTo>
                <a:lnTo>
                  <a:pt x="9" y="29"/>
                </a:lnTo>
                <a:lnTo>
                  <a:pt x="9" y="30"/>
                </a:lnTo>
                <a:lnTo>
                  <a:pt x="9" y="30"/>
                </a:lnTo>
                <a:lnTo>
                  <a:pt x="9" y="30"/>
                </a:lnTo>
                <a:lnTo>
                  <a:pt x="9" y="30"/>
                </a:lnTo>
                <a:lnTo>
                  <a:pt x="8" y="30"/>
                </a:lnTo>
                <a:lnTo>
                  <a:pt x="8" y="30"/>
                </a:lnTo>
                <a:lnTo>
                  <a:pt x="8" y="30"/>
                </a:lnTo>
                <a:lnTo>
                  <a:pt x="8" y="31"/>
                </a:lnTo>
                <a:lnTo>
                  <a:pt x="8" y="31"/>
                </a:lnTo>
                <a:lnTo>
                  <a:pt x="8" y="31"/>
                </a:lnTo>
                <a:lnTo>
                  <a:pt x="8" y="31"/>
                </a:lnTo>
                <a:lnTo>
                  <a:pt x="8" y="31"/>
                </a:lnTo>
                <a:lnTo>
                  <a:pt x="8" y="31"/>
                </a:lnTo>
                <a:lnTo>
                  <a:pt x="8" y="32"/>
                </a:lnTo>
                <a:lnTo>
                  <a:pt x="8" y="32"/>
                </a:lnTo>
                <a:lnTo>
                  <a:pt x="8" y="32"/>
                </a:lnTo>
                <a:lnTo>
                  <a:pt x="8" y="32"/>
                </a:lnTo>
                <a:lnTo>
                  <a:pt x="8" y="32"/>
                </a:lnTo>
                <a:lnTo>
                  <a:pt x="8" y="32"/>
                </a:lnTo>
                <a:lnTo>
                  <a:pt x="8" y="34"/>
                </a:lnTo>
                <a:lnTo>
                  <a:pt x="8" y="34"/>
                </a:lnTo>
                <a:lnTo>
                  <a:pt x="8" y="34"/>
                </a:lnTo>
                <a:lnTo>
                  <a:pt x="8" y="34"/>
                </a:lnTo>
                <a:lnTo>
                  <a:pt x="8" y="34"/>
                </a:lnTo>
                <a:lnTo>
                  <a:pt x="8" y="34"/>
                </a:lnTo>
                <a:lnTo>
                  <a:pt x="8" y="35"/>
                </a:lnTo>
                <a:lnTo>
                  <a:pt x="8" y="35"/>
                </a:lnTo>
                <a:lnTo>
                  <a:pt x="8" y="35"/>
                </a:lnTo>
                <a:lnTo>
                  <a:pt x="8" y="35"/>
                </a:lnTo>
                <a:lnTo>
                  <a:pt x="8" y="35"/>
                </a:lnTo>
                <a:lnTo>
                  <a:pt x="8" y="35"/>
                </a:lnTo>
                <a:lnTo>
                  <a:pt x="8" y="36"/>
                </a:lnTo>
                <a:lnTo>
                  <a:pt x="8" y="36"/>
                </a:lnTo>
                <a:lnTo>
                  <a:pt x="8" y="36"/>
                </a:lnTo>
                <a:lnTo>
                  <a:pt x="8" y="36"/>
                </a:lnTo>
                <a:lnTo>
                  <a:pt x="8" y="36"/>
                </a:lnTo>
                <a:lnTo>
                  <a:pt x="8" y="36"/>
                </a:lnTo>
                <a:lnTo>
                  <a:pt x="8" y="37"/>
                </a:lnTo>
                <a:lnTo>
                  <a:pt x="8" y="37"/>
                </a:lnTo>
                <a:lnTo>
                  <a:pt x="8" y="37"/>
                </a:lnTo>
                <a:lnTo>
                  <a:pt x="8" y="37"/>
                </a:lnTo>
                <a:lnTo>
                  <a:pt x="8" y="37"/>
                </a:lnTo>
                <a:lnTo>
                  <a:pt x="8" y="37"/>
                </a:lnTo>
                <a:lnTo>
                  <a:pt x="8" y="37"/>
                </a:lnTo>
                <a:close/>
                <a:moveTo>
                  <a:pt x="37" y="75"/>
                </a:moveTo>
                <a:lnTo>
                  <a:pt x="37" y="75"/>
                </a:lnTo>
                <a:lnTo>
                  <a:pt x="37" y="75"/>
                </a:lnTo>
                <a:lnTo>
                  <a:pt x="36" y="75"/>
                </a:lnTo>
                <a:lnTo>
                  <a:pt x="36" y="75"/>
                </a:lnTo>
                <a:lnTo>
                  <a:pt x="36" y="75"/>
                </a:lnTo>
                <a:lnTo>
                  <a:pt x="36" y="75"/>
                </a:lnTo>
                <a:lnTo>
                  <a:pt x="36" y="75"/>
                </a:lnTo>
                <a:lnTo>
                  <a:pt x="35" y="75"/>
                </a:lnTo>
                <a:lnTo>
                  <a:pt x="35" y="75"/>
                </a:lnTo>
                <a:lnTo>
                  <a:pt x="35" y="75"/>
                </a:lnTo>
                <a:lnTo>
                  <a:pt x="35" y="75"/>
                </a:lnTo>
                <a:lnTo>
                  <a:pt x="35" y="75"/>
                </a:lnTo>
                <a:lnTo>
                  <a:pt x="34" y="75"/>
                </a:lnTo>
                <a:lnTo>
                  <a:pt x="34" y="75"/>
                </a:lnTo>
                <a:lnTo>
                  <a:pt x="34" y="75"/>
                </a:lnTo>
                <a:lnTo>
                  <a:pt x="34" y="75"/>
                </a:lnTo>
                <a:lnTo>
                  <a:pt x="33" y="75"/>
                </a:lnTo>
                <a:lnTo>
                  <a:pt x="33" y="75"/>
                </a:lnTo>
                <a:lnTo>
                  <a:pt x="33" y="75"/>
                </a:lnTo>
                <a:lnTo>
                  <a:pt x="33" y="75"/>
                </a:lnTo>
                <a:lnTo>
                  <a:pt x="33" y="75"/>
                </a:lnTo>
                <a:lnTo>
                  <a:pt x="32" y="75"/>
                </a:lnTo>
                <a:lnTo>
                  <a:pt x="32" y="74"/>
                </a:lnTo>
                <a:lnTo>
                  <a:pt x="32" y="74"/>
                </a:lnTo>
                <a:lnTo>
                  <a:pt x="32" y="74"/>
                </a:lnTo>
                <a:lnTo>
                  <a:pt x="32" y="74"/>
                </a:lnTo>
                <a:lnTo>
                  <a:pt x="30" y="74"/>
                </a:lnTo>
                <a:lnTo>
                  <a:pt x="30" y="74"/>
                </a:lnTo>
                <a:lnTo>
                  <a:pt x="30" y="74"/>
                </a:lnTo>
                <a:lnTo>
                  <a:pt x="30" y="74"/>
                </a:lnTo>
                <a:lnTo>
                  <a:pt x="30" y="74"/>
                </a:lnTo>
                <a:lnTo>
                  <a:pt x="29" y="74"/>
                </a:lnTo>
                <a:lnTo>
                  <a:pt x="29" y="74"/>
                </a:lnTo>
                <a:lnTo>
                  <a:pt x="29" y="74"/>
                </a:lnTo>
                <a:lnTo>
                  <a:pt x="29" y="74"/>
                </a:lnTo>
                <a:lnTo>
                  <a:pt x="29" y="74"/>
                </a:lnTo>
                <a:lnTo>
                  <a:pt x="28" y="74"/>
                </a:lnTo>
                <a:lnTo>
                  <a:pt x="28" y="74"/>
                </a:lnTo>
                <a:lnTo>
                  <a:pt x="28" y="74"/>
                </a:lnTo>
                <a:lnTo>
                  <a:pt x="28" y="74"/>
                </a:lnTo>
                <a:lnTo>
                  <a:pt x="28" y="74"/>
                </a:lnTo>
                <a:lnTo>
                  <a:pt x="27" y="74"/>
                </a:lnTo>
                <a:lnTo>
                  <a:pt x="27" y="74"/>
                </a:lnTo>
                <a:lnTo>
                  <a:pt x="27" y="74"/>
                </a:lnTo>
                <a:lnTo>
                  <a:pt x="27" y="73"/>
                </a:lnTo>
                <a:lnTo>
                  <a:pt x="27" y="73"/>
                </a:lnTo>
                <a:lnTo>
                  <a:pt x="26" y="73"/>
                </a:lnTo>
                <a:lnTo>
                  <a:pt x="26" y="73"/>
                </a:lnTo>
                <a:lnTo>
                  <a:pt x="26" y="73"/>
                </a:lnTo>
                <a:lnTo>
                  <a:pt x="26" y="73"/>
                </a:lnTo>
                <a:lnTo>
                  <a:pt x="26" y="73"/>
                </a:lnTo>
                <a:lnTo>
                  <a:pt x="25" y="73"/>
                </a:lnTo>
                <a:lnTo>
                  <a:pt x="25" y="73"/>
                </a:lnTo>
                <a:lnTo>
                  <a:pt x="25" y="73"/>
                </a:lnTo>
                <a:lnTo>
                  <a:pt x="25" y="73"/>
                </a:lnTo>
                <a:lnTo>
                  <a:pt x="25" y="73"/>
                </a:lnTo>
                <a:lnTo>
                  <a:pt x="24" y="73"/>
                </a:lnTo>
                <a:lnTo>
                  <a:pt x="24" y="73"/>
                </a:lnTo>
                <a:lnTo>
                  <a:pt x="24" y="73"/>
                </a:lnTo>
                <a:lnTo>
                  <a:pt x="24" y="72"/>
                </a:lnTo>
                <a:lnTo>
                  <a:pt x="24" y="72"/>
                </a:lnTo>
                <a:lnTo>
                  <a:pt x="23" y="72"/>
                </a:lnTo>
                <a:lnTo>
                  <a:pt x="23" y="72"/>
                </a:lnTo>
                <a:lnTo>
                  <a:pt x="23" y="72"/>
                </a:lnTo>
                <a:lnTo>
                  <a:pt x="23" y="72"/>
                </a:lnTo>
                <a:lnTo>
                  <a:pt x="23" y="72"/>
                </a:lnTo>
                <a:lnTo>
                  <a:pt x="23" y="72"/>
                </a:lnTo>
                <a:lnTo>
                  <a:pt x="21" y="72"/>
                </a:lnTo>
                <a:lnTo>
                  <a:pt x="21" y="72"/>
                </a:lnTo>
                <a:lnTo>
                  <a:pt x="21" y="72"/>
                </a:lnTo>
                <a:lnTo>
                  <a:pt x="21" y="72"/>
                </a:lnTo>
                <a:lnTo>
                  <a:pt x="21" y="72"/>
                </a:lnTo>
                <a:lnTo>
                  <a:pt x="20" y="71"/>
                </a:lnTo>
                <a:lnTo>
                  <a:pt x="20" y="71"/>
                </a:lnTo>
                <a:lnTo>
                  <a:pt x="20" y="71"/>
                </a:lnTo>
                <a:lnTo>
                  <a:pt x="20" y="71"/>
                </a:lnTo>
                <a:lnTo>
                  <a:pt x="20" y="71"/>
                </a:lnTo>
                <a:lnTo>
                  <a:pt x="20" y="71"/>
                </a:lnTo>
                <a:lnTo>
                  <a:pt x="19" y="71"/>
                </a:lnTo>
                <a:lnTo>
                  <a:pt x="19" y="71"/>
                </a:lnTo>
                <a:lnTo>
                  <a:pt x="19" y="71"/>
                </a:lnTo>
                <a:lnTo>
                  <a:pt x="19" y="71"/>
                </a:lnTo>
                <a:lnTo>
                  <a:pt x="19" y="70"/>
                </a:lnTo>
                <a:lnTo>
                  <a:pt x="18" y="70"/>
                </a:lnTo>
                <a:lnTo>
                  <a:pt x="18" y="70"/>
                </a:lnTo>
                <a:lnTo>
                  <a:pt x="18" y="70"/>
                </a:lnTo>
                <a:lnTo>
                  <a:pt x="18" y="70"/>
                </a:lnTo>
                <a:lnTo>
                  <a:pt x="18" y="70"/>
                </a:lnTo>
                <a:lnTo>
                  <a:pt x="18" y="70"/>
                </a:lnTo>
                <a:lnTo>
                  <a:pt x="17" y="70"/>
                </a:lnTo>
                <a:lnTo>
                  <a:pt x="17" y="70"/>
                </a:lnTo>
                <a:lnTo>
                  <a:pt x="17" y="70"/>
                </a:lnTo>
                <a:lnTo>
                  <a:pt x="17" y="68"/>
                </a:lnTo>
                <a:lnTo>
                  <a:pt x="17" y="68"/>
                </a:lnTo>
                <a:lnTo>
                  <a:pt x="17" y="68"/>
                </a:lnTo>
                <a:lnTo>
                  <a:pt x="16" y="68"/>
                </a:lnTo>
                <a:lnTo>
                  <a:pt x="16" y="68"/>
                </a:lnTo>
                <a:lnTo>
                  <a:pt x="16" y="68"/>
                </a:lnTo>
                <a:lnTo>
                  <a:pt x="16" y="68"/>
                </a:lnTo>
                <a:lnTo>
                  <a:pt x="16" y="68"/>
                </a:lnTo>
                <a:lnTo>
                  <a:pt x="16" y="68"/>
                </a:lnTo>
                <a:lnTo>
                  <a:pt x="15" y="67"/>
                </a:lnTo>
                <a:lnTo>
                  <a:pt x="15" y="67"/>
                </a:lnTo>
                <a:lnTo>
                  <a:pt x="15" y="67"/>
                </a:lnTo>
                <a:lnTo>
                  <a:pt x="15" y="67"/>
                </a:lnTo>
                <a:lnTo>
                  <a:pt x="15" y="67"/>
                </a:lnTo>
                <a:lnTo>
                  <a:pt x="15" y="67"/>
                </a:lnTo>
                <a:lnTo>
                  <a:pt x="14" y="67"/>
                </a:lnTo>
                <a:lnTo>
                  <a:pt x="14" y="67"/>
                </a:lnTo>
                <a:lnTo>
                  <a:pt x="14" y="66"/>
                </a:lnTo>
                <a:lnTo>
                  <a:pt x="14" y="66"/>
                </a:lnTo>
                <a:lnTo>
                  <a:pt x="14" y="66"/>
                </a:lnTo>
                <a:lnTo>
                  <a:pt x="14" y="66"/>
                </a:lnTo>
                <a:lnTo>
                  <a:pt x="14" y="66"/>
                </a:lnTo>
                <a:lnTo>
                  <a:pt x="12" y="66"/>
                </a:lnTo>
                <a:lnTo>
                  <a:pt x="12" y="66"/>
                </a:lnTo>
                <a:lnTo>
                  <a:pt x="12" y="66"/>
                </a:lnTo>
                <a:lnTo>
                  <a:pt x="12" y="65"/>
                </a:lnTo>
                <a:lnTo>
                  <a:pt x="12" y="65"/>
                </a:lnTo>
                <a:lnTo>
                  <a:pt x="12" y="65"/>
                </a:lnTo>
                <a:lnTo>
                  <a:pt x="12" y="65"/>
                </a:lnTo>
                <a:lnTo>
                  <a:pt x="11" y="65"/>
                </a:lnTo>
                <a:lnTo>
                  <a:pt x="11" y="65"/>
                </a:lnTo>
                <a:lnTo>
                  <a:pt x="11" y="65"/>
                </a:lnTo>
                <a:lnTo>
                  <a:pt x="11" y="64"/>
                </a:lnTo>
                <a:lnTo>
                  <a:pt x="11" y="64"/>
                </a:lnTo>
                <a:lnTo>
                  <a:pt x="11" y="64"/>
                </a:lnTo>
                <a:lnTo>
                  <a:pt x="10" y="64"/>
                </a:lnTo>
                <a:lnTo>
                  <a:pt x="10" y="64"/>
                </a:lnTo>
                <a:lnTo>
                  <a:pt x="10" y="64"/>
                </a:lnTo>
                <a:lnTo>
                  <a:pt x="10" y="64"/>
                </a:lnTo>
                <a:lnTo>
                  <a:pt x="10" y="63"/>
                </a:lnTo>
                <a:lnTo>
                  <a:pt x="10" y="63"/>
                </a:lnTo>
                <a:lnTo>
                  <a:pt x="10" y="63"/>
                </a:lnTo>
                <a:lnTo>
                  <a:pt x="10" y="63"/>
                </a:lnTo>
                <a:lnTo>
                  <a:pt x="9" y="63"/>
                </a:lnTo>
                <a:lnTo>
                  <a:pt x="9" y="63"/>
                </a:lnTo>
                <a:lnTo>
                  <a:pt x="9" y="63"/>
                </a:lnTo>
                <a:lnTo>
                  <a:pt x="9" y="62"/>
                </a:lnTo>
                <a:lnTo>
                  <a:pt x="9" y="62"/>
                </a:lnTo>
                <a:lnTo>
                  <a:pt x="9" y="62"/>
                </a:lnTo>
                <a:lnTo>
                  <a:pt x="9" y="62"/>
                </a:lnTo>
                <a:lnTo>
                  <a:pt x="8" y="62"/>
                </a:lnTo>
                <a:lnTo>
                  <a:pt x="8" y="62"/>
                </a:lnTo>
                <a:lnTo>
                  <a:pt x="8" y="61"/>
                </a:lnTo>
                <a:lnTo>
                  <a:pt x="8" y="61"/>
                </a:lnTo>
                <a:lnTo>
                  <a:pt x="8" y="61"/>
                </a:lnTo>
                <a:lnTo>
                  <a:pt x="8" y="61"/>
                </a:lnTo>
                <a:lnTo>
                  <a:pt x="8" y="61"/>
                </a:lnTo>
                <a:lnTo>
                  <a:pt x="8" y="61"/>
                </a:lnTo>
                <a:lnTo>
                  <a:pt x="7" y="61"/>
                </a:lnTo>
                <a:lnTo>
                  <a:pt x="7" y="59"/>
                </a:lnTo>
                <a:lnTo>
                  <a:pt x="7" y="59"/>
                </a:lnTo>
                <a:lnTo>
                  <a:pt x="7" y="59"/>
                </a:lnTo>
                <a:lnTo>
                  <a:pt x="7" y="59"/>
                </a:lnTo>
                <a:lnTo>
                  <a:pt x="7" y="59"/>
                </a:lnTo>
                <a:lnTo>
                  <a:pt x="7" y="59"/>
                </a:lnTo>
                <a:lnTo>
                  <a:pt x="7" y="58"/>
                </a:lnTo>
                <a:lnTo>
                  <a:pt x="7" y="58"/>
                </a:lnTo>
                <a:lnTo>
                  <a:pt x="6" y="58"/>
                </a:lnTo>
                <a:lnTo>
                  <a:pt x="6" y="58"/>
                </a:lnTo>
                <a:lnTo>
                  <a:pt x="6" y="58"/>
                </a:lnTo>
                <a:lnTo>
                  <a:pt x="6" y="58"/>
                </a:lnTo>
                <a:lnTo>
                  <a:pt x="6" y="57"/>
                </a:lnTo>
                <a:lnTo>
                  <a:pt x="6" y="57"/>
                </a:lnTo>
                <a:lnTo>
                  <a:pt x="6" y="57"/>
                </a:lnTo>
                <a:lnTo>
                  <a:pt x="6" y="57"/>
                </a:lnTo>
                <a:lnTo>
                  <a:pt x="6" y="57"/>
                </a:lnTo>
                <a:lnTo>
                  <a:pt x="5" y="57"/>
                </a:lnTo>
                <a:lnTo>
                  <a:pt x="5" y="56"/>
                </a:lnTo>
                <a:lnTo>
                  <a:pt x="5" y="56"/>
                </a:lnTo>
                <a:lnTo>
                  <a:pt x="5" y="56"/>
                </a:lnTo>
                <a:lnTo>
                  <a:pt x="5" y="56"/>
                </a:lnTo>
                <a:lnTo>
                  <a:pt x="5" y="56"/>
                </a:lnTo>
                <a:lnTo>
                  <a:pt x="5" y="56"/>
                </a:lnTo>
                <a:lnTo>
                  <a:pt x="5" y="55"/>
                </a:lnTo>
                <a:lnTo>
                  <a:pt x="5" y="55"/>
                </a:lnTo>
                <a:lnTo>
                  <a:pt x="5" y="55"/>
                </a:lnTo>
                <a:lnTo>
                  <a:pt x="3" y="55"/>
                </a:lnTo>
                <a:lnTo>
                  <a:pt x="3" y="55"/>
                </a:lnTo>
                <a:lnTo>
                  <a:pt x="3" y="54"/>
                </a:lnTo>
                <a:lnTo>
                  <a:pt x="3" y="54"/>
                </a:lnTo>
                <a:lnTo>
                  <a:pt x="3" y="54"/>
                </a:lnTo>
                <a:lnTo>
                  <a:pt x="3" y="54"/>
                </a:lnTo>
                <a:lnTo>
                  <a:pt x="3" y="54"/>
                </a:lnTo>
                <a:lnTo>
                  <a:pt x="3" y="54"/>
                </a:lnTo>
                <a:lnTo>
                  <a:pt x="3" y="53"/>
                </a:lnTo>
                <a:lnTo>
                  <a:pt x="3" y="53"/>
                </a:lnTo>
                <a:lnTo>
                  <a:pt x="3" y="53"/>
                </a:lnTo>
                <a:lnTo>
                  <a:pt x="2" y="53"/>
                </a:lnTo>
                <a:lnTo>
                  <a:pt x="2" y="53"/>
                </a:lnTo>
                <a:lnTo>
                  <a:pt x="2" y="52"/>
                </a:lnTo>
                <a:lnTo>
                  <a:pt x="2" y="52"/>
                </a:lnTo>
                <a:lnTo>
                  <a:pt x="2" y="52"/>
                </a:lnTo>
                <a:lnTo>
                  <a:pt x="2" y="52"/>
                </a:lnTo>
                <a:lnTo>
                  <a:pt x="2" y="52"/>
                </a:lnTo>
                <a:lnTo>
                  <a:pt x="2" y="50"/>
                </a:lnTo>
                <a:lnTo>
                  <a:pt x="2" y="50"/>
                </a:lnTo>
                <a:lnTo>
                  <a:pt x="2" y="50"/>
                </a:lnTo>
                <a:lnTo>
                  <a:pt x="2" y="50"/>
                </a:lnTo>
                <a:lnTo>
                  <a:pt x="2" y="50"/>
                </a:lnTo>
                <a:lnTo>
                  <a:pt x="2" y="50"/>
                </a:lnTo>
                <a:lnTo>
                  <a:pt x="2" y="49"/>
                </a:lnTo>
                <a:lnTo>
                  <a:pt x="1" y="49"/>
                </a:lnTo>
                <a:lnTo>
                  <a:pt x="1" y="49"/>
                </a:lnTo>
                <a:lnTo>
                  <a:pt x="1" y="49"/>
                </a:lnTo>
                <a:lnTo>
                  <a:pt x="1" y="49"/>
                </a:lnTo>
                <a:lnTo>
                  <a:pt x="1" y="48"/>
                </a:lnTo>
                <a:lnTo>
                  <a:pt x="1" y="48"/>
                </a:lnTo>
                <a:lnTo>
                  <a:pt x="1" y="48"/>
                </a:lnTo>
                <a:lnTo>
                  <a:pt x="1" y="48"/>
                </a:lnTo>
                <a:lnTo>
                  <a:pt x="1" y="48"/>
                </a:lnTo>
                <a:lnTo>
                  <a:pt x="1" y="47"/>
                </a:lnTo>
                <a:lnTo>
                  <a:pt x="1" y="47"/>
                </a:lnTo>
                <a:lnTo>
                  <a:pt x="1" y="47"/>
                </a:lnTo>
                <a:lnTo>
                  <a:pt x="1" y="47"/>
                </a:lnTo>
                <a:lnTo>
                  <a:pt x="1" y="47"/>
                </a:lnTo>
                <a:lnTo>
                  <a:pt x="1" y="46"/>
                </a:lnTo>
                <a:lnTo>
                  <a:pt x="1" y="46"/>
                </a:lnTo>
                <a:lnTo>
                  <a:pt x="1" y="46"/>
                </a:lnTo>
                <a:lnTo>
                  <a:pt x="1" y="46"/>
                </a:lnTo>
                <a:lnTo>
                  <a:pt x="0" y="46"/>
                </a:lnTo>
                <a:lnTo>
                  <a:pt x="0" y="45"/>
                </a:lnTo>
                <a:lnTo>
                  <a:pt x="0" y="45"/>
                </a:lnTo>
                <a:lnTo>
                  <a:pt x="0" y="45"/>
                </a:lnTo>
                <a:lnTo>
                  <a:pt x="0" y="45"/>
                </a:lnTo>
                <a:lnTo>
                  <a:pt x="0" y="45"/>
                </a:lnTo>
                <a:lnTo>
                  <a:pt x="0" y="44"/>
                </a:lnTo>
                <a:lnTo>
                  <a:pt x="0" y="44"/>
                </a:lnTo>
                <a:lnTo>
                  <a:pt x="0" y="44"/>
                </a:lnTo>
                <a:lnTo>
                  <a:pt x="0" y="44"/>
                </a:lnTo>
                <a:lnTo>
                  <a:pt x="0" y="44"/>
                </a:lnTo>
                <a:lnTo>
                  <a:pt x="0" y="43"/>
                </a:lnTo>
                <a:lnTo>
                  <a:pt x="0" y="43"/>
                </a:lnTo>
                <a:lnTo>
                  <a:pt x="0" y="43"/>
                </a:lnTo>
                <a:lnTo>
                  <a:pt x="0" y="43"/>
                </a:lnTo>
                <a:lnTo>
                  <a:pt x="0" y="41"/>
                </a:lnTo>
                <a:lnTo>
                  <a:pt x="0" y="41"/>
                </a:lnTo>
                <a:lnTo>
                  <a:pt x="0" y="41"/>
                </a:lnTo>
                <a:lnTo>
                  <a:pt x="0" y="41"/>
                </a:lnTo>
                <a:lnTo>
                  <a:pt x="0" y="41"/>
                </a:lnTo>
                <a:lnTo>
                  <a:pt x="0" y="40"/>
                </a:lnTo>
                <a:lnTo>
                  <a:pt x="0" y="40"/>
                </a:lnTo>
                <a:lnTo>
                  <a:pt x="0" y="40"/>
                </a:lnTo>
                <a:lnTo>
                  <a:pt x="0" y="40"/>
                </a:lnTo>
                <a:lnTo>
                  <a:pt x="0" y="40"/>
                </a:lnTo>
                <a:lnTo>
                  <a:pt x="0" y="39"/>
                </a:lnTo>
                <a:lnTo>
                  <a:pt x="0" y="39"/>
                </a:lnTo>
                <a:lnTo>
                  <a:pt x="0" y="39"/>
                </a:lnTo>
                <a:lnTo>
                  <a:pt x="0" y="39"/>
                </a:lnTo>
                <a:lnTo>
                  <a:pt x="0" y="39"/>
                </a:lnTo>
                <a:lnTo>
                  <a:pt x="0" y="38"/>
                </a:lnTo>
                <a:lnTo>
                  <a:pt x="0" y="38"/>
                </a:lnTo>
                <a:lnTo>
                  <a:pt x="0" y="38"/>
                </a:lnTo>
                <a:lnTo>
                  <a:pt x="0" y="38"/>
                </a:lnTo>
                <a:lnTo>
                  <a:pt x="0" y="37"/>
                </a:lnTo>
                <a:lnTo>
                  <a:pt x="0" y="37"/>
                </a:lnTo>
                <a:lnTo>
                  <a:pt x="0" y="37"/>
                </a:lnTo>
                <a:lnTo>
                  <a:pt x="0" y="37"/>
                </a:lnTo>
                <a:lnTo>
                  <a:pt x="0" y="37"/>
                </a:lnTo>
                <a:lnTo>
                  <a:pt x="0" y="36"/>
                </a:lnTo>
                <a:lnTo>
                  <a:pt x="0" y="36"/>
                </a:lnTo>
                <a:lnTo>
                  <a:pt x="0" y="36"/>
                </a:lnTo>
                <a:lnTo>
                  <a:pt x="0" y="36"/>
                </a:lnTo>
                <a:lnTo>
                  <a:pt x="0" y="36"/>
                </a:lnTo>
                <a:lnTo>
                  <a:pt x="0" y="35"/>
                </a:lnTo>
                <a:lnTo>
                  <a:pt x="0" y="35"/>
                </a:lnTo>
                <a:lnTo>
                  <a:pt x="0" y="35"/>
                </a:lnTo>
                <a:lnTo>
                  <a:pt x="0" y="35"/>
                </a:lnTo>
                <a:lnTo>
                  <a:pt x="0" y="34"/>
                </a:lnTo>
                <a:lnTo>
                  <a:pt x="0" y="34"/>
                </a:lnTo>
                <a:lnTo>
                  <a:pt x="0" y="34"/>
                </a:lnTo>
                <a:lnTo>
                  <a:pt x="0" y="34"/>
                </a:lnTo>
                <a:lnTo>
                  <a:pt x="0" y="34"/>
                </a:lnTo>
                <a:lnTo>
                  <a:pt x="0" y="32"/>
                </a:lnTo>
                <a:lnTo>
                  <a:pt x="0" y="32"/>
                </a:lnTo>
                <a:lnTo>
                  <a:pt x="0" y="32"/>
                </a:lnTo>
                <a:lnTo>
                  <a:pt x="0" y="32"/>
                </a:lnTo>
                <a:lnTo>
                  <a:pt x="0" y="32"/>
                </a:lnTo>
                <a:lnTo>
                  <a:pt x="0" y="31"/>
                </a:lnTo>
                <a:lnTo>
                  <a:pt x="0" y="31"/>
                </a:lnTo>
                <a:lnTo>
                  <a:pt x="0" y="31"/>
                </a:lnTo>
                <a:lnTo>
                  <a:pt x="0" y="31"/>
                </a:lnTo>
                <a:lnTo>
                  <a:pt x="0" y="31"/>
                </a:lnTo>
                <a:lnTo>
                  <a:pt x="0" y="30"/>
                </a:lnTo>
                <a:lnTo>
                  <a:pt x="0" y="30"/>
                </a:lnTo>
                <a:lnTo>
                  <a:pt x="0" y="30"/>
                </a:lnTo>
                <a:lnTo>
                  <a:pt x="0" y="30"/>
                </a:lnTo>
                <a:lnTo>
                  <a:pt x="0" y="30"/>
                </a:lnTo>
                <a:lnTo>
                  <a:pt x="0" y="29"/>
                </a:lnTo>
                <a:lnTo>
                  <a:pt x="1" y="29"/>
                </a:lnTo>
                <a:lnTo>
                  <a:pt x="1" y="29"/>
                </a:lnTo>
                <a:lnTo>
                  <a:pt x="1" y="29"/>
                </a:lnTo>
                <a:lnTo>
                  <a:pt x="1" y="28"/>
                </a:lnTo>
                <a:lnTo>
                  <a:pt x="1" y="28"/>
                </a:lnTo>
                <a:lnTo>
                  <a:pt x="1" y="28"/>
                </a:lnTo>
                <a:lnTo>
                  <a:pt x="1" y="28"/>
                </a:lnTo>
                <a:lnTo>
                  <a:pt x="1" y="28"/>
                </a:lnTo>
                <a:lnTo>
                  <a:pt x="1" y="28"/>
                </a:lnTo>
                <a:lnTo>
                  <a:pt x="1" y="27"/>
                </a:lnTo>
                <a:lnTo>
                  <a:pt x="1" y="27"/>
                </a:lnTo>
                <a:lnTo>
                  <a:pt x="1" y="27"/>
                </a:lnTo>
                <a:lnTo>
                  <a:pt x="1" y="27"/>
                </a:lnTo>
                <a:lnTo>
                  <a:pt x="1" y="27"/>
                </a:lnTo>
                <a:lnTo>
                  <a:pt x="1" y="26"/>
                </a:lnTo>
                <a:lnTo>
                  <a:pt x="1" y="26"/>
                </a:lnTo>
                <a:lnTo>
                  <a:pt x="1" y="26"/>
                </a:lnTo>
                <a:lnTo>
                  <a:pt x="1" y="26"/>
                </a:lnTo>
                <a:lnTo>
                  <a:pt x="2" y="26"/>
                </a:lnTo>
                <a:lnTo>
                  <a:pt x="2" y="24"/>
                </a:lnTo>
                <a:lnTo>
                  <a:pt x="2" y="24"/>
                </a:lnTo>
                <a:lnTo>
                  <a:pt x="2" y="24"/>
                </a:lnTo>
                <a:lnTo>
                  <a:pt x="2" y="24"/>
                </a:lnTo>
                <a:lnTo>
                  <a:pt x="2" y="24"/>
                </a:lnTo>
                <a:lnTo>
                  <a:pt x="2" y="23"/>
                </a:lnTo>
                <a:lnTo>
                  <a:pt x="2" y="23"/>
                </a:lnTo>
                <a:lnTo>
                  <a:pt x="2" y="23"/>
                </a:lnTo>
                <a:lnTo>
                  <a:pt x="2" y="23"/>
                </a:lnTo>
                <a:lnTo>
                  <a:pt x="2" y="23"/>
                </a:lnTo>
                <a:lnTo>
                  <a:pt x="2" y="22"/>
                </a:lnTo>
                <a:lnTo>
                  <a:pt x="2" y="22"/>
                </a:lnTo>
                <a:lnTo>
                  <a:pt x="2" y="22"/>
                </a:lnTo>
                <a:lnTo>
                  <a:pt x="3" y="22"/>
                </a:lnTo>
                <a:lnTo>
                  <a:pt x="3" y="22"/>
                </a:lnTo>
                <a:lnTo>
                  <a:pt x="3" y="22"/>
                </a:lnTo>
                <a:lnTo>
                  <a:pt x="3" y="21"/>
                </a:lnTo>
                <a:lnTo>
                  <a:pt x="3" y="21"/>
                </a:lnTo>
                <a:lnTo>
                  <a:pt x="3" y="21"/>
                </a:lnTo>
                <a:lnTo>
                  <a:pt x="3" y="21"/>
                </a:lnTo>
                <a:lnTo>
                  <a:pt x="3" y="21"/>
                </a:lnTo>
                <a:lnTo>
                  <a:pt x="3" y="20"/>
                </a:lnTo>
                <a:lnTo>
                  <a:pt x="3" y="20"/>
                </a:lnTo>
                <a:lnTo>
                  <a:pt x="3" y="20"/>
                </a:lnTo>
                <a:lnTo>
                  <a:pt x="5" y="20"/>
                </a:lnTo>
                <a:lnTo>
                  <a:pt x="5" y="20"/>
                </a:lnTo>
                <a:lnTo>
                  <a:pt x="5" y="20"/>
                </a:lnTo>
                <a:lnTo>
                  <a:pt x="5" y="19"/>
                </a:lnTo>
                <a:lnTo>
                  <a:pt x="5" y="19"/>
                </a:lnTo>
                <a:lnTo>
                  <a:pt x="5" y="19"/>
                </a:lnTo>
                <a:lnTo>
                  <a:pt x="5" y="19"/>
                </a:lnTo>
                <a:lnTo>
                  <a:pt x="5" y="19"/>
                </a:lnTo>
                <a:lnTo>
                  <a:pt x="5" y="18"/>
                </a:lnTo>
                <a:lnTo>
                  <a:pt x="5" y="18"/>
                </a:lnTo>
                <a:lnTo>
                  <a:pt x="6" y="18"/>
                </a:lnTo>
                <a:lnTo>
                  <a:pt x="6" y="18"/>
                </a:lnTo>
                <a:lnTo>
                  <a:pt x="6" y="18"/>
                </a:lnTo>
                <a:lnTo>
                  <a:pt x="6" y="18"/>
                </a:lnTo>
                <a:lnTo>
                  <a:pt x="6" y="17"/>
                </a:lnTo>
                <a:lnTo>
                  <a:pt x="6" y="17"/>
                </a:lnTo>
                <a:lnTo>
                  <a:pt x="6" y="17"/>
                </a:lnTo>
                <a:lnTo>
                  <a:pt x="6" y="17"/>
                </a:lnTo>
                <a:lnTo>
                  <a:pt x="6" y="17"/>
                </a:lnTo>
                <a:lnTo>
                  <a:pt x="7" y="17"/>
                </a:lnTo>
                <a:lnTo>
                  <a:pt x="7" y="15"/>
                </a:lnTo>
                <a:lnTo>
                  <a:pt x="7" y="15"/>
                </a:lnTo>
                <a:lnTo>
                  <a:pt x="7" y="15"/>
                </a:lnTo>
                <a:lnTo>
                  <a:pt x="7" y="15"/>
                </a:lnTo>
                <a:lnTo>
                  <a:pt x="7" y="15"/>
                </a:lnTo>
                <a:lnTo>
                  <a:pt x="7" y="15"/>
                </a:lnTo>
                <a:lnTo>
                  <a:pt x="7" y="14"/>
                </a:lnTo>
                <a:lnTo>
                  <a:pt x="7" y="14"/>
                </a:lnTo>
                <a:lnTo>
                  <a:pt x="8" y="14"/>
                </a:lnTo>
                <a:lnTo>
                  <a:pt x="8" y="14"/>
                </a:lnTo>
                <a:lnTo>
                  <a:pt x="8" y="14"/>
                </a:lnTo>
                <a:lnTo>
                  <a:pt x="8" y="14"/>
                </a:lnTo>
                <a:lnTo>
                  <a:pt x="8" y="14"/>
                </a:lnTo>
                <a:lnTo>
                  <a:pt x="8" y="13"/>
                </a:lnTo>
                <a:lnTo>
                  <a:pt x="8" y="13"/>
                </a:lnTo>
                <a:lnTo>
                  <a:pt x="8" y="13"/>
                </a:lnTo>
                <a:lnTo>
                  <a:pt x="9" y="13"/>
                </a:lnTo>
                <a:lnTo>
                  <a:pt x="9" y="13"/>
                </a:lnTo>
                <a:lnTo>
                  <a:pt x="9" y="13"/>
                </a:lnTo>
                <a:lnTo>
                  <a:pt x="9" y="12"/>
                </a:lnTo>
                <a:lnTo>
                  <a:pt x="9" y="12"/>
                </a:lnTo>
                <a:lnTo>
                  <a:pt x="9" y="12"/>
                </a:lnTo>
                <a:lnTo>
                  <a:pt x="9" y="12"/>
                </a:lnTo>
                <a:lnTo>
                  <a:pt x="10" y="12"/>
                </a:lnTo>
                <a:lnTo>
                  <a:pt x="10" y="12"/>
                </a:lnTo>
                <a:lnTo>
                  <a:pt x="10" y="12"/>
                </a:lnTo>
                <a:lnTo>
                  <a:pt x="10" y="11"/>
                </a:lnTo>
                <a:lnTo>
                  <a:pt x="10" y="11"/>
                </a:lnTo>
                <a:lnTo>
                  <a:pt x="10" y="11"/>
                </a:lnTo>
                <a:lnTo>
                  <a:pt x="10" y="11"/>
                </a:lnTo>
                <a:lnTo>
                  <a:pt x="10" y="11"/>
                </a:lnTo>
                <a:lnTo>
                  <a:pt x="11" y="11"/>
                </a:lnTo>
                <a:lnTo>
                  <a:pt x="11" y="11"/>
                </a:lnTo>
                <a:lnTo>
                  <a:pt x="11" y="10"/>
                </a:lnTo>
                <a:lnTo>
                  <a:pt x="11" y="10"/>
                </a:lnTo>
                <a:lnTo>
                  <a:pt x="11" y="10"/>
                </a:lnTo>
                <a:lnTo>
                  <a:pt x="11" y="10"/>
                </a:lnTo>
                <a:lnTo>
                  <a:pt x="12" y="10"/>
                </a:lnTo>
                <a:lnTo>
                  <a:pt x="12" y="10"/>
                </a:lnTo>
                <a:lnTo>
                  <a:pt x="12" y="10"/>
                </a:lnTo>
                <a:lnTo>
                  <a:pt x="12" y="9"/>
                </a:lnTo>
                <a:lnTo>
                  <a:pt x="12" y="9"/>
                </a:lnTo>
                <a:lnTo>
                  <a:pt x="12" y="9"/>
                </a:lnTo>
                <a:lnTo>
                  <a:pt x="12" y="9"/>
                </a:lnTo>
                <a:lnTo>
                  <a:pt x="14" y="9"/>
                </a:lnTo>
                <a:lnTo>
                  <a:pt x="14" y="9"/>
                </a:lnTo>
                <a:lnTo>
                  <a:pt x="14" y="9"/>
                </a:lnTo>
                <a:lnTo>
                  <a:pt x="14" y="9"/>
                </a:lnTo>
                <a:lnTo>
                  <a:pt x="14" y="8"/>
                </a:lnTo>
                <a:lnTo>
                  <a:pt x="14" y="8"/>
                </a:lnTo>
                <a:lnTo>
                  <a:pt x="14" y="8"/>
                </a:lnTo>
                <a:lnTo>
                  <a:pt x="15" y="8"/>
                </a:lnTo>
                <a:lnTo>
                  <a:pt x="15" y="8"/>
                </a:lnTo>
                <a:lnTo>
                  <a:pt x="15" y="8"/>
                </a:lnTo>
                <a:lnTo>
                  <a:pt x="15" y="8"/>
                </a:lnTo>
                <a:lnTo>
                  <a:pt x="15" y="8"/>
                </a:lnTo>
                <a:lnTo>
                  <a:pt x="15" y="6"/>
                </a:lnTo>
                <a:lnTo>
                  <a:pt x="16" y="6"/>
                </a:lnTo>
                <a:lnTo>
                  <a:pt x="16" y="6"/>
                </a:lnTo>
                <a:lnTo>
                  <a:pt x="16" y="6"/>
                </a:lnTo>
                <a:lnTo>
                  <a:pt x="16" y="6"/>
                </a:lnTo>
                <a:lnTo>
                  <a:pt x="16" y="6"/>
                </a:lnTo>
                <a:lnTo>
                  <a:pt x="16" y="6"/>
                </a:lnTo>
                <a:lnTo>
                  <a:pt x="17" y="6"/>
                </a:lnTo>
                <a:lnTo>
                  <a:pt x="17" y="6"/>
                </a:lnTo>
                <a:lnTo>
                  <a:pt x="17" y="5"/>
                </a:lnTo>
                <a:lnTo>
                  <a:pt x="17" y="5"/>
                </a:lnTo>
                <a:lnTo>
                  <a:pt x="17" y="5"/>
                </a:lnTo>
                <a:lnTo>
                  <a:pt x="17" y="5"/>
                </a:lnTo>
                <a:lnTo>
                  <a:pt x="18" y="5"/>
                </a:lnTo>
                <a:lnTo>
                  <a:pt x="18" y="5"/>
                </a:lnTo>
                <a:lnTo>
                  <a:pt x="18" y="5"/>
                </a:lnTo>
                <a:lnTo>
                  <a:pt x="18" y="5"/>
                </a:lnTo>
                <a:lnTo>
                  <a:pt x="18" y="5"/>
                </a:lnTo>
                <a:lnTo>
                  <a:pt x="18" y="4"/>
                </a:lnTo>
                <a:lnTo>
                  <a:pt x="19" y="4"/>
                </a:lnTo>
                <a:lnTo>
                  <a:pt x="19" y="4"/>
                </a:lnTo>
                <a:lnTo>
                  <a:pt x="19" y="4"/>
                </a:lnTo>
                <a:lnTo>
                  <a:pt x="19" y="4"/>
                </a:lnTo>
                <a:lnTo>
                  <a:pt x="19" y="4"/>
                </a:lnTo>
                <a:lnTo>
                  <a:pt x="20" y="4"/>
                </a:lnTo>
                <a:lnTo>
                  <a:pt x="20" y="4"/>
                </a:lnTo>
                <a:lnTo>
                  <a:pt x="20" y="4"/>
                </a:lnTo>
                <a:lnTo>
                  <a:pt x="20" y="4"/>
                </a:lnTo>
                <a:lnTo>
                  <a:pt x="20" y="4"/>
                </a:lnTo>
                <a:lnTo>
                  <a:pt x="20" y="3"/>
                </a:lnTo>
                <a:lnTo>
                  <a:pt x="21" y="3"/>
                </a:lnTo>
                <a:lnTo>
                  <a:pt x="21" y="3"/>
                </a:lnTo>
                <a:lnTo>
                  <a:pt x="21" y="3"/>
                </a:lnTo>
                <a:lnTo>
                  <a:pt x="21" y="3"/>
                </a:lnTo>
                <a:lnTo>
                  <a:pt x="21" y="3"/>
                </a:lnTo>
                <a:lnTo>
                  <a:pt x="23" y="3"/>
                </a:lnTo>
                <a:lnTo>
                  <a:pt x="23" y="3"/>
                </a:lnTo>
                <a:lnTo>
                  <a:pt x="23" y="3"/>
                </a:lnTo>
                <a:lnTo>
                  <a:pt x="23" y="3"/>
                </a:lnTo>
                <a:lnTo>
                  <a:pt x="23" y="3"/>
                </a:lnTo>
                <a:lnTo>
                  <a:pt x="23" y="2"/>
                </a:lnTo>
                <a:lnTo>
                  <a:pt x="24" y="2"/>
                </a:lnTo>
                <a:lnTo>
                  <a:pt x="24" y="2"/>
                </a:lnTo>
                <a:lnTo>
                  <a:pt x="24" y="2"/>
                </a:lnTo>
                <a:lnTo>
                  <a:pt x="24" y="2"/>
                </a:lnTo>
                <a:lnTo>
                  <a:pt x="24" y="2"/>
                </a:lnTo>
                <a:lnTo>
                  <a:pt x="25" y="2"/>
                </a:lnTo>
                <a:lnTo>
                  <a:pt x="25" y="2"/>
                </a:lnTo>
                <a:lnTo>
                  <a:pt x="25" y="2"/>
                </a:lnTo>
                <a:lnTo>
                  <a:pt x="25" y="2"/>
                </a:lnTo>
                <a:lnTo>
                  <a:pt x="25" y="2"/>
                </a:lnTo>
                <a:lnTo>
                  <a:pt x="26" y="2"/>
                </a:lnTo>
                <a:lnTo>
                  <a:pt x="26" y="2"/>
                </a:lnTo>
                <a:lnTo>
                  <a:pt x="26" y="2"/>
                </a:lnTo>
                <a:lnTo>
                  <a:pt x="26" y="2"/>
                </a:lnTo>
                <a:lnTo>
                  <a:pt x="26" y="1"/>
                </a:lnTo>
                <a:lnTo>
                  <a:pt x="27" y="1"/>
                </a:lnTo>
                <a:lnTo>
                  <a:pt x="27" y="1"/>
                </a:lnTo>
                <a:lnTo>
                  <a:pt x="27" y="1"/>
                </a:lnTo>
                <a:lnTo>
                  <a:pt x="27" y="1"/>
                </a:lnTo>
                <a:lnTo>
                  <a:pt x="27" y="1"/>
                </a:lnTo>
                <a:lnTo>
                  <a:pt x="28" y="1"/>
                </a:lnTo>
                <a:lnTo>
                  <a:pt x="28" y="1"/>
                </a:lnTo>
                <a:lnTo>
                  <a:pt x="28" y="1"/>
                </a:lnTo>
                <a:lnTo>
                  <a:pt x="28" y="1"/>
                </a:lnTo>
                <a:lnTo>
                  <a:pt x="28" y="1"/>
                </a:lnTo>
                <a:lnTo>
                  <a:pt x="29" y="1"/>
                </a:lnTo>
                <a:lnTo>
                  <a:pt x="29" y="1"/>
                </a:lnTo>
                <a:lnTo>
                  <a:pt x="29" y="1"/>
                </a:lnTo>
                <a:lnTo>
                  <a:pt x="29" y="1"/>
                </a:lnTo>
                <a:lnTo>
                  <a:pt x="29" y="1"/>
                </a:lnTo>
                <a:lnTo>
                  <a:pt x="30" y="1"/>
                </a:lnTo>
                <a:lnTo>
                  <a:pt x="30" y="1"/>
                </a:lnTo>
                <a:lnTo>
                  <a:pt x="30" y="1"/>
                </a:lnTo>
                <a:lnTo>
                  <a:pt x="30" y="1"/>
                </a:lnTo>
                <a:lnTo>
                  <a:pt x="30" y="1"/>
                </a:lnTo>
                <a:lnTo>
                  <a:pt x="32" y="0"/>
                </a:lnTo>
                <a:lnTo>
                  <a:pt x="32" y="0"/>
                </a:lnTo>
                <a:lnTo>
                  <a:pt x="32" y="0"/>
                </a:lnTo>
                <a:lnTo>
                  <a:pt x="32" y="0"/>
                </a:lnTo>
                <a:lnTo>
                  <a:pt x="32" y="0"/>
                </a:lnTo>
                <a:lnTo>
                  <a:pt x="33" y="0"/>
                </a:lnTo>
                <a:lnTo>
                  <a:pt x="33" y="0"/>
                </a:lnTo>
                <a:lnTo>
                  <a:pt x="33" y="0"/>
                </a:lnTo>
                <a:lnTo>
                  <a:pt x="33" y="0"/>
                </a:lnTo>
                <a:lnTo>
                  <a:pt x="33" y="0"/>
                </a:lnTo>
                <a:lnTo>
                  <a:pt x="34" y="0"/>
                </a:lnTo>
                <a:lnTo>
                  <a:pt x="34" y="0"/>
                </a:lnTo>
                <a:lnTo>
                  <a:pt x="34" y="0"/>
                </a:lnTo>
                <a:lnTo>
                  <a:pt x="34" y="0"/>
                </a:lnTo>
                <a:lnTo>
                  <a:pt x="35" y="0"/>
                </a:lnTo>
                <a:lnTo>
                  <a:pt x="35" y="0"/>
                </a:lnTo>
                <a:lnTo>
                  <a:pt x="35" y="0"/>
                </a:lnTo>
                <a:lnTo>
                  <a:pt x="35" y="0"/>
                </a:lnTo>
                <a:lnTo>
                  <a:pt x="35" y="0"/>
                </a:lnTo>
                <a:lnTo>
                  <a:pt x="36" y="0"/>
                </a:lnTo>
                <a:lnTo>
                  <a:pt x="36" y="0"/>
                </a:lnTo>
                <a:lnTo>
                  <a:pt x="36" y="0"/>
                </a:lnTo>
                <a:lnTo>
                  <a:pt x="36" y="0"/>
                </a:lnTo>
                <a:lnTo>
                  <a:pt x="36" y="0"/>
                </a:lnTo>
                <a:lnTo>
                  <a:pt x="37" y="0"/>
                </a:lnTo>
                <a:lnTo>
                  <a:pt x="37" y="0"/>
                </a:lnTo>
                <a:lnTo>
                  <a:pt x="37" y="0"/>
                </a:lnTo>
                <a:lnTo>
                  <a:pt x="37" y="0"/>
                </a:lnTo>
                <a:lnTo>
                  <a:pt x="38" y="0"/>
                </a:lnTo>
                <a:lnTo>
                  <a:pt x="38" y="0"/>
                </a:lnTo>
                <a:lnTo>
                  <a:pt x="38" y="0"/>
                </a:lnTo>
                <a:lnTo>
                  <a:pt x="38" y="0"/>
                </a:lnTo>
                <a:lnTo>
                  <a:pt x="38" y="0"/>
                </a:lnTo>
                <a:lnTo>
                  <a:pt x="39" y="0"/>
                </a:lnTo>
                <a:lnTo>
                  <a:pt x="39" y="0"/>
                </a:lnTo>
                <a:lnTo>
                  <a:pt x="39" y="0"/>
                </a:lnTo>
                <a:lnTo>
                  <a:pt x="39" y="0"/>
                </a:lnTo>
                <a:lnTo>
                  <a:pt x="39" y="0"/>
                </a:lnTo>
                <a:lnTo>
                  <a:pt x="41" y="0"/>
                </a:lnTo>
                <a:lnTo>
                  <a:pt x="41" y="0"/>
                </a:lnTo>
                <a:lnTo>
                  <a:pt x="41" y="0"/>
                </a:lnTo>
                <a:lnTo>
                  <a:pt x="41" y="0"/>
                </a:lnTo>
                <a:lnTo>
                  <a:pt x="42" y="0"/>
                </a:lnTo>
                <a:lnTo>
                  <a:pt x="42" y="0"/>
                </a:lnTo>
                <a:lnTo>
                  <a:pt x="42" y="0"/>
                </a:lnTo>
                <a:lnTo>
                  <a:pt x="42" y="0"/>
                </a:lnTo>
                <a:lnTo>
                  <a:pt x="42" y="0"/>
                </a:lnTo>
                <a:lnTo>
                  <a:pt x="43" y="0"/>
                </a:lnTo>
                <a:lnTo>
                  <a:pt x="43" y="0"/>
                </a:lnTo>
                <a:lnTo>
                  <a:pt x="43" y="0"/>
                </a:lnTo>
                <a:lnTo>
                  <a:pt x="43" y="0"/>
                </a:lnTo>
                <a:lnTo>
                  <a:pt x="43" y="0"/>
                </a:lnTo>
                <a:lnTo>
                  <a:pt x="44" y="0"/>
                </a:lnTo>
                <a:lnTo>
                  <a:pt x="44" y="1"/>
                </a:lnTo>
                <a:lnTo>
                  <a:pt x="44" y="1"/>
                </a:lnTo>
                <a:lnTo>
                  <a:pt x="44" y="1"/>
                </a:lnTo>
                <a:lnTo>
                  <a:pt x="44" y="1"/>
                </a:lnTo>
                <a:lnTo>
                  <a:pt x="45" y="1"/>
                </a:lnTo>
                <a:lnTo>
                  <a:pt x="45" y="1"/>
                </a:lnTo>
                <a:lnTo>
                  <a:pt x="45" y="1"/>
                </a:lnTo>
                <a:lnTo>
                  <a:pt x="45" y="1"/>
                </a:lnTo>
                <a:lnTo>
                  <a:pt x="45" y="1"/>
                </a:lnTo>
                <a:lnTo>
                  <a:pt x="46" y="1"/>
                </a:lnTo>
                <a:lnTo>
                  <a:pt x="46" y="1"/>
                </a:lnTo>
                <a:lnTo>
                  <a:pt x="46" y="1"/>
                </a:lnTo>
                <a:lnTo>
                  <a:pt x="46" y="1"/>
                </a:lnTo>
                <a:lnTo>
                  <a:pt x="46" y="1"/>
                </a:lnTo>
                <a:lnTo>
                  <a:pt x="47" y="1"/>
                </a:lnTo>
                <a:lnTo>
                  <a:pt x="47" y="1"/>
                </a:lnTo>
                <a:lnTo>
                  <a:pt x="47" y="1"/>
                </a:lnTo>
                <a:lnTo>
                  <a:pt x="47" y="1"/>
                </a:lnTo>
                <a:lnTo>
                  <a:pt x="47" y="1"/>
                </a:lnTo>
                <a:lnTo>
                  <a:pt x="48" y="1"/>
                </a:lnTo>
                <a:lnTo>
                  <a:pt x="48" y="1"/>
                </a:lnTo>
                <a:lnTo>
                  <a:pt x="48" y="2"/>
                </a:lnTo>
                <a:lnTo>
                  <a:pt x="48" y="2"/>
                </a:lnTo>
                <a:lnTo>
                  <a:pt x="48" y="2"/>
                </a:lnTo>
                <a:lnTo>
                  <a:pt x="50" y="2"/>
                </a:lnTo>
                <a:lnTo>
                  <a:pt x="50" y="2"/>
                </a:lnTo>
                <a:lnTo>
                  <a:pt x="50" y="2"/>
                </a:lnTo>
                <a:lnTo>
                  <a:pt x="50" y="2"/>
                </a:lnTo>
                <a:lnTo>
                  <a:pt x="50" y="2"/>
                </a:lnTo>
                <a:lnTo>
                  <a:pt x="51" y="2"/>
                </a:lnTo>
                <a:lnTo>
                  <a:pt x="51" y="2"/>
                </a:lnTo>
                <a:lnTo>
                  <a:pt x="51" y="2"/>
                </a:lnTo>
                <a:lnTo>
                  <a:pt x="51" y="2"/>
                </a:lnTo>
                <a:lnTo>
                  <a:pt x="51" y="2"/>
                </a:lnTo>
                <a:lnTo>
                  <a:pt x="52" y="2"/>
                </a:lnTo>
                <a:lnTo>
                  <a:pt x="52" y="2"/>
                </a:lnTo>
                <a:lnTo>
                  <a:pt x="52" y="3"/>
                </a:lnTo>
                <a:lnTo>
                  <a:pt x="52" y="3"/>
                </a:lnTo>
                <a:lnTo>
                  <a:pt x="52" y="3"/>
                </a:lnTo>
                <a:lnTo>
                  <a:pt x="52" y="3"/>
                </a:lnTo>
                <a:lnTo>
                  <a:pt x="53" y="3"/>
                </a:lnTo>
                <a:lnTo>
                  <a:pt x="53" y="3"/>
                </a:lnTo>
                <a:lnTo>
                  <a:pt x="53" y="3"/>
                </a:lnTo>
                <a:lnTo>
                  <a:pt x="53" y="3"/>
                </a:lnTo>
                <a:lnTo>
                  <a:pt x="53" y="3"/>
                </a:lnTo>
                <a:lnTo>
                  <a:pt x="54" y="3"/>
                </a:lnTo>
                <a:lnTo>
                  <a:pt x="54" y="3"/>
                </a:lnTo>
                <a:lnTo>
                  <a:pt x="54" y="4"/>
                </a:lnTo>
                <a:lnTo>
                  <a:pt x="54" y="4"/>
                </a:lnTo>
                <a:lnTo>
                  <a:pt x="54" y="4"/>
                </a:lnTo>
                <a:lnTo>
                  <a:pt x="54" y="4"/>
                </a:lnTo>
                <a:lnTo>
                  <a:pt x="55" y="4"/>
                </a:lnTo>
                <a:lnTo>
                  <a:pt x="55" y="4"/>
                </a:lnTo>
                <a:lnTo>
                  <a:pt x="55" y="4"/>
                </a:lnTo>
                <a:lnTo>
                  <a:pt x="55" y="4"/>
                </a:lnTo>
                <a:lnTo>
                  <a:pt x="55" y="4"/>
                </a:lnTo>
                <a:lnTo>
                  <a:pt x="56" y="4"/>
                </a:lnTo>
                <a:lnTo>
                  <a:pt x="56" y="4"/>
                </a:lnTo>
                <a:lnTo>
                  <a:pt x="56" y="5"/>
                </a:lnTo>
                <a:lnTo>
                  <a:pt x="56" y="5"/>
                </a:lnTo>
                <a:lnTo>
                  <a:pt x="56" y="5"/>
                </a:lnTo>
                <a:lnTo>
                  <a:pt x="56" y="5"/>
                </a:lnTo>
                <a:lnTo>
                  <a:pt x="57" y="5"/>
                </a:lnTo>
                <a:lnTo>
                  <a:pt x="57" y="5"/>
                </a:lnTo>
                <a:lnTo>
                  <a:pt x="57" y="5"/>
                </a:lnTo>
                <a:lnTo>
                  <a:pt x="57" y="5"/>
                </a:lnTo>
                <a:lnTo>
                  <a:pt x="57" y="5"/>
                </a:lnTo>
                <a:lnTo>
                  <a:pt x="57" y="6"/>
                </a:lnTo>
                <a:lnTo>
                  <a:pt x="59" y="6"/>
                </a:lnTo>
                <a:lnTo>
                  <a:pt x="59" y="6"/>
                </a:lnTo>
                <a:lnTo>
                  <a:pt x="59" y="6"/>
                </a:lnTo>
                <a:lnTo>
                  <a:pt x="59" y="6"/>
                </a:lnTo>
                <a:lnTo>
                  <a:pt x="59" y="6"/>
                </a:lnTo>
                <a:lnTo>
                  <a:pt x="59" y="6"/>
                </a:lnTo>
                <a:lnTo>
                  <a:pt x="60" y="6"/>
                </a:lnTo>
                <a:lnTo>
                  <a:pt x="60" y="6"/>
                </a:lnTo>
                <a:lnTo>
                  <a:pt x="60" y="8"/>
                </a:lnTo>
                <a:lnTo>
                  <a:pt x="60" y="8"/>
                </a:lnTo>
                <a:lnTo>
                  <a:pt x="60" y="8"/>
                </a:lnTo>
                <a:lnTo>
                  <a:pt x="60" y="8"/>
                </a:lnTo>
                <a:lnTo>
                  <a:pt x="61" y="8"/>
                </a:lnTo>
                <a:lnTo>
                  <a:pt x="61" y="8"/>
                </a:lnTo>
                <a:lnTo>
                  <a:pt x="61" y="8"/>
                </a:lnTo>
                <a:lnTo>
                  <a:pt x="61" y="8"/>
                </a:lnTo>
                <a:lnTo>
                  <a:pt x="61" y="9"/>
                </a:lnTo>
                <a:lnTo>
                  <a:pt x="61" y="9"/>
                </a:lnTo>
                <a:lnTo>
                  <a:pt x="61" y="9"/>
                </a:lnTo>
                <a:lnTo>
                  <a:pt x="62" y="9"/>
                </a:lnTo>
                <a:lnTo>
                  <a:pt x="62" y="9"/>
                </a:lnTo>
                <a:lnTo>
                  <a:pt x="62" y="9"/>
                </a:lnTo>
                <a:lnTo>
                  <a:pt x="62" y="9"/>
                </a:lnTo>
                <a:lnTo>
                  <a:pt x="62" y="9"/>
                </a:lnTo>
                <a:lnTo>
                  <a:pt x="62" y="10"/>
                </a:lnTo>
                <a:lnTo>
                  <a:pt x="63" y="10"/>
                </a:lnTo>
                <a:lnTo>
                  <a:pt x="63" y="10"/>
                </a:lnTo>
                <a:lnTo>
                  <a:pt x="63" y="10"/>
                </a:lnTo>
                <a:lnTo>
                  <a:pt x="63" y="10"/>
                </a:lnTo>
                <a:lnTo>
                  <a:pt x="63" y="10"/>
                </a:lnTo>
                <a:lnTo>
                  <a:pt x="63" y="10"/>
                </a:lnTo>
                <a:lnTo>
                  <a:pt x="63" y="11"/>
                </a:lnTo>
                <a:lnTo>
                  <a:pt x="64" y="11"/>
                </a:lnTo>
                <a:lnTo>
                  <a:pt x="64" y="11"/>
                </a:lnTo>
                <a:lnTo>
                  <a:pt x="64" y="11"/>
                </a:lnTo>
                <a:lnTo>
                  <a:pt x="64" y="11"/>
                </a:lnTo>
                <a:lnTo>
                  <a:pt x="64" y="11"/>
                </a:lnTo>
                <a:lnTo>
                  <a:pt x="64" y="11"/>
                </a:lnTo>
                <a:lnTo>
                  <a:pt x="64" y="12"/>
                </a:lnTo>
                <a:lnTo>
                  <a:pt x="65" y="12"/>
                </a:lnTo>
                <a:lnTo>
                  <a:pt x="65" y="12"/>
                </a:lnTo>
                <a:lnTo>
                  <a:pt x="65" y="12"/>
                </a:lnTo>
                <a:lnTo>
                  <a:pt x="65" y="12"/>
                </a:lnTo>
                <a:lnTo>
                  <a:pt x="65" y="12"/>
                </a:lnTo>
                <a:lnTo>
                  <a:pt x="65" y="12"/>
                </a:lnTo>
                <a:lnTo>
                  <a:pt x="65" y="13"/>
                </a:lnTo>
                <a:lnTo>
                  <a:pt x="65" y="13"/>
                </a:lnTo>
                <a:lnTo>
                  <a:pt x="66" y="13"/>
                </a:lnTo>
                <a:lnTo>
                  <a:pt x="66" y="13"/>
                </a:lnTo>
                <a:lnTo>
                  <a:pt x="66" y="13"/>
                </a:lnTo>
                <a:lnTo>
                  <a:pt x="66" y="13"/>
                </a:lnTo>
                <a:lnTo>
                  <a:pt x="66" y="14"/>
                </a:lnTo>
                <a:lnTo>
                  <a:pt x="66" y="14"/>
                </a:lnTo>
                <a:lnTo>
                  <a:pt x="66" y="14"/>
                </a:lnTo>
                <a:lnTo>
                  <a:pt x="66" y="14"/>
                </a:lnTo>
                <a:lnTo>
                  <a:pt x="68" y="14"/>
                </a:lnTo>
                <a:lnTo>
                  <a:pt x="68" y="14"/>
                </a:lnTo>
                <a:lnTo>
                  <a:pt x="68" y="14"/>
                </a:lnTo>
                <a:lnTo>
                  <a:pt x="68" y="15"/>
                </a:lnTo>
                <a:lnTo>
                  <a:pt x="68" y="15"/>
                </a:lnTo>
                <a:lnTo>
                  <a:pt x="68" y="15"/>
                </a:lnTo>
                <a:lnTo>
                  <a:pt x="68" y="15"/>
                </a:lnTo>
                <a:lnTo>
                  <a:pt x="68" y="15"/>
                </a:lnTo>
                <a:lnTo>
                  <a:pt x="69" y="15"/>
                </a:lnTo>
                <a:lnTo>
                  <a:pt x="69" y="17"/>
                </a:lnTo>
                <a:lnTo>
                  <a:pt x="69" y="17"/>
                </a:lnTo>
                <a:lnTo>
                  <a:pt x="69" y="17"/>
                </a:lnTo>
                <a:lnTo>
                  <a:pt x="69" y="17"/>
                </a:lnTo>
                <a:lnTo>
                  <a:pt x="69" y="17"/>
                </a:lnTo>
                <a:lnTo>
                  <a:pt x="69" y="17"/>
                </a:lnTo>
                <a:lnTo>
                  <a:pt x="69" y="18"/>
                </a:lnTo>
                <a:lnTo>
                  <a:pt x="69" y="18"/>
                </a:lnTo>
                <a:lnTo>
                  <a:pt x="70" y="18"/>
                </a:lnTo>
                <a:lnTo>
                  <a:pt x="70" y="18"/>
                </a:lnTo>
                <a:lnTo>
                  <a:pt x="70" y="18"/>
                </a:lnTo>
                <a:lnTo>
                  <a:pt x="70" y="18"/>
                </a:lnTo>
                <a:lnTo>
                  <a:pt x="70" y="19"/>
                </a:lnTo>
                <a:lnTo>
                  <a:pt x="70" y="19"/>
                </a:lnTo>
                <a:lnTo>
                  <a:pt x="70" y="19"/>
                </a:lnTo>
                <a:lnTo>
                  <a:pt x="70" y="19"/>
                </a:lnTo>
                <a:lnTo>
                  <a:pt x="70" y="19"/>
                </a:lnTo>
                <a:lnTo>
                  <a:pt x="70" y="20"/>
                </a:lnTo>
                <a:lnTo>
                  <a:pt x="71" y="20"/>
                </a:lnTo>
                <a:lnTo>
                  <a:pt x="71" y="20"/>
                </a:lnTo>
                <a:lnTo>
                  <a:pt x="71" y="20"/>
                </a:lnTo>
                <a:lnTo>
                  <a:pt x="71" y="20"/>
                </a:lnTo>
                <a:lnTo>
                  <a:pt x="71" y="20"/>
                </a:lnTo>
                <a:lnTo>
                  <a:pt x="71" y="21"/>
                </a:lnTo>
                <a:lnTo>
                  <a:pt x="71" y="21"/>
                </a:lnTo>
                <a:lnTo>
                  <a:pt x="71" y="21"/>
                </a:lnTo>
                <a:lnTo>
                  <a:pt x="71" y="21"/>
                </a:lnTo>
                <a:lnTo>
                  <a:pt x="71" y="21"/>
                </a:lnTo>
                <a:lnTo>
                  <a:pt x="71" y="22"/>
                </a:lnTo>
                <a:lnTo>
                  <a:pt x="72" y="22"/>
                </a:lnTo>
                <a:lnTo>
                  <a:pt x="72" y="22"/>
                </a:lnTo>
                <a:lnTo>
                  <a:pt x="72" y="22"/>
                </a:lnTo>
                <a:lnTo>
                  <a:pt x="72" y="22"/>
                </a:lnTo>
                <a:lnTo>
                  <a:pt x="72" y="22"/>
                </a:lnTo>
                <a:lnTo>
                  <a:pt x="72" y="23"/>
                </a:lnTo>
                <a:lnTo>
                  <a:pt x="72" y="23"/>
                </a:lnTo>
                <a:lnTo>
                  <a:pt x="72" y="23"/>
                </a:lnTo>
                <a:lnTo>
                  <a:pt x="72" y="23"/>
                </a:lnTo>
                <a:lnTo>
                  <a:pt x="72" y="23"/>
                </a:lnTo>
                <a:lnTo>
                  <a:pt x="72" y="24"/>
                </a:lnTo>
                <a:lnTo>
                  <a:pt x="72" y="24"/>
                </a:lnTo>
                <a:lnTo>
                  <a:pt x="72" y="24"/>
                </a:lnTo>
                <a:lnTo>
                  <a:pt x="73" y="24"/>
                </a:lnTo>
                <a:lnTo>
                  <a:pt x="73" y="24"/>
                </a:lnTo>
                <a:lnTo>
                  <a:pt x="73" y="26"/>
                </a:lnTo>
                <a:lnTo>
                  <a:pt x="73" y="26"/>
                </a:lnTo>
                <a:lnTo>
                  <a:pt x="73" y="26"/>
                </a:lnTo>
                <a:lnTo>
                  <a:pt x="73" y="26"/>
                </a:lnTo>
                <a:lnTo>
                  <a:pt x="73" y="26"/>
                </a:lnTo>
                <a:lnTo>
                  <a:pt x="73" y="27"/>
                </a:lnTo>
                <a:lnTo>
                  <a:pt x="73" y="27"/>
                </a:lnTo>
                <a:lnTo>
                  <a:pt x="73" y="27"/>
                </a:lnTo>
                <a:lnTo>
                  <a:pt x="73" y="27"/>
                </a:lnTo>
                <a:lnTo>
                  <a:pt x="73" y="27"/>
                </a:lnTo>
                <a:lnTo>
                  <a:pt x="73" y="28"/>
                </a:lnTo>
                <a:lnTo>
                  <a:pt x="73" y="28"/>
                </a:lnTo>
                <a:lnTo>
                  <a:pt x="73" y="28"/>
                </a:lnTo>
                <a:lnTo>
                  <a:pt x="73" y="28"/>
                </a:lnTo>
                <a:lnTo>
                  <a:pt x="73" y="28"/>
                </a:lnTo>
                <a:lnTo>
                  <a:pt x="74" y="28"/>
                </a:lnTo>
                <a:lnTo>
                  <a:pt x="74" y="29"/>
                </a:lnTo>
                <a:lnTo>
                  <a:pt x="74" y="29"/>
                </a:lnTo>
                <a:lnTo>
                  <a:pt x="74" y="29"/>
                </a:lnTo>
                <a:lnTo>
                  <a:pt x="74" y="29"/>
                </a:lnTo>
                <a:lnTo>
                  <a:pt x="74" y="30"/>
                </a:lnTo>
                <a:lnTo>
                  <a:pt x="74" y="30"/>
                </a:lnTo>
                <a:lnTo>
                  <a:pt x="74" y="30"/>
                </a:lnTo>
                <a:lnTo>
                  <a:pt x="74" y="30"/>
                </a:lnTo>
                <a:lnTo>
                  <a:pt x="74" y="30"/>
                </a:lnTo>
                <a:lnTo>
                  <a:pt x="74" y="31"/>
                </a:lnTo>
                <a:lnTo>
                  <a:pt x="74" y="31"/>
                </a:lnTo>
                <a:lnTo>
                  <a:pt x="74" y="31"/>
                </a:lnTo>
                <a:lnTo>
                  <a:pt x="74" y="31"/>
                </a:lnTo>
                <a:lnTo>
                  <a:pt x="74" y="31"/>
                </a:lnTo>
                <a:lnTo>
                  <a:pt x="74" y="32"/>
                </a:lnTo>
                <a:lnTo>
                  <a:pt x="74" y="32"/>
                </a:lnTo>
                <a:lnTo>
                  <a:pt x="74" y="32"/>
                </a:lnTo>
                <a:lnTo>
                  <a:pt x="74" y="32"/>
                </a:lnTo>
                <a:lnTo>
                  <a:pt x="74" y="32"/>
                </a:lnTo>
                <a:lnTo>
                  <a:pt x="74" y="34"/>
                </a:lnTo>
                <a:lnTo>
                  <a:pt x="74" y="34"/>
                </a:lnTo>
                <a:lnTo>
                  <a:pt x="74" y="34"/>
                </a:lnTo>
                <a:lnTo>
                  <a:pt x="74" y="34"/>
                </a:lnTo>
                <a:lnTo>
                  <a:pt x="74" y="34"/>
                </a:lnTo>
                <a:lnTo>
                  <a:pt x="74" y="35"/>
                </a:lnTo>
                <a:lnTo>
                  <a:pt x="74" y="35"/>
                </a:lnTo>
                <a:lnTo>
                  <a:pt x="74" y="35"/>
                </a:lnTo>
                <a:lnTo>
                  <a:pt x="74" y="35"/>
                </a:lnTo>
                <a:lnTo>
                  <a:pt x="74" y="36"/>
                </a:lnTo>
                <a:lnTo>
                  <a:pt x="74" y="36"/>
                </a:lnTo>
                <a:lnTo>
                  <a:pt x="74" y="36"/>
                </a:lnTo>
                <a:lnTo>
                  <a:pt x="74" y="36"/>
                </a:lnTo>
                <a:lnTo>
                  <a:pt x="74" y="36"/>
                </a:lnTo>
                <a:lnTo>
                  <a:pt x="74" y="37"/>
                </a:lnTo>
                <a:lnTo>
                  <a:pt x="74" y="37"/>
                </a:lnTo>
                <a:lnTo>
                  <a:pt x="74" y="37"/>
                </a:lnTo>
                <a:lnTo>
                  <a:pt x="74" y="37"/>
                </a:lnTo>
                <a:lnTo>
                  <a:pt x="74" y="37"/>
                </a:lnTo>
                <a:lnTo>
                  <a:pt x="74" y="38"/>
                </a:lnTo>
                <a:lnTo>
                  <a:pt x="74" y="38"/>
                </a:lnTo>
                <a:lnTo>
                  <a:pt x="74" y="38"/>
                </a:lnTo>
                <a:lnTo>
                  <a:pt x="74" y="38"/>
                </a:lnTo>
                <a:lnTo>
                  <a:pt x="74" y="39"/>
                </a:lnTo>
                <a:lnTo>
                  <a:pt x="74" y="39"/>
                </a:lnTo>
                <a:lnTo>
                  <a:pt x="74" y="39"/>
                </a:lnTo>
                <a:lnTo>
                  <a:pt x="74" y="39"/>
                </a:lnTo>
                <a:lnTo>
                  <a:pt x="74" y="39"/>
                </a:lnTo>
                <a:lnTo>
                  <a:pt x="74" y="40"/>
                </a:lnTo>
                <a:lnTo>
                  <a:pt x="74" y="40"/>
                </a:lnTo>
                <a:lnTo>
                  <a:pt x="74" y="40"/>
                </a:lnTo>
                <a:lnTo>
                  <a:pt x="74" y="40"/>
                </a:lnTo>
                <a:lnTo>
                  <a:pt x="74" y="40"/>
                </a:lnTo>
                <a:lnTo>
                  <a:pt x="74" y="41"/>
                </a:lnTo>
                <a:lnTo>
                  <a:pt x="74" y="41"/>
                </a:lnTo>
                <a:lnTo>
                  <a:pt x="74" y="41"/>
                </a:lnTo>
                <a:lnTo>
                  <a:pt x="74" y="41"/>
                </a:lnTo>
                <a:lnTo>
                  <a:pt x="74" y="41"/>
                </a:lnTo>
                <a:lnTo>
                  <a:pt x="74" y="43"/>
                </a:lnTo>
                <a:lnTo>
                  <a:pt x="74" y="43"/>
                </a:lnTo>
                <a:lnTo>
                  <a:pt x="74" y="43"/>
                </a:lnTo>
                <a:lnTo>
                  <a:pt x="74" y="43"/>
                </a:lnTo>
                <a:lnTo>
                  <a:pt x="74" y="44"/>
                </a:lnTo>
                <a:lnTo>
                  <a:pt x="74" y="44"/>
                </a:lnTo>
                <a:lnTo>
                  <a:pt x="74" y="44"/>
                </a:lnTo>
                <a:lnTo>
                  <a:pt x="74" y="44"/>
                </a:lnTo>
                <a:lnTo>
                  <a:pt x="74" y="44"/>
                </a:lnTo>
                <a:lnTo>
                  <a:pt x="74" y="45"/>
                </a:lnTo>
                <a:lnTo>
                  <a:pt x="74" y="45"/>
                </a:lnTo>
                <a:lnTo>
                  <a:pt x="74" y="45"/>
                </a:lnTo>
                <a:lnTo>
                  <a:pt x="74" y="45"/>
                </a:lnTo>
                <a:lnTo>
                  <a:pt x="74" y="45"/>
                </a:lnTo>
                <a:lnTo>
                  <a:pt x="74" y="46"/>
                </a:lnTo>
                <a:lnTo>
                  <a:pt x="74" y="46"/>
                </a:lnTo>
                <a:lnTo>
                  <a:pt x="74" y="46"/>
                </a:lnTo>
                <a:lnTo>
                  <a:pt x="74" y="46"/>
                </a:lnTo>
                <a:lnTo>
                  <a:pt x="74" y="46"/>
                </a:lnTo>
                <a:lnTo>
                  <a:pt x="73" y="47"/>
                </a:lnTo>
                <a:lnTo>
                  <a:pt x="73" y="47"/>
                </a:lnTo>
                <a:lnTo>
                  <a:pt x="73" y="47"/>
                </a:lnTo>
                <a:lnTo>
                  <a:pt x="73" y="47"/>
                </a:lnTo>
                <a:lnTo>
                  <a:pt x="73" y="47"/>
                </a:lnTo>
                <a:lnTo>
                  <a:pt x="73" y="48"/>
                </a:lnTo>
                <a:lnTo>
                  <a:pt x="73" y="48"/>
                </a:lnTo>
                <a:lnTo>
                  <a:pt x="73" y="48"/>
                </a:lnTo>
                <a:lnTo>
                  <a:pt x="73" y="48"/>
                </a:lnTo>
                <a:lnTo>
                  <a:pt x="73" y="48"/>
                </a:lnTo>
                <a:lnTo>
                  <a:pt x="73" y="49"/>
                </a:lnTo>
                <a:lnTo>
                  <a:pt x="73" y="49"/>
                </a:lnTo>
                <a:lnTo>
                  <a:pt x="73" y="49"/>
                </a:lnTo>
                <a:lnTo>
                  <a:pt x="73" y="49"/>
                </a:lnTo>
                <a:lnTo>
                  <a:pt x="73" y="49"/>
                </a:lnTo>
                <a:lnTo>
                  <a:pt x="73" y="50"/>
                </a:lnTo>
                <a:lnTo>
                  <a:pt x="73" y="50"/>
                </a:lnTo>
                <a:lnTo>
                  <a:pt x="72" y="50"/>
                </a:lnTo>
                <a:lnTo>
                  <a:pt x="72" y="50"/>
                </a:lnTo>
                <a:lnTo>
                  <a:pt x="72" y="50"/>
                </a:lnTo>
                <a:lnTo>
                  <a:pt x="72" y="50"/>
                </a:lnTo>
                <a:lnTo>
                  <a:pt x="72" y="52"/>
                </a:lnTo>
                <a:lnTo>
                  <a:pt x="72" y="52"/>
                </a:lnTo>
                <a:lnTo>
                  <a:pt x="72" y="52"/>
                </a:lnTo>
                <a:lnTo>
                  <a:pt x="72" y="52"/>
                </a:lnTo>
                <a:lnTo>
                  <a:pt x="72" y="52"/>
                </a:lnTo>
                <a:lnTo>
                  <a:pt x="72" y="53"/>
                </a:lnTo>
                <a:lnTo>
                  <a:pt x="72" y="53"/>
                </a:lnTo>
                <a:lnTo>
                  <a:pt x="72" y="53"/>
                </a:lnTo>
                <a:lnTo>
                  <a:pt x="72" y="53"/>
                </a:lnTo>
                <a:lnTo>
                  <a:pt x="71" y="53"/>
                </a:lnTo>
                <a:lnTo>
                  <a:pt x="71" y="54"/>
                </a:lnTo>
                <a:lnTo>
                  <a:pt x="71" y="54"/>
                </a:lnTo>
                <a:lnTo>
                  <a:pt x="71" y="54"/>
                </a:lnTo>
                <a:lnTo>
                  <a:pt x="71" y="54"/>
                </a:lnTo>
                <a:lnTo>
                  <a:pt x="71" y="54"/>
                </a:lnTo>
                <a:lnTo>
                  <a:pt x="71" y="54"/>
                </a:lnTo>
                <a:lnTo>
                  <a:pt x="71" y="55"/>
                </a:lnTo>
                <a:lnTo>
                  <a:pt x="71" y="55"/>
                </a:lnTo>
                <a:lnTo>
                  <a:pt x="71" y="55"/>
                </a:lnTo>
                <a:lnTo>
                  <a:pt x="71" y="55"/>
                </a:lnTo>
                <a:lnTo>
                  <a:pt x="70" y="55"/>
                </a:lnTo>
                <a:lnTo>
                  <a:pt x="70" y="56"/>
                </a:lnTo>
                <a:lnTo>
                  <a:pt x="70" y="56"/>
                </a:lnTo>
                <a:lnTo>
                  <a:pt x="70" y="56"/>
                </a:lnTo>
                <a:lnTo>
                  <a:pt x="70" y="56"/>
                </a:lnTo>
                <a:lnTo>
                  <a:pt x="70" y="56"/>
                </a:lnTo>
                <a:lnTo>
                  <a:pt x="70" y="56"/>
                </a:lnTo>
                <a:lnTo>
                  <a:pt x="70" y="57"/>
                </a:lnTo>
                <a:lnTo>
                  <a:pt x="70" y="57"/>
                </a:lnTo>
                <a:lnTo>
                  <a:pt x="70" y="57"/>
                </a:lnTo>
                <a:lnTo>
                  <a:pt x="69" y="57"/>
                </a:lnTo>
                <a:lnTo>
                  <a:pt x="69" y="57"/>
                </a:lnTo>
                <a:lnTo>
                  <a:pt x="69" y="57"/>
                </a:lnTo>
                <a:lnTo>
                  <a:pt x="69" y="58"/>
                </a:lnTo>
                <a:lnTo>
                  <a:pt x="69" y="58"/>
                </a:lnTo>
                <a:lnTo>
                  <a:pt x="69" y="58"/>
                </a:lnTo>
                <a:lnTo>
                  <a:pt x="69" y="58"/>
                </a:lnTo>
                <a:lnTo>
                  <a:pt x="69" y="58"/>
                </a:lnTo>
                <a:lnTo>
                  <a:pt x="69" y="58"/>
                </a:lnTo>
                <a:lnTo>
                  <a:pt x="68" y="59"/>
                </a:lnTo>
                <a:lnTo>
                  <a:pt x="68" y="59"/>
                </a:lnTo>
                <a:lnTo>
                  <a:pt x="68" y="59"/>
                </a:lnTo>
                <a:lnTo>
                  <a:pt x="68" y="59"/>
                </a:lnTo>
                <a:lnTo>
                  <a:pt x="68" y="59"/>
                </a:lnTo>
                <a:lnTo>
                  <a:pt x="68" y="59"/>
                </a:lnTo>
                <a:lnTo>
                  <a:pt x="68" y="61"/>
                </a:lnTo>
                <a:lnTo>
                  <a:pt x="68" y="61"/>
                </a:lnTo>
                <a:lnTo>
                  <a:pt x="66" y="61"/>
                </a:lnTo>
                <a:lnTo>
                  <a:pt x="66" y="61"/>
                </a:lnTo>
                <a:lnTo>
                  <a:pt x="66" y="61"/>
                </a:lnTo>
                <a:lnTo>
                  <a:pt x="66" y="61"/>
                </a:lnTo>
                <a:lnTo>
                  <a:pt x="66" y="61"/>
                </a:lnTo>
                <a:lnTo>
                  <a:pt x="66" y="62"/>
                </a:lnTo>
                <a:lnTo>
                  <a:pt x="66" y="62"/>
                </a:lnTo>
                <a:lnTo>
                  <a:pt x="66" y="62"/>
                </a:lnTo>
                <a:lnTo>
                  <a:pt x="65" y="62"/>
                </a:lnTo>
                <a:lnTo>
                  <a:pt x="65" y="62"/>
                </a:lnTo>
                <a:lnTo>
                  <a:pt x="65" y="62"/>
                </a:lnTo>
                <a:lnTo>
                  <a:pt x="65" y="63"/>
                </a:lnTo>
                <a:lnTo>
                  <a:pt x="65" y="63"/>
                </a:lnTo>
                <a:lnTo>
                  <a:pt x="65" y="63"/>
                </a:lnTo>
                <a:lnTo>
                  <a:pt x="65" y="63"/>
                </a:lnTo>
                <a:lnTo>
                  <a:pt x="65" y="63"/>
                </a:lnTo>
                <a:lnTo>
                  <a:pt x="64" y="63"/>
                </a:lnTo>
                <a:lnTo>
                  <a:pt x="64" y="63"/>
                </a:lnTo>
                <a:lnTo>
                  <a:pt x="64" y="64"/>
                </a:lnTo>
                <a:lnTo>
                  <a:pt x="64" y="64"/>
                </a:lnTo>
                <a:lnTo>
                  <a:pt x="64" y="64"/>
                </a:lnTo>
                <a:lnTo>
                  <a:pt x="64" y="64"/>
                </a:lnTo>
                <a:lnTo>
                  <a:pt x="64" y="64"/>
                </a:lnTo>
                <a:lnTo>
                  <a:pt x="63" y="64"/>
                </a:lnTo>
                <a:lnTo>
                  <a:pt x="63" y="64"/>
                </a:lnTo>
                <a:lnTo>
                  <a:pt x="63" y="65"/>
                </a:lnTo>
                <a:lnTo>
                  <a:pt x="63" y="65"/>
                </a:lnTo>
                <a:lnTo>
                  <a:pt x="63" y="65"/>
                </a:lnTo>
                <a:lnTo>
                  <a:pt x="63" y="65"/>
                </a:lnTo>
                <a:lnTo>
                  <a:pt x="63" y="65"/>
                </a:lnTo>
                <a:lnTo>
                  <a:pt x="62" y="65"/>
                </a:lnTo>
                <a:lnTo>
                  <a:pt x="62" y="65"/>
                </a:lnTo>
                <a:lnTo>
                  <a:pt x="62" y="66"/>
                </a:lnTo>
                <a:lnTo>
                  <a:pt x="62" y="66"/>
                </a:lnTo>
                <a:lnTo>
                  <a:pt x="62" y="66"/>
                </a:lnTo>
                <a:lnTo>
                  <a:pt x="62" y="66"/>
                </a:lnTo>
                <a:lnTo>
                  <a:pt x="61" y="66"/>
                </a:lnTo>
                <a:lnTo>
                  <a:pt x="61" y="66"/>
                </a:lnTo>
                <a:lnTo>
                  <a:pt x="61" y="66"/>
                </a:lnTo>
                <a:lnTo>
                  <a:pt x="61" y="66"/>
                </a:lnTo>
                <a:lnTo>
                  <a:pt x="61" y="67"/>
                </a:lnTo>
                <a:lnTo>
                  <a:pt x="61" y="67"/>
                </a:lnTo>
                <a:lnTo>
                  <a:pt x="61" y="67"/>
                </a:lnTo>
                <a:lnTo>
                  <a:pt x="60" y="67"/>
                </a:lnTo>
                <a:lnTo>
                  <a:pt x="60" y="67"/>
                </a:lnTo>
                <a:lnTo>
                  <a:pt x="60" y="67"/>
                </a:lnTo>
                <a:lnTo>
                  <a:pt x="60" y="67"/>
                </a:lnTo>
                <a:lnTo>
                  <a:pt x="60" y="67"/>
                </a:lnTo>
                <a:lnTo>
                  <a:pt x="60" y="68"/>
                </a:lnTo>
                <a:lnTo>
                  <a:pt x="59" y="68"/>
                </a:lnTo>
                <a:lnTo>
                  <a:pt x="59" y="68"/>
                </a:lnTo>
                <a:lnTo>
                  <a:pt x="59" y="68"/>
                </a:lnTo>
                <a:lnTo>
                  <a:pt x="59" y="68"/>
                </a:lnTo>
                <a:lnTo>
                  <a:pt x="59" y="68"/>
                </a:lnTo>
                <a:lnTo>
                  <a:pt x="59" y="68"/>
                </a:lnTo>
                <a:lnTo>
                  <a:pt x="57" y="68"/>
                </a:lnTo>
                <a:lnTo>
                  <a:pt x="57" y="68"/>
                </a:lnTo>
                <a:lnTo>
                  <a:pt x="57" y="70"/>
                </a:lnTo>
                <a:lnTo>
                  <a:pt x="57" y="70"/>
                </a:lnTo>
                <a:lnTo>
                  <a:pt x="57" y="70"/>
                </a:lnTo>
                <a:lnTo>
                  <a:pt x="57" y="70"/>
                </a:lnTo>
                <a:lnTo>
                  <a:pt x="56" y="70"/>
                </a:lnTo>
                <a:lnTo>
                  <a:pt x="56" y="70"/>
                </a:lnTo>
                <a:lnTo>
                  <a:pt x="56" y="70"/>
                </a:lnTo>
                <a:lnTo>
                  <a:pt x="56" y="70"/>
                </a:lnTo>
                <a:lnTo>
                  <a:pt x="56" y="70"/>
                </a:lnTo>
                <a:lnTo>
                  <a:pt x="56" y="70"/>
                </a:lnTo>
                <a:lnTo>
                  <a:pt x="55" y="71"/>
                </a:lnTo>
                <a:lnTo>
                  <a:pt x="55" y="71"/>
                </a:lnTo>
                <a:lnTo>
                  <a:pt x="55" y="71"/>
                </a:lnTo>
                <a:lnTo>
                  <a:pt x="55" y="71"/>
                </a:lnTo>
                <a:lnTo>
                  <a:pt x="55" y="71"/>
                </a:lnTo>
                <a:lnTo>
                  <a:pt x="54" y="71"/>
                </a:lnTo>
                <a:lnTo>
                  <a:pt x="54" y="71"/>
                </a:lnTo>
                <a:lnTo>
                  <a:pt x="54" y="71"/>
                </a:lnTo>
                <a:lnTo>
                  <a:pt x="54" y="71"/>
                </a:lnTo>
                <a:lnTo>
                  <a:pt x="54" y="71"/>
                </a:lnTo>
                <a:lnTo>
                  <a:pt x="54" y="72"/>
                </a:lnTo>
                <a:lnTo>
                  <a:pt x="53" y="72"/>
                </a:lnTo>
                <a:lnTo>
                  <a:pt x="53" y="72"/>
                </a:lnTo>
                <a:lnTo>
                  <a:pt x="53" y="72"/>
                </a:lnTo>
                <a:lnTo>
                  <a:pt x="53" y="72"/>
                </a:lnTo>
                <a:lnTo>
                  <a:pt x="53" y="72"/>
                </a:lnTo>
                <a:lnTo>
                  <a:pt x="52" y="72"/>
                </a:lnTo>
                <a:lnTo>
                  <a:pt x="52" y="72"/>
                </a:lnTo>
                <a:lnTo>
                  <a:pt x="52" y="72"/>
                </a:lnTo>
                <a:lnTo>
                  <a:pt x="52" y="72"/>
                </a:lnTo>
                <a:lnTo>
                  <a:pt x="52" y="72"/>
                </a:lnTo>
                <a:lnTo>
                  <a:pt x="52" y="72"/>
                </a:lnTo>
                <a:lnTo>
                  <a:pt x="51" y="72"/>
                </a:lnTo>
                <a:lnTo>
                  <a:pt x="51" y="73"/>
                </a:lnTo>
                <a:lnTo>
                  <a:pt x="51" y="73"/>
                </a:lnTo>
                <a:lnTo>
                  <a:pt x="51" y="73"/>
                </a:lnTo>
                <a:lnTo>
                  <a:pt x="51" y="73"/>
                </a:lnTo>
                <a:lnTo>
                  <a:pt x="50" y="73"/>
                </a:lnTo>
                <a:lnTo>
                  <a:pt x="50" y="73"/>
                </a:lnTo>
                <a:lnTo>
                  <a:pt x="50" y="73"/>
                </a:lnTo>
                <a:lnTo>
                  <a:pt x="50" y="73"/>
                </a:lnTo>
                <a:lnTo>
                  <a:pt x="50" y="73"/>
                </a:lnTo>
                <a:lnTo>
                  <a:pt x="48" y="73"/>
                </a:lnTo>
                <a:lnTo>
                  <a:pt x="48" y="73"/>
                </a:lnTo>
                <a:lnTo>
                  <a:pt x="48" y="73"/>
                </a:lnTo>
                <a:lnTo>
                  <a:pt x="48" y="73"/>
                </a:lnTo>
                <a:lnTo>
                  <a:pt x="48" y="73"/>
                </a:lnTo>
                <a:lnTo>
                  <a:pt x="47" y="73"/>
                </a:lnTo>
                <a:lnTo>
                  <a:pt x="47" y="74"/>
                </a:lnTo>
                <a:lnTo>
                  <a:pt x="47" y="74"/>
                </a:lnTo>
                <a:lnTo>
                  <a:pt x="47" y="74"/>
                </a:lnTo>
                <a:lnTo>
                  <a:pt x="47" y="74"/>
                </a:lnTo>
                <a:lnTo>
                  <a:pt x="46" y="74"/>
                </a:lnTo>
                <a:lnTo>
                  <a:pt x="46" y="74"/>
                </a:lnTo>
                <a:lnTo>
                  <a:pt x="46" y="74"/>
                </a:lnTo>
                <a:lnTo>
                  <a:pt x="46" y="74"/>
                </a:lnTo>
                <a:lnTo>
                  <a:pt x="46" y="74"/>
                </a:lnTo>
                <a:lnTo>
                  <a:pt x="45" y="74"/>
                </a:lnTo>
                <a:lnTo>
                  <a:pt x="45" y="74"/>
                </a:lnTo>
                <a:lnTo>
                  <a:pt x="45" y="74"/>
                </a:lnTo>
                <a:lnTo>
                  <a:pt x="45" y="74"/>
                </a:lnTo>
                <a:lnTo>
                  <a:pt x="45" y="74"/>
                </a:lnTo>
                <a:lnTo>
                  <a:pt x="44" y="74"/>
                </a:lnTo>
                <a:lnTo>
                  <a:pt x="44" y="74"/>
                </a:lnTo>
                <a:lnTo>
                  <a:pt x="44" y="74"/>
                </a:lnTo>
                <a:lnTo>
                  <a:pt x="44" y="74"/>
                </a:lnTo>
                <a:lnTo>
                  <a:pt x="44" y="74"/>
                </a:lnTo>
                <a:lnTo>
                  <a:pt x="43" y="74"/>
                </a:lnTo>
                <a:lnTo>
                  <a:pt x="43" y="74"/>
                </a:lnTo>
                <a:lnTo>
                  <a:pt x="43" y="74"/>
                </a:lnTo>
                <a:lnTo>
                  <a:pt x="43" y="75"/>
                </a:lnTo>
                <a:lnTo>
                  <a:pt x="43" y="75"/>
                </a:lnTo>
                <a:lnTo>
                  <a:pt x="42" y="75"/>
                </a:lnTo>
                <a:lnTo>
                  <a:pt x="42" y="75"/>
                </a:lnTo>
                <a:lnTo>
                  <a:pt x="42" y="75"/>
                </a:lnTo>
                <a:lnTo>
                  <a:pt x="42" y="75"/>
                </a:lnTo>
                <a:lnTo>
                  <a:pt x="42" y="75"/>
                </a:lnTo>
                <a:lnTo>
                  <a:pt x="41" y="75"/>
                </a:lnTo>
                <a:lnTo>
                  <a:pt x="41" y="75"/>
                </a:lnTo>
                <a:lnTo>
                  <a:pt x="41" y="75"/>
                </a:lnTo>
                <a:lnTo>
                  <a:pt x="41" y="75"/>
                </a:lnTo>
                <a:lnTo>
                  <a:pt x="39" y="75"/>
                </a:lnTo>
                <a:lnTo>
                  <a:pt x="39" y="75"/>
                </a:lnTo>
                <a:lnTo>
                  <a:pt x="39" y="75"/>
                </a:lnTo>
                <a:lnTo>
                  <a:pt x="39" y="75"/>
                </a:lnTo>
                <a:lnTo>
                  <a:pt x="39" y="75"/>
                </a:lnTo>
                <a:lnTo>
                  <a:pt x="38" y="75"/>
                </a:lnTo>
                <a:lnTo>
                  <a:pt x="38" y="75"/>
                </a:lnTo>
                <a:lnTo>
                  <a:pt x="38" y="75"/>
                </a:lnTo>
                <a:lnTo>
                  <a:pt x="38" y="75"/>
                </a:lnTo>
                <a:lnTo>
                  <a:pt x="38" y="75"/>
                </a:lnTo>
                <a:lnTo>
                  <a:pt x="37" y="75"/>
                </a:lnTo>
                <a:lnTo>
                  <a:pt x="37" y="75"/>
                </a:lnTo>
                <a:lnTo>
                  <a:pt x="37" y="75"/>
                </a:lnTo>
                <a:close/>
                <a:moveTo>
                  <a:pt x="34" y="77"/>
                </a:moveTo>
                <a:lnTo>
                  <a:pt x="42" y="77"/>
                </a:lnTo>
                <a:lnTo>
                  <a:pt x="42" y="93"/>
                </a:lnTo>
                <a:lnTo>
                  <a:pt x="34" y="93"/>
                </a:lnTo>
                <a:lnTo>
                  <a:pt x="34" y="77"/>
                </a:lnTo>
                <a:lnTo>
                  <a:pt x="34" y="77"/>
                </a:lnTo>
                <a:close/>
                <a:moveTo>
                  <a:pt x="34" y="125"/>
                </a:moveTo>
                <a:lnTo>
                  <a:pt x="42" y="125"/>
                </a:lnTo>
                <a:lnTo>
                  <a:pt x="42" y="140"/>
                </a:lnTo>
                <a:lnTo>
                  <a:pt x="34" y="140"/>
                </a:lnTo>
                <a:lnTo>
                  <a:pt x="34" y="125"/>
                </a:lnTo>
                <a:lnTo>
                  <a:pt x="34" y="125"/>
                </a:lnTo>
                <a:close/>
                <a:moveTo>
                  <a:pt x="34" y="172"/>
                </a:moveTo>
                <a:lnTo>
                  <a:pt x="42" y="172"/>
                </a:lnTo>
                <a:lnTo>
                  <a:pt x="42" y="188"/>
                </a:lnTo>
                <a:lnTo>
                  <a:pt x="34" y="188"/>
                </a:lnTo>
                <a:lnTo>
                  <a:pt x="34" y="172"/>
                </a:lnTo>
                <a:lnTo>
                  <a:pt x="34" y="172"/>
                </a:lnTo>
                <a:close/>
                <a:moveTo>
                  <a:pt x="34" y="219"/>
                </a:moveTo>
                <a:lnTo>
                  <a:pt x="42" y="219"/>
                </a:lnTo>
                <a:lnTo>
                  <a:pt x="42" y="235"/>
                </a:lnTo>
                <a:lnTo>
                  <a:pt x="34" y="235"/>
                </a:lnTo>
                <a:lnTo>
                  <a:pt x="34" y="219"/>
                </a:lnTo>
                <a:lnTo>
                  <a:pt x="34" y="219"/>
                </a:lnTo>
                <a:close/>
                <a:moveTo>
                  <a:pt x="34" y="266"/>
                </a:moveTo>
                <a:lnTo>
                  <a:pt x="42" y="266"/>
                </a:lnTo>
                <a:lnTo>
                  <a:pt x="42" y="281"/>
                </a:lnTo>
                <a:lnTo>
                  <a:pt x="34" y="281"/>
                </a:lnTo>
                <a:lnTo>
                  <a:pt x="34" y="266"/>
                </a:lnTo>
                <a:lnTo>
                  <a:pt x="34" y="266"/>
                </a:lnTo>
                <a:close/>
                <a:moveTo>
                  <a:pt x="34" y="313"/>
                </a:moveTo>
                <a:lnTo>
                  <a:pt x="42" y="313"/>
                </a:lnTo>
                <a:lnTo>
                  <a:pt x="42" y="321"/>
                </a:lnTo>
                <a:lnTo>
                  <a:pt x="42" y="321"/>
                </a:lnTo>
                <a:lnTo>
                  <a:pt x="42" y="329"/>
                </a:lnTo>
                <a:lnTo>
                  <a:pt x="37" y="329"/>
                </a:lnTo>
                <a:lnTo>
                  <a:pt x="34" y="329"/>
                </a:lnTo>
                <a:lnTo>
                  <a:pt x="34" y="325"/>
                </a:lnTo>
                <a:lnTo>
                  <a:pt x="34" y="313"/>
                </a:lnTo>
                <a:lnTo>
                  <a:pt x="34" y="313"/>
                </a:lnTo>
                <a:close/>
                <a:moveTo>
                  <a:pt x="73" y="329"/>
                </a:moveTo>
                <a:lnTo>
                  <a:pt x="73" y="321"/>
                </a:lnTo>
                <a:lnTo>
                  <a:pt x="89" y="321"/>
                </a:lnTo>
                <a:lnTo>
                  <a:pt x="89" y="329"/>
                </a:lnTo>
                <a:lnTo>
                  <a:pt x="73" y="329"/>
                </a:lnTo>
                <a:lnTo>
                  <a:pt x="73" y="329"/>
                </a:lnTo>
                <a:close/>
                <a:moveTo>
                  <a:pt x="119" y="329"/>
                </a:moveTo>
                <a:lnTo>
                  <a:pt x="119" y="321"/>
                </a:lnTo>
                <a:lnTo>
                  <a:pt x="135" y="321"/>
                </a:lnTo>
                <a:lnTo>
                  <a:pt x="135" y="329"/>
                </a:lnTo>
                <a:lnTo>
                  <a:pt x="119" y="329"/>
                </a:lnTo>
                <a:lnTo>
                  <a:pt x="119" y="329"/>
                </a:lnTo>
                <a:close/>
                <a:moveTo>
                  <a:pt x="167" y="329"/>
                </a:moveTo>
                <a:lnTo>
                  <a:pt x="167" y="321"/>
                </a:lnTo>
                <a:lnTo>
                  <a:pt x="182" y="321"/>
                </a:lnTo>
                <a:lnTo>
                  <a:pt x="182" y="329"/>
                </a:lnTo>
                <a:lnTo>
                  <a:pt x="167" y="329"/>
                </a:lnTo>
                <a:lnTo>
                  <a:pt x="167" y="329"/>
                </a:lnTo>
                <a:close/>
                <a:moveTo>
                  <a:pt x="214" y="329"/>
                </a:moveTo>
                <a:lnTo>
                  <a:pt x="214" y="321"/>
                </a:lnTo>
                <a:lnTo>
                  <a:pt x="230" y="321"/>
                </a:lnTo>
                <a:lnTo>
                  <a:pt x="230" y="329"/>
                </a:lnTo>
                <a:lnTo>
                  <a:pt x="214" y="329"/>
                </a:lnTo>
                <a:lnTo>
                  <a:pt x="214" y="329"/>
                </a:lnTo>
                <a:close/>
                <a:moveTo>
                  <a:pt x="261" y="329"/>
                </a:moveTo>
                <a:lnTo>
                  <a:pt x="261" y="321"/>
                </a:lnTo>
                <a:lnTo>
                  <a:pt x="277" y="321"/>
                </a:lnTo>
                <a:lnTo>
                  <a:pt x="277" y="329"/>
                </a:lnTo>
                <a:lnTo>
                  <a:pt x="261" y="329"/>
                </a:lnTo>
                <a:lnTo>
                  <a:pt x="261" y="329"/>
                </a:lnTo>
                <a:close/>
                <a:moveTo>
                  <a:pt x="308" y="329"/>
                </a:moveTo>
                <a:lnTo>
                  <a:pt x="308" y="321"/>
                </a:lnTo>
                <a:lnTo>
                  <a:pt x="324" y="321"/>
                </a:lnTo>
                <a:lnTo>
                  <a:pt x="324" y="329"/>
                </a:lnTo>
                <a:lnTo>
                  <a:pt x="308" y="329"/>
                </a:lnTo>
                <a:lnTo>
                  <a:pt x="308" y="329"/>
                </a:lnTo>
                <a:close/>
                <a:moveTo>
                  <a:pt x="356" y="329"/>
                </a:moveTo>
                <a:lnTo>
                  <a:pt x="356" y="321"/>
                </a:lnTo>
                <a:lnTo>
                  <a:pt x="372" y="321"/>
                </a:lnTo>
                <a:lnTo>
                  <a:pt x="372" y="329"/>
                </a:lnTo>
                <a:lnTo>
                  <a:pt x="356" y="329"/>
                </a:lnTo>
                <a:lnTo>
                  <a:pt x="356" y="329"/>
                </a:lnTo>
                <a:close/>
                <a:moveTo>
                  <a:pt x="403" y="329"/>
                </a:moveTo>
                <a:lnTo>
                  <a:pt x="403" y="321"/>
                </a:lnTo>
                <a:lnTo>
                  <a:pt x="419" y="321"/>
                </a:lnTo>
                <a:lnTo>
                  <a:pt x="419" y="329"/>
                </a:lnTo>
                <a:lnTo>
                  <a:pt x="403" y="329"/>
                </a:lnTo>
                <a:close/>
              </a:path>
            </a:pathLst>
          </a:custGeom>
          <a:solidFill>
            <a:srgbClr val="8497B0"/>
          </a:solidFill>
          <a:ln>
            <a:solidFill>
              <a:schemeClr val="accent1">
                <a:lumMod val="90000"/>
              </a:schemeClr>
            </a:solidFill>
          </a:ln>
        </p:spPr>
        <p:txBody>
          <a:bodyPr vert="horz" wrap="square" lIns="91440" tIns="45720" rIns="91440" bIns="45720" numCol="1" anchor="t" anchorCtr="0" compatLnSpc="1">
            <a:prstTxWarp prst="textNoShape">
              <a:avLst/>
            </a:prstTxWarp>
          </a:bodyPr>
          <a:lstStyle/>
          <a:p>
            <a:endParaRPr lang="en-US"/>
          </a:p>
        </p:txBody>
      </p:sp>
      <p:sp>
        <p:nvSpPr>
          <p:cNvPr id="89" name="Freeform 83">
            <a:extLst>
              <a:ext uri="{FF2B5EF4-FFF2-40B4-BE49-F238E27FC236}">
                <a16:creationId xmlns:a16="http://schemas.microsoft.com/office/drawing/2014/main" id="{6F60578B-3CE5-44FD-BACE-0057E9ED854E}"/>
              </a:ext>
            </a:extLst>
          </p:cNvPr>
          <p:cNvSpPr>
            <a:spLocks noEditPoints="1"/>
          </p:cNvSpPr>
          <p:nvPr/>
        </p:nvSpPr>
        <p:spPr bwMode="auto">
          <a:xfrm>
            <a:off x="7845395" y="4155054"/>
            <a:ext cx="822325" cy="117475"/>
          </a:xfrm>
          <a:custGeom>
            <a:avLst/>
            <a:gdLst>
              <a:gd name="T0" fmla="*/ 43 w 518"/>
              <a:gd name="T1" fmla="*/ 66 h 74"/>
              <a:gd name="T2" fmla="*/ 49 w 518"/>
              <a:gd name="T3" fmla="*/ 65 h 74"/>
              <a:gd name="T4" fmla="*/ 54 w 518"/>
              <a:gd name="T5" fmla="*/ 62 h 74"/>
              <a:gd name="T6" fmla="*/ 59 w 518"/>
              <a:gd name="T7" fmla="*/ 58 h 74"/>
              <a:gd name="T8" fmla="*/ 63 w 518"/>
              <a:gd name="T9" fmla="*/ 54 h 74"/>
              <a:gd name="T10" fmla="*/ 66 w 518"/>
              <a:gd name="T11" fmla="*/ 48 h 74"/>
              <a:gd name="T12" fmla="*/ 68 w 518"/>
              <a:gd name="T13" fmla="*/ 43 h 74"/>
              <a:gd name="T14" fmla="*/ 68 w 518"/>
              <a:gd name="T15" fmla="*/ 37 h 74"/>
              <a:gd name="T16" fmla="*/ 68 w 518"/>
              <a:gd name="T17" fmla="*/ 30 h 74"/>
              <a:gd name="T18" fmla="*/ 66 w 518"/>
              <a:gd name="T19" fmla="*/ 25 h 74"/>
              <a:gd name="T20" fmla="*/ 62 w 518"/>
              <a:gd name="T21" fmla="*/ 20 h 74"/>
              <a:gd name="T22" fmla="*/ 59 w 518"/>
              <a:gd name="T23" fmla="*/ 16 h 74"/>
              <a:gd name="T24" fmla="*/ 54 w 518"/>
              <a:gd name="T25" fmla="*/ 12 h 74"/>
              <a:gd name="T26" fmla="*/ 49 w 518"/>
              <a:gd name="T27" fmla="*/ 9 h 74"/>
              <a:gd name="T28" fmla="*/ 43 w 518"/>
              <a:gd name="T29" fmla="*/ 8 h 74"/>
              <a:gd name="T30" fmla="*/ 36 w 518"/>
              <a:gd name="T31" fmla="*/ 8 h 74"/>
              <a:gd name="T32" fmla="*/ 31 w 518"/>
              <a:gd name="T33" fmla="*/ 9 h 74"/>
              <a:gd name="T34" fmla="*/ 25 w 518"/>
              <a:gd name="T35" fmla="*/ 11 h 74"/>
              <a:gd name="T36" fmla="*/ 21 w 518"/>
              <a:gd name="T37" fmla="*/ 13 h 74"/>
              <a:gd name="T38" fmla="*/ 16 w 518"/>
              <a:gd name="T39" fmla="*/ 18 h 74"/>
              <a:gd name="T40" fmla="*/ 13 w 518"/>
              <a:gd name="T41" fmla="*/ 22 h 74"/>
              <a:gd name="T42" fmla="*/ 10 w 518"/>
              <a:gd name="T43" fmla="*/ 28 h 74"/>
              <a:gd name="T44" fmla="*/ 9 w 518"/>
              <a:gd name="T45" fmla="*/ 34 h 74"/>
              <a:gd name="T46" fmla="*/ 9 w 518"/>
              <a:gd name="T47" fmla="*/ 40 h 74"/>
              <a:gd name="T48" fmla="*/ 10 w 518"/>
              <a:gd name="T49" fmla="*/ 46 h 74"/>
              <a:gd name="T50" fmla="*/ 13 w 518"/>
              <a:gd name="T51" fmla="*/ 52 h 74"/>
              <a:gd name="T52" fmla="*/ 16 w 518"/>
              <a:gd name="T53" fmla="*/ 56 h 74"/>
              <a:gd name="T54" fmla="*/ 21 w 518"/>
              <a:gd name="T55" fmla="*/ 61 h 74"/>
              <a:gd name="T56" fmla="*/ 25 w 518"/>
              <a:gd name="T57" fmla="*/ 64 h 74"/>
              <a:gd name="T58" fmla="*/ 31 w 518"/>
              <a:gd name="T59" fmla="*/ 66 h 74"/>
              <a:gd name="T60" fmla="*/ 37 w 518"/>
              <a:gd name="T61" fmla="*/ 66 h 74"/>
              <a:gd name="T62" fmla="*/ 76 w 518"/>
              <a:gd name="T63" fmla="*/ 43 h 74"/>
              <a:gd name="T64" fmla="*/ 73 w 518"/>
              <a:gd name="T65" fmla="*/ 50 h 74"/>
              <a:gd name="T66" fmla="*/ 70 w 518"/>
              <a:gd name="T67" fmla="*/ 57 h 74"/>
              <a:gd name="T68" fmla="*/ 66 w 518"/>
              <a:gd name="T69" fmla="*/ 63 h 74"/>
              <a:gd name="T70" fmla="*/ 60 w 518"/>
              <a:gd name="T71" fmla="*/ 67 h 74"/>
              <a:gd name="T72" fmla="*/ 54 w 518"/>
              <a:gd name="T73" fmla="*/ 72 h 74"/>
              <a:gd name="T74" fmla="*/ 46 w 518"/>
              <a:gd name="T75" fmla="*/ 74 h 74"/>
              <a:gd name="T76" fmla="*/ 39 w 518"/>
              <a:gd name="T77" fmla="*/ 74 h 74"/>
              <a:gd name="T78" fmla="*/ 31 w 518"/>
              <a:gd name="T79" fmla="*/ 74 h 74"/>
              <a:gd name="T80" fmla="*/ 24 w 518"/>
              <a:gd name="T81" fmla="*/ 72 h 74"/>
              <a:gd name="T82" fmla="*/ 17 w 518"/>
              <a:gd name="T83" fmla="*/ 68 h 74"/>
              <a:gd name="T84" fmla="*/ 12 w 518"/>
              <a:gd name="T85" fmla="*/ 63 h 74"/>
              <a:gd name="T86" fmla="*/ 7 w 518"/>
              <a:gd name="T87" fmla="*/ 57 h 74"/>
              <a:gd name="T88" fmla="*/ 4 w 518"/>
              <a:gd name="T89" fmla="*/ 50 h 74"/>
              <a:gd name="T90" fmla="*/ 1 w 518"/>
              <a:gd name="T91" fmla="*/ 44 h 74"/>
              <a:gd name="T92" fmla="*/ 0 w 518"/>
              <a:gd name="T93" fmla="*/ 36 h 74"/>
              <a:gd name="T94" fmla="*/ 1 w 518"/>
              <a:gd name="T95" fmla="*/ 28 h 74"/>
              <a:gd name="T96" fmla="*/ 5 w 518"/>
              <a:gd name="T97" fmla="*/ 21 h 74"/>
              <a:gd name="T98" fmla="*/ 8 w 518"/>
              <a:gd name="T99" fmla="*/ 14 h 74"/>
              <a:gd name="T100" fmla="*/ 14 w 518"/>
              <a:gd name="T101" fmla="*/ 9 h 74"/>
              <a:gd name="T102" fmla="*/ 19 w 518"/>
              <a:gd name="T103" fmla="*/ 4 h 74"/>
              <a:gd name="T104" fmla="*/ 26 w 518"/>
              <a:gd name="T105" fmla="*/ 1 h 74"/>
              <a:gd name="T106" fmla="*/ 34 w 518"/>
              <a:gd name="T107" fmla="*/ 0 h 74"/>
              <a:gd name="T108" fmla="*/ 42 w 518"/>
              <a:gd name="T109" fmla="*/ 0 h 74"/>
              <a:gd name="T110" fmla="*/ 50 w 518"/>
              <a:gd name="T111" fmla="*/ 1 h 74"/>
              <a:gd name="T112" fmla="*/ 57 w 518"/>
              <a:gd name="T113" fmla="*/ 4 h 74"/>
              <a:gd name="T114" fmla="*/ 62 w 518"/>
              <a:gd name="T115" fmla="*/ 8 h 74"/>
              <a:gd name="T116" fmla="*/ 68 w 518"/>
              <a:gd name="T117" fmla="*/ 13 h 74"/>
              <a:gd name="T118" fmla="*/ 72 w 518"/>
              <a:gd name="T119" fmla="*/ 20 h 74"/>
              <a:gd name="T120" fmla="*/ 75 w 518"/>
              <a:gd name="T121" fmla="*/ 27 h 74"/>
              <a:gd name="T122" fmla="*/ 76 w 518"/>
              <a:gd name="T123" fmla="*/ 35 h 74"/>
              <a:gd name="T124" fmla="*/ 236 w 518"/>
              <a:gd name="T125" fmla="*/ 3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8" h="74">
                <a:moveTo>
                  <a:pt x="502" y="41"/>
                </a:moveTo>
                <a:lnTo>
                  <a:pt x="502" y="34"/>
                </a:lnTo>
                <a:lnTo>
                  <a:pt x="518" y="34"/>
                </a:lnTo>
                <a:lnTo>
                  <a:pt x="518" y="41"/>
                </a:lnTo>
                <a:lnTo>
                  <a:pt x="502" y="41"/>
                </a:lnTo>
                <a:lnTo>
                  <a:pt x="502" y="41"/>
                </a:lnTo>
                <a:close/>
                <a:moveTo>
                  <a:pt x="39" y="66"/>
                </a:moveTo>
                <a:lnTo>
                  <a:pt x="39" y="66"/>
                </a:lnTo>
                <a:lnTo>
                  <a:pt x="39" y="66"/>
                </a:lnTo>
                <a:lnTo>
                  <a:pt x="39" y="66"/>
                </a:lnTo>
                <a:lnTo>
                  <a:pt x="40" y="66"/>
                </a:lnTo>
                <a:lnTo>
                  <a:pt x="40" y="66"/>
                </a:lnTo>
                <a:lnTo>
                  <a:pt x="40" y="66"/>
                </a:lnTo>
                <a:lnTo>
                  <a:pt x="40" y="66"/>
                </a:lnTo>
                <a:lnTo>
                  <a:pt x="40" y="66"/>
                </a:lnTo>
                <a:lnTo>
                  <a:pt x="40" y="66"/>
                </a:lnTo>
                <a:lnTo>
                  <a:pt x="41" y="66"/>
                </a:lnTo>
                <a:lnTo>
                  <a:pt x="41" y="66"/>
                </a:lnTo>
                <a:lnTo>
                  <a:pt x="41" y="66"/>
                </a:lnTo>
                <a:lnTo>
                  <a:pt x="41" y="66"/>
                </a:lnTo>
                <a:lnTo>
                  <a:pt x="41" y="66"/>
                </a:lnTo>
                <a:lnTo>
                  <a:pt x="41" y="66"/>
                </a:lnTo>
                <a:lnTo>
                  <a:pt x="42" y="66"/>
                </a:lnTo>
                <a:lnTo>
                  <a:pt x="42" y="66"/>
                </a:lnTo>
                <a:lnTo>
                  <a:pt x="42" y="66"/>
                </a:lnTo>
                <a:lnTo>
                  <a:pt x="42" y="66"/>
                </a:lnTo>
                <a:lnTo>
                  <a:pt x="42" y="66"/>
                </a:lnTo>
                <a:lnTo>
                  <a:pt x="42" y="66"/>
                </a:lnTo>
                <a:lnTo>
                  <a:pt x="43" y="66"/>
                </a:lnTo>
                <a:lnTo>
                  <a:pt x="43" y="66"/>
                </a:lnTo>
                <a:lnTo>
                  <a:pt x="43" y="66"/>
                </a:lnTo>
                <a:lnTo>
                  <a:pt x="43" y="66"/>
                </a:lnTo>
                <a:lnTo>
                  <a:pt x="43" y="66"/>
                </a:lnTo>
                <a:lnTo>
                  <a:pt x="43" y="66"/>
                </a:lnTo>
                <a:lnTo>
                  <a:pt x="44" y="66"/>
                </a:lnTo>
                <a:lnTo>
                  <a:pt x="44" y="66"/>
                </a:lnTo>
                <a:lnTo>
                  <a:pt x="44" y="66"/>
                </a:lnTo>
                <a:lnTo>
                  <a:pt x="44" y="66"/>
                </a:lnTo>
                <a:lnTo>
                  <a:pt x="44" y="66"/>
                </a:lnTo>
                <a:lnTo>
                  <a:pt x="44" y="66"/>
                </a:lnTo>
                <a:lnTo>
                  <a:pt x="45" y="66"/>
                </a:lnTo>
                <a:lnTo>
                  <a:pt x="45" y="66"/>
                </a:lnTo>
                <a:lnTo>
                  <a:pt x="45" y="66"/>
                </a:lnTo>
                <a:lnTo>
                  <a:pt x="45" y="66"/>
                </a:lnTo>
                <a:lnTo>
                  <a:pt x="45" y="66"/>
                </a:lnTo>
                <a:lnTo>
                  <a:pt x="45" y="66"/>
                </a:lnTo>
                <a:lnTo>
                  <a:pt x="45" y="66"/>
                </a:lnTo>
                <a:lnTo>
                  <a:pt x="46" y="66"/>
                </a:lnTo>
                <a:lnTo>
                  <a:pt x="46" y="66"/>
                </a:lnTo>
                <a:lnTo>
                  <a:pt x="46" y="65"/>
                </a:lnTo>
                <a:lnTo>
                  <a:pt x="46" y="65"/>
                </a:lnTo>
                <a:lnTo>
                  <a:pt x="46" y="65"/>
                </a:lnTo>
                <a:lnTo>
                  <a:pt x="46" y="65"/>
                </a:lnTo>
                <a:lnTo>
                  <a:pt x="48" y="65"/>
                </a:lnTo>
                <a:lnTo>
                  <a:pt x="48" y="65"/>
                </a:lnTo>
                <a:lnTo>
                  <a:pt x="48" y="65"/>
                </a:lnTo>
                <a:lnTo>
                  <a:pt x="48" y="65"/>
                </a:lnTo>
                <a:lnTo>
                  <a:pt x="48" y="65"/>
                </a:lnTo>
                <a:lnTo>
                  <a:pt x="48" y="65"/>
                </a:lnTo>
                <a:lnTo>
                  <a:pt x="48" y="65"/>
                </a:lnTo>
                <a:lnTo>
                  <a:pt x="49" y="65"/>
                </a:lnTo>
                <a:lnTo>
                  <a:pt x="49" y="65"/>
                </a:lnTo>
                <a:lnTo>
                  <a:pt x="49" y="65"/>
                </a:lnTo>
                <a:lnTo>
                  <a:pt x="49" y="65"/>
                </a:lnTo>
                <a:lnTo>
                  <a:pt x="49" y="65"/>
                </a:lnTo>
                <a:lnTo>
                  <a:pt x="49" y="65"/>
                </a:lnTo>
                <a:lnTo>
                  <a:pt x="50" y="65"/>
                </a:lnTo>
                <a:lnTo>
                  <a:pt x="50" y="65"/>
                </a:lnTo>
                <a:lnTo>
                  <a:pt x="50" y="64"/>
                </a:lnTo>
                <a:lnTo>
                  <a:pt x="50" y="64"/>
                </a:lnTo>
                <a:lnTo>
                  <a:pt x="50" y="64"/>
                </a:lnTo>
                <a:lnTo>
                  <a:pt x="50" y="64"/>
                </a:lnTo>
                <a:lnTo>
                  <a:pt x="50" y="64"/>
                </a:lnTo>
                <a:lnTo>
                  <a:pt x="51" y="64"/>
                </a:lnTo>
                <a:lnTo>
                  <a:pt x="51" y="64"/>
                </a:lnTo>
                <a:lnTo>
                  <a:pt x="51" y="64"/>
                </a:lnTo>
                <a:lnTo>
                  <a:pt x="51" y="64"/>
                </a:lnTo>
                <a:lnTo>
                  <a:pt x="51" y="64"/>
                </a:lnTo>
                <a:lnTo>
                  <a:pt x="51" y="64"/>
                </a:lnTo>
                <a:lnTo>
                  <a:pt x="51" y="64"/>
                </a:lnTo>
                <a:lnTo>
                  <a:pt x="52" y="64"/>
                </a:lnTo>
                <a:lnTo>
                  <a:pt x="52" y="64"/>
                </a:lnTo>
                <a:lnTo>
                  <a:pt x="52" y="64"/>
                </a:lnTo>
                <a:lnTo>
                  <a:pt x="52" y="63"/>
                </a:lnTo>
                <a:lnTo>
                  <a:pt x="52" y="63"/>
                </a:lnTo>
                <a:lnTo>
                  <a:pt x="52" y="63"/>
                </a:lnTo>
                <a:lnTo>
                  <a:pt x="52" y="63"/>
                </a:lnTo>
                <a:lnTo>
                  <a:pt x="53" y="63"/>
                </a:lnTo>
                <a:lnTo>
                  <a:pt x="53" y="63"/>
                </a:lnTo>
                <a:lnTo>
                  <a:pt x="53" y="63"/>
                </a:lnTo>
                <a:lnTo>
                  <a:pt x="53" y="63"/>
                </a:lnTo>
                <a:lnTo>
                  <a:pt x="53" y="63"/>
                </a:lnTo>
                <a:lnTo>
                  <a:pt x="53" y="63"/>
                </a:lnTo>
                <a:lnTo>
                  <a:pt x="53" y="63"/>
                </a:lnTo>
                <a:lnTo>
                  <a:pt x="54" y="63"/>
                </a:lnTo>
                <a:lnTo>
                  <a:pt x="54" y="63"/>
                </a:lnTo>
                <a:lnTo>
                  <a:pt x="54" y="62"/>
                </a:lnTo>
                <a:lnTo>
                  <a:pt x="54" y="62"/>
                </a:lnTo>
                <a:lnTo>
                  <a:pt x="54" y="62"/>
                </a:lnTo>
                <a:lnTo>
                  <a:pt x="54" y="62"/>
                </a:lnTo>
                <a:lnTo>
                  <a:pt x="54" y="62"/>
                </a:lnTo>
                <a:lnTo>
                  <a:pt x="54" y="62"/>
                </a:lnTo>
                <a:lnTo>
                  <a:pt x="55" y="62"/>
                </a:lnTo>
                <a:lnTo>
                  <a:pt x="55" y="62"/>
                </a:lnTo>
                <a:lnTo>
                  <a:pt x="55" y="62"/>
                </a:lnTo>
                <a:lnTo>
                  <a:pt x="55" y="62"/>
                </a:lnTo>
                <a:lnTo>
                  <a:pt x="55" y="62"/>
                </a:lnTo>
                <a:lnTo>
                  <a:pt x="55" y="61"/>
                </a:lnTo>
                <a:lnTo>
                  <a:pt x="55" y="61"/>
                </a:lnTo>
                <a:lnTo>
                  <a:pt x="55" y="61"/>
                </a:lnTo>
                <a:lnTo>
                  <a:pt x="57" y="61"/>
                </a:lnTo>
                <a:lnTo>
                  <a:pt x="57" y="61"/>
                </a:lnTo>
                <a:lnTo>
                  <a:pt x="57" y="61"/>
                </a:lnTo>
                <a:lnTo>
                  <a:pt x="57" y="61"/>
                </a:lnTo>
                <a:lnTo>
                  <a:pt x="57" y="61"/>
                </a:lnTo>
                <a:lnTo>
                  <a:pt x="57" y="61"/>
                </a:lnTo>
                <a:lnTo>
                  <a:pt x="57" y="61"/>
                </a:lnTo>
                <a:lnTo>
                  <a:pt x="57" y="59"/>
                </a:lnTo>
                <a:lnTo>
                  <a:pt x="58" y="59"/>
                </a:lnTo>
                <a:lnTo>
                  <a:pt x="58" y="59"/>
                </a:lnTo>
                <a:lnTo>
                  <a:pt x="58" y="59"/>
                </a:lnTo>
                <a:lnTo>
                  <a:pt x="58" y="59"/>
                </a:lnTo>
                <a:lnTo>
                  <a:pt x="58" y="59"/>
                </a:lnTo>
                <a:lnTo>
                  <a:pt x="58" y="59"/>
                </a:lnTo>
                <a:lnTo>
                  <a:pt x="58" y="59"/>
                </a:lnTo>
                <a:lnTo>
                  <a:pt x="58" y="59"/>
                </a:lnTo>
                <a:lnTo>
                  <a:pt x="59" y="59"/>
                </a:lnTo>
                <a:lnTo>
                  <a:pt x="59" y="58"/>
                </a:lnTo>
                <a:lnTo>
                  <a:pt x="59" y="58"/>
                </a:lnTo>
                <a:lnTo>
                  <a:pt x="59" y="58"/>
                </a:lnTo>
                <a:lnTo>
                  <a:pt x="59" y="58"/>
                </a:lnTo>
                <a:lnTo>
                  <a:pt x="59" y="58"/>
                </a:lnTo>
                <a:lnTo>
                  <a:pt x="59" y="58"/>
                </a:lnTo>
                <a:lnTo>
                  <a:pt x="59" y="58"/>
                </a:lnTo>
                <a:lnTo>
                  <a:pt x="60" y="58"/>
                </a:lnTo>
                <a:lnTo>
                  <a:pt x="60" y="58"/>
                </a:lnTo>
                <a:lnTo>
                  <a:pt x="60" y="57"/>
                </a:lnTo>
                <a:lnTo>
                  <a:pt x="60" y="57"/>
                </a:lnTo>
                <a:lnTo>
                  <a:pt x="60" y="57"/>
                </a:lnTo>
                <a:lnTo>
                  <a:pt x="60" y="57"/>
                </a:lnTo>
                <a:lnTo>
                  <a:pt x="60" y="57"/>
                </a:lnTo>
                <a:lnTo>
                  <a:pt x="60" y="57"/>
                </a:lnTo>
                <a:lnTo>
                  <a:pt x="60" y="57"/>
                </a:lnTo>
                <a:lnTo>
                  <a:pt x="60" y="57"/>
                </a:lnTo>
                <a:lnTo>
                  <a:pt x="61" y="57"/>
                </a:lnTo>
                <a:lnTo>
                  <a:pt x="61" y="56"/>
                </a:lnTo>
                <a:lnTo>
                  <a:pt x="61" y="56"/>
                </a:lnTo>
                <a:lnTo>
                  <a:pt x="61" y="56"/>
                </a:lnTo>
                <a:lnTo>
                  <a:pt x="61" y="56"/>
                </a:lnTo>
                <a:lnTo>
                  <a:pt x="61" y="56"/>
                </a:lnTo>
                <a:lnTo>
                  <a:pt x="61" y="56"/>
                </a:lnTo>
                <a:lnTo>
                  <a:pt x="61" y="56"/>
                </a:lnTo>
                <a:lnTo>
                  <a:pt x="61" y="56"/>
                </a:lnTo>
                <a:lnTo>
                  <a:pt x="62" y="55"/>
                </a:lnTo>
                <a:lnTo>
                  <a:pt x="62" y="55"/>
                </a:lnTo>
                <a:lnTo>
                  <a:pt x="62" y="55"/>
                </a:lnTo>
                <a:lnTo>
                  <a:pt x="62" y="55"/>
                </a:lnTo>
                <a:lnTo>
                  <a:pt x="62" y="55"/>
                </a:lnTo>
                <a:lnTo>
                  <a:pt x="62" y="55"/>
                </a:lnTo>
                <a:lnTo>
                  <a:pt x="62" y="55"/>
                </a:lnTo>
                <a:lnTo>
                  <a:pt x="62" y="55"/>
                </a:lnTo>
                <a:lnTo>
                  <a:pt x="62" y="54"/>
                </a:lnTo>
                <a:lnTo>
                  <a:pt x="62" y="54"/>
                </a:lnTo>
                <a:lnTo>
                  <a:pt x="62" y="54"/>
                </a:lnTo>
                <a:lnTo>
                  <a:pt x="63" y="54"/>
                </a:lnTo>
                <a:lnTo>
                  <a:pt x="63" y="54"/>
                </a:lnTo>
                <a:lnTo>
                  <a:pt x="63" y="54"/>
                </a:lnTo>
                <a:lnTo>
                  <a:pt x="63" y="54"/>
                </a:lnTo>
                <a:lnTo>
                  <a:pt x="63" y="54"/>
                </a:lnTo>
                <a:lnTo>
                  <a:pt x="63" y="53"/>
                </a:lnTo>
                <a:lnTo>
                  <a:pt x="63" y="53"/>
                </a:lnTo>
                <a:lnTo>
                  <a:pt x="63" y="53"/>
                </a:lnTo>
                <a:lnTo>
                  <a:pt x="63" y="53"/>
                </a:lnTo>
                <a:lnTo>
                  <a:pt x="63" y="53"/>
                </a:lnTo>
                <a:lnTo>
                  <a:pt x="63" y="53"/>
                </a:lnTo>
                <a:lnTo>
                  <a:pt x="63" y="53"/>
                </a:lnTo>
                <a:lnTo>
                  <a:pt x="64" y="52"/>
                </a:lnTo>
                <a:lnTo>
                  <a:pt x="64" y="52"/>
                </a:lnTo>
                <a:lnTo>
                  <a:pt x="64" y="52"/>
                </a:lnTo>
                <a:lnTo>
                  <a:pt x="64" y="52"/>
                </a:lnTo>
                <a:lnTo>
                  <a:pt x="64" y="52"/>
                </a:lnTo>
                <a:lnTo>
                  <a:pt x="64" y="52"/>
                </a:lnTo>
                <a:lnTo>
                  <a:pt x="64" y="52"/>
                </a:lnTo>
                <a:lnTo>
                  <a:pt x="64" y="50"/>
                </a:lnTo>
                <a:lnTo>
                  <a:pt x="64" y="50"/>
                </a:lnTo>
                <a:lnTo>
                  <a:pt x="64" y="50"/>
                </a:lnTo>
                <a:lnTo>
                  <a:pt x="64" y="50"/>
                </a:lnTo>
                <a:lnTo>
                  <a:pt x="64" y="50"/>
                </a:lnTo>
                <a:lnTo>
                  <a:pt x="64" y="50"/>
                </a:lnTo>
                <a:lnTo>
                  <a:pt x="66" y="50"/>
                </a:lnTo>
                <a:lnTo>
                  <a:pt x="66" y="49"/>
                </a:lnTo>
                <a:lnTo>
                  <a:pt x="66" y="49"/>
                </a:lnTo>
                <a:lnTo>
                  <a:pt x="66" y="49"/>
                </a:lnTo>
                <a:lnTo>
                  <a:pt x="66" y="49"/>
                </a:lnTo>
                <a:lnTo>
                  <a:pt x="66" y="49"/>
                </a:lnTo>
                <a:lnTo>
                  <a:pt x="66" y="49"/>
                </a:lnTo>
                <a:lnTo>
                  <a:pt x="66" y="49"/>
                </a:lnTo>
                <a:lnTo>
                  <a:pt x="66" y="48"/>
                </a:lnTo>
                <a:lnTo>
                  <a:pt x="66" y="48"/>
                </a:lnTo>
                <a:lnTo>
                  <a:pt x="66" y="48"/>
                </a:lnTo>
                <a:lnTo>
                  <a:pt x="66" y="48"/>
                </a:lnTo>
                <a:lnTo>
                  <a:pt x="66" y="48"/>
                </a:lnTo>
                <a:lnTo>
                  <a:pt x="66" y="48"/>
                </a:lnTo>
                <a:lnTo>
                  <a:pt x="66" y="48"/>
                </a:lnTo>
                <a:lnTo>
                  <a:pt x="67" y="47"/>
                </a:lnTo>
                <a:lnTo>
                  <a:pt x="67" y="47"/>
                </a:lnTo>
                <a:lnTo>
                  <a:pt x="67" y="47"/>
                </a:lnTo>
                <a:lnTo>
                  <a:pt x="67" y="47"/>
                </a:lnTo>
                <a:lnTo>
                  <a:pt x="67" y="47"/>
                </a:lnTo>
                <a:lnTo>
                  <a:pt x="67" y="47"/>
                </a:lnTo>
                <a:lnTo>
                  <a:pt x="67" y="47"/>
                </a:lnTo>
                <a:lnTo>
                  <a:pt x="67" y="46"/>
                </a:lnTo>
                <a:lnTo>
                  <a:pt x="67" y="46"/>
                </a:lnTo>
                <a:lnTo>
                  <a:pt x="67" y="46"/>
                </a:lnTo>
                <a:lnTo>
                  <a:pt x="67" y="46"/>
                </a:lnTo>
                <a:lnTo>
                  <a:pt x="67" y="46"/>
                </a:lnTo>
                <a:lnTo>
                  <a:pt x="67" y="46"/>
                </a:lnTo>
                <a:lnTo>
                  <a:pt x="67" y="45"/>
                </a:lnTo>
                <a:lnTo>
                  <a:pt x="67" y="45"/>
                </a:lnTo>
                <a:lnTo>
                  <a:pt x="67" y="45"/>
                </a:lnTo>
                <a:lnTo>
                  <a:pt x="67" y="45"/>
                </a:lnTo>
                <a:lnTo>
                  <a:pt x="67" y="45"/>
                </a:lnTo>
                <a:lnTo>
                  <a:pt x="67" y="45"/>
                </a:lnTo>
                <a:lnTo>
                  <a:pt x="67" y="44"/>
                </a:lnTo>
                <a:lnTo>
                  <a:pt x="67" y="44"/>
                </a:lnTo>
                <a:lnTo>
                  <a:pt x="68" y="44"/>
                </a:lnTo>
                <a:lnTo>
                  <a:pt x="68" y="44"/>
                </a:lnTo>
                <a:lnTo>
                  <a:pt x="68" y="44"/>
                </a:lnTo>
                <a:lnTo>
                  <a:pt x="68" y="44"/>
                </a:lnTo>
                <a:lnTo>
                  <a:pt x="68" y="44"/>
                </a:lnTo>
                <a:lnTo>
                  <a:pt x="68" y="43"/>
                </a:lnTo>
                <a:lnTo>
                  <a:pt x="68" y="43"/>
                </a:lnTo>
                <a:lnTo>
                  <a:pt x="68" y="43"/>
                </a:lnTo>
                <a:lnTo>
                  <a:pt x="68" y="43"/>
                </a:lnTo>
                <a:lnTo>
                  <a:pt x="68" y="43"/>
                </a:lnTo>
                <a:lnTo>
                  <a:pt x="68" y="43"/>
                </a:lnTo>
                <a:lnTo>
                  <a:pt x="68" y="41"/>
                </a:lnTo>
                <a:lnTo>
                  <a:pt x="68" y="41"/>
                </a:lnTo>
                <a:lnTo>
                  <a:pt x="68" y="41"/>
                </a:lnTo>
                <a:lnTo>
                  <a:pt x="68" y="41"/>
                </a:lnTo>
                <a:lnTo>
                  <a:pt x="68" y="41"/>
                </a:lnTo>
                <a:lnTo>
                  <a:pt x="68" y="41"/>
                </a:lnTo>
                <a:lnTo>
                  <a:pt x="68" y="40"/>
                </a:lnTo>
                <a:lnTo>
                  <a:pt x="68" y="40"/>
                </a:lnTo>
                <a:lnTo>
                  <a:pt x="68" y="40"/>
                </a:lnTo>
                <a:lnTo>
                  <a:pt x="68" y="40"/>
                </a:lnTo>
                <a:lnTo>
                  <a:pt x="68" y="40"/>
                </a:lnTo>
                <a:lnTo>
                  <a:pt x="68" y="40"/>
                </a:lnTo>
                <a:lnTo>
                  <a:pt x="68" y="39"/>
                </a:lnTo>
                <a:lnTo>
                  <a:pt x="68" y="39"/>
                </a:lnTo>
                <a:lnTo>
                  <a:pt x="68" y="39"/>
                </a:lnTo>
                <a:lnTo>
                  <a:pt x="68" y="39"/>
                </a:lnTo>
                <a:lnTo>
                  <a:pt x="68" y="39"/>
                </a:lnTo>
                <a:lnTo>
                  <a:pt x="68" y="39"/>
                </a:lnTo>
                <a:lnTo>
                  <a:pt x="68" y="38"/>
                </a:lnTo>
                <a:lnTo>
                  <a:pt x="68" y="38"/>
                </a:lnTo>
                <a:lnTo>
                  <a:pt x="68" y="38"/>
                </a:lnTo>
                <a:lnTo>
                  <a:pt x="68" y="38"/>
                </a:lnTo>
                <a:lnTo>
                  <a:pt x="68" y="38"/>
                </a:lnTo>
                <a:lnTo>
                  <a:pt x="68" y="38"/>
                </a:lnTo>
                <a:lnTo>
                  <a:pt x="68" y="37"/>
                </a:lnTo>
                <a:lnTo>
                  <a:pt x="68" y="37"/>
                </a:lnTo>
                <a:lnTo>
                  <a:pt x="68" y="37"/>
                </a:lnTo>
                <a:lnTo>
                  <a:pt x="68" y="37"/>
                </a:lnTo>
                <a:lnTo>
                  <a:pt x="68" y="37"/>
                </a:lnTo>
                <a:lnTo>
                  <a:pt x="68" y="37"/>
                </a:lnTo>
                <a:lnTo>
                  <a:pt x="68" y="36"/>
                </a:lnTo>
                <a:lnTo>
                  <a:pt x="68" y="36"/>
                </a:lnTo>
                <a:lnTo>
                  <a:pt x="68" y="36"/>
                </a:lnTo>
                <a:lnTo>
                  <a:pt x="68" y="36"/>
                </a:lnTo>
                <a:lnTo>
                  <a:pt x="68" y="36"/>
                </a:lnTo>
                <a:lnTo>
                  <a:pt x="68" y="36"/>
                </a:lnTo>
                <a:lnTo>
                  <a:pt x="68" y="35"/>
                </a:lnTo>
                <a:lnTo>
                  <a:pt x="68" y="35"/>
                </a:lnTo>
                <a:lnTo>
                  <a:pt x="68" y="35"/>
                </a:lnTo>
                <a:lnTo>
                  <a:pt x="68" y="35"/>
                </a:lnTo>
                <a:lnTo>
                  <a:pt x="68" y="35"/>
                </a:lnTo>
                <a:lnTo>
                  <a:pt x="68" y="35"/>
                </a:lnTo>
                <a:lnTo>
                  <a:pt x="68" y="34"/>
                </a:lnTo>
                <a:lnTo>
                  <a:pt x="68" y="34"/>
                </a:lnTo>
                <a:lnTo>
                  <a:pt x="68" y="34"/>
                </a:lnTo>
                <a:lnTo>
                  <a:pt x="68" y="34"/>
                </a:lnTo>
                <a:lnTo>
                  <a:pt x="68" y="34"/>
                </a:lnTo>
                <a:lnTo>
                  <a:pt x="68" y="34"/>
                </a:lnTo>
                <a:lnTo>
                  <a:pt x="68" y="32"/>
                </a:lnTo>
                <a:lnTo>
                  <a:pt x="68" y="32"/>
                </a:lnTo>
                <a:lnTo>
                  <a:pt x="68" y="32"/>
                </a:lnTo>
                <a:lnTo>
                  <a:pt x="68" y="32"/>
                </a:lnTo>
                <a:lnTo>
                  <a:pt x="68" y="32"/>
                </a:lnTo>
                <a:lnTo>
                  <a:pt x="68" y="32"/>
                </a:lnTo>
                <a:lnTo>
                  <a:pt x="68" y="31"/>
                </a:lnTo>
                <a:lnTo>
                  <a:pt x="68" y="31"/>
                </a:lnTo>
                <a:lnTo>
                  <a:pt x="68" y="31"/>
                </a:lnTo>
                <a:lnTo>
                  <a:pt x="68" y="31"/>
                </a:lnTo>
                <a:lnTo>
                  <a:pt x="68" y="31"/>
                </a:lnTo>
                <a:lnTo>
                  <a:pt x="68" y="31"/>
                </a:lnTo>
                <a:lnTo>
                  <a:pt x="68" y="30"/>
                </a:lnTo>
                <a:lnTo>
                  <a:pt x="68" y="30"/>
                </a:lnTo>
                <a:lnTo>
                  <a:pt x="68" y="30"/>
                </a:lnTo>
                <a:lnTo>
                  <a:pt x="68" y="30"/>
                </a:lnTo>
                <a:lnTo>
                  <a:pt x="67" y="30"/>
                </a:lnTo>
                <a:lnTo>
                  <a:pt x="67" y="30"/>
                </a:lnTo>
                <a:lnTo>
                  <a:pt x="67" y="29"/>
                </a:lnTo>
                <a:lnTo>
                  <a:pt x="67" y="29"/>
                </a:lnTo>
                <a:lnTo>
                  <a:pt x="67" y="29"/>
                </a:lnTo>
                <a:lnTo>
                  <a:pt x="67" y="29"/>
                </a:lnTo>
                <a:lnTo>
                  <a:pt x="67" y="29"/>
                </a:lnTo>
                <a:lnTo>
                  <a:pt x="67" y="29"/>
                </a:lnTo>
                <a:lnTo>
                  <a:pt x="67" y="29"/>
                </a:lnTo>
                <a:lnTo>
                  <a:pt x="67" y="28"/>
                </a:lnTo>
                <a:lnTo>
                  <a:pt x="67" y="28"/>
                </a:lnTo>
                <a:lnTo>
                  <a:pt x="67" y="28"/>
                </a:lnTo>
                <a:lnTo>
                  <a:pt x="67" y="28"/>
                </a:lnTo>
                <a:lnTo>
                  <a:pt x="67" y="28"/>
                </a:lnTo>
                <a:lnTo>
                  <a:pt x="67" y="28"/>
                </a:lnTo>
                <a:lnTo>
                  <a:pt x="67" y="27"/>
                </a:lnTo>
                <a:lnTo>
                  <a:pt x="67" y="27"/>
                </a:lnTo>
                <a:lnTo>
                  <a:pt x="67" y="27"/>
                </a:lnTo>
                <a:lnTo>
                  <a:pt x="67" y="27"/>
                </a:lnTo>
                <a:lnTo>
                  <a:pt x="67" y="27"/>
                </a:lnTo>
                <a:lnTo>
                  <a:pt x="67" y="27"/>
                </a:lnTo>
                <a:lnTo>
                  <a:pt x="66" y="27"/>
                </a:lnTo>
                <a:lnTo>
                  <a:pt x="66" y="26"/>
                </a:lnTo>
                <a:lnTo>
                  <a:pt x="66" y="26"/>
                </a:lnTo>
                <a:lnTo>
                  <a:pt x="66" y="26"/>
                </a:lnTo>
                <a:lnTo>
                  <a:pt x="66" y="26"/>
                </a:lnTo>
                <a:lnTo>
                  <a:pt x="66" y="26"/>
                </a:lnTo>
                <a:lnTo>
                  <a:pt x="66" y="26"/>
                </a:lnTo>
                <a:lnTo>
                  <a:pt x="66" y="26"/>
                </a:lnTo>
                <a:lnTo>
                  <a:pt x="66" y="25"/>
                </a:lnTo>
                <a:lnTo>
                  <a:pt x="66" y="25"/>
                </a:lnTo>
                <a:lnTo>
                  <a:pt x="66" y="25"/>
                </a:lnTo>
                <a:lnTo>
                  <a:pt x="66" y="25"/>
                </a:lnTo>
                <a:lnTo>
                  <a:pt x="66" y="25"/>
                </a:lnTo>
                <a:lnTo>
                  <a:pt x="66" y="25"/>
                </a:lnTo>
                <a:lnTo>
                  <a:pt x="66" y="25"/>
                </a:lnTo>
                <a:lnTo>
                  <a:pt x="64" y="23"/>
                </a:lnTo>
                <a:lnTo>
                  <a:pt x="64" y="23"/>
                </a:lnTo>
                <a:lnTo>
                  <a:pt x="64" y="23"/>
                </a:lnTo>
                <a:lnTo>
                  <a:pt x="64" y="23"/>
                </a:lnTo>
                <a:lnTo>
                  <a:pt x="64" y="23"/>
                </a:lnTo>
                <a:lnTo>
                  <a:pt x="64" y="23"/>
                </a:lnTo>
                <a:lnTo>
                  <a:pt x="64" y="23"/>
                </a:lnTo>
                <a:lnTo>
                  <a:pt x="64" y="22"/>
                </a:lnTo>
                <a:lnTo>
                  <a:pt x="64" y="22"/>
                </a:lnTo>
                <a:lnTo>
                  <a:pt x="64" y="22"/>
                </a:lnTo>
                <a:lnTo>
                  <a:pt x="64" y="22"/>
                </a:lnTo>
                <a:lnTo>
                  <a:pt x="64" y="22"/>
                </a:lnTo>
                <a:lnTo>
                  <a:pt x="64" y="22"/>
                </a:lnTo>
                <a:lnTo>
                  <a:pt x="63" y="22"/>
                </a:lnTo>
                <a:lnTo>
                  <a:pt x="63" y="21"/>
                </a:lnTo>
                <a:lnTo>
                  <a:pt x="63" y="21"/>
                </a:lnTo>
                <a:lnTo>
                  <a:pt x="63" y="21"/>
                </a:lnTo>
                <a:lnTo>
                  <a:pt x="63" y="21"/>
                </a:lnTo>
                <a:lnTo>
                  <a:pt x="63" y="21"/>
                </a:lnTo>
                <a:lnTo>
                  <a:pt x="63" y="21"/>
                </a:lnTo>
                <a:lnTo>
                  <a:pt x="63" y="21"/>
                </a:lnTo>
                <a:lnTo>
                  <a:pt x="63" y="20"/>
                </a:lnTo>
                <a:lnTo>
                  <a:pt x="63" y="20"/>
                </a:lnTo>
                <a:lnTo>
                  <a:pt x="63" y="20"/>
                </a:lnTo>
                <a:lnTo>
                  <a:pt x="63" y="20"/>
                </a:lnTo>
                <a:lnTo>
                  <a:pt x="62" y="20"/>
                </a:lnTo>
                <a:lnTo>
                  <a:pt x="62" y="20"/>
                </a:lnTo>
                <a:lnTo>
                  <a:pt x="62" y="20"/>
                </a:lnTo>
                <a:lnTo>
                  <a:pt x="62" y="20"/>
                </a:lnTo>
                <a:lnTo>
                  <a:pt x="62" y="19"/>
                </a:lnTo>
                <a:lnTo>
                  <a:pt x="62" y="19"/>
                </a:lnTo>
                <a:lnTo>
                  <a:pt x="62" y="19"/>
                </a:lnTo>
                <a:lnTo>
                  <a:pt x="62" y="19"/>
                </a:lnTo>
                <a:lnTo>
                  <a:pt x="62" y="19"/>
                </a:lnTo>
                <a:lnTo>
                  <a:pt x="62" y="19"/>
                </a:lnTo>
                <a:lnTo>
                  <a:pt x="62" y="19"/>
                </a:lnTo>
                <a:lnTo>
                  <a:pt x="61" y="19"/>
                </a:lnTo>
                <a:lnTo>
                  <a:pt x="61" y="18"/>
                </a:lnTo>
                <a:lnTo>
                  <a:pt x="61" y="18"/>
                </a:lnTo>
                <a:lnTo>
                  <a:pt x="61" y="18"/>
                </a:lnTo>
                <a:lnTo>
                  <a:pt x="61" y="18"/>
                </a:lnTo>
                <a:lnTo>
                  <a:pt x="61" y="18"/>
                </a:lnTo>
                <a:lnTo>
                  <a:pt x="61" y="18"/>
                </a:lnTo>
                <a:lnTo>
                  <a:pt x="61" y="18"/>
                </a:lnTo>
                <a:lnTo>
                  <a:pt x="61" y="18"/>
                </a:lnTo>
                <a:lnTo>
                  <a:pt x="60" y="17"/>
                </a:lnTo>
                <a:lnTo>
                  <a:pt x="60" y="17"/>
                </a:lnTo>
                <a:lnTo>
                  <a:pt x="60" y="17"/>
                </a:lnTo>
                <a:lnTo>
                  <a:pt x="60" y="17"/>
                </a:lnTo>
                <a:lnTo>
                  <a:pt x="60" y="17"/>
                </a:lnTo>
                <a:lnTo>
                  <a:pt x="60" y="17"/>
                </a:lnTo>
                <a:lnTo>
                  <a:pt x="60" y="17"/>
                </a:lnTo>
                <a:lnTo>
                  <a:pt x="60" y="17"/>
                </a:lnTo>
                <a:lnTo>
                  <a:pt x="60" y="17"/>
                </a:lnTo>
                <a:lnTo>
                  <a:pt x="60" y="16"/>
                </a:lnTo>
                <a:lnTo>
                  <a:pt x="59" y="16"/>
                </a:lnTo>
                <a:lnTo>
                  <a:pt x="59" y="16"/>
                </a:lnTo>
                <a:lnTo>
                  <a:pt x="59" y="16"/>
                </a:lnTo>
                <a:lnTo>
                  <a:pt x="59" y="16"/>
                </a:lnTo>
                <a:lnTo>
                  <a:pt x="59" y="16"/>
                </a:lnTo>
                <a:lnTo>
                  <a:pt x="59" y="16"/>
                </a:lnTo>
                <a:lnTo>
                  <a:pt x="59" y="16"/>
                </a:lnTo>
                <a:lnTo>
                  <a:pt x="59" y="16"/>
                </a:lnTo>
                <a:lnTo>
                  <a:pt x="58" y="14"/>
                </a:lnTo>
                <a:lnTo>
                  <a:pt x="58" y="14"/>
                </a:lnTo>
                <a:lnTo>
                  <a:pt x="58" y="14"/>
                </a:lnTo>
                <a:lnTo>
                  <a:pt x="58" y="14"/>
                </a:lnTo>
                <a:lnTo>
                  <a:pt x="58" y="14"/>
                </a:lnTo>
                <a:lnTo>
                  <a:pt x="58" y="14"/>
                </a:lnTo>
                <a:lnTo>
                  <a:pt x="58" y="14"/>
                </a:lnTo>
                <a:lnTo>
                  <a:pt x="58" y="14"/>
                </a:lnTo>
                <a:lnTo>
                  <a:pt x="57" y="14"/>
                </a:lnTo>
                <a:lnTo>
                  <a:pt x="57" y="14"/>
                </a:lnTo>
                <a:lnTo>
                  <a:pt x="57" y="13"/>
                </a:lnTo>
                <a:lnTo>
                  <a:pt x="57" y="13"/>
                </a:lnTo>
                <a:lnTo>
                  <a:pt x="57" y="13"/>
                </a:lnTo>
                <a:lnTo>
                  <a:pt x="57" y="13"/>
                </a:lnTo>
                <a:lnTo>
                  <a:pt x="57" y="13"/>
                </a:lnTo>
                <a:lnTo>
                  <a:pt x="57" y="13"/>
                </a:lnTo>
                <a:lnTo>
                  <a:pt x="55" y="13"/>
                </a:lnTo>
                <a:lnTo>
                  <a:pt x="55" y="13"/>
                </a:lnTo>
                <a:lnTo>
                  <a:pt x="55" y="13"/>
                </a:lnTo>
                <a:lnTo>
                  <a:pt x="55" y="13"/>
                </a:lnTo>
                <a:lnTo>
                  <a:pt x="55" y="12"/>
                </a:lnTo>
                <a:lnTo>
                  <a:pt x="55" y="12"/>
                </a:lnTo>
                <a:lnTo>
                  <a:pt x="55" y="12"/>
                </a:lnTo>
                <a:lnTo>
                  <a:pt x="55" y="12"/>
                </a:lnTo>
                <a:lnTo>
                  <a:pt x="54" y="12"/>
                </a:lnTo>
                <a:lnTo>
                  <a:pt x="54" y="12"/>
                </a:lnTo>
                <a:lnTo>
                  <a:pt x="54" y="12"/>
                </a:lnTo>
                <a:lnTo>
                  <a:pt x="54" y="12"/>
                </a:lnTo>
                <a:lnTo>
                  <a:pt x="54" y="12"/>
                </a:lnTo>
                <a:lnTo>
                  <a:pt x="54" y="12"/>
                </a:lnTo>
                <a:lnTo>
                  <a:pt x="54" y="12"/>
                </a:lnTo>
                <a:lnTo>
                  <a:pt x="54" y="12"/>
                </a:lnTo>
                <a:lnTo>
                  <a:pt x="53" y="11"/>
                </a:lnTo>
                <a:lnTo>
                  <a:pt x="53" y="11"/>
                </a:lnTo>
                <a:lnTo>
                  <a:pt x="53" y="11"/>
                </a:lnTo>
                <a:lnTo>
                  <a:pt x="53" y="11"/>
                </a:lnTo>
                <a:lnTo>
                  <a:pt x="53" y="11"/>
                </a:lnTo>
                <a:lnTo>
                  <a:pt x="53" y="11"/>
                </a:lnTo>
                <a:lnTo>
                  <a:pt x="53" y="11"/>
                </a:lnTo>
                <a:lnTo>
                  <a:pt x="52" y="11"/>
                </a:lnTo>
                <a:lnTo>
                  <a:pt x="52" y="11"/>
                </a:lnTo>
                <a:lnTo>
                  <a:pt x="52" y="11"/>
                </a:lnTo>
                <a:lnTo>
                  <a:pt x="52" y="11"/>
                </a:lnTo>
                <a:lnTo>
                  <a:pt x="52" y="11"/>
                </a:lnTo>
                <a:lnTo>
                  <a:pt x="52" y="11"/>
                </a:lnTo>
                <a:lnTo>
                  <a:pt x="52" y="10"/>
                </a:lnTo>
                <a:lnTo>
                  <a:pt x="51" y="10"/>
                </a:lnTo>
                <a:lnTo>
                  <a:pt x="51" y="10"/>
                </a:lnTo>
                <a:lnTo>
                  <a:pt x="51" y="10"/>
                </a:lnTo>
                <a:lnTo>
                  <a:pt x="51" y="10"/>
                </a:lnTo>
                <a:lnTo>
                  <a:pt x="51" y="10"/>
                </a:lnTo>
                <a:lnTo>
                  <a:pt x="51" y="10"/>
                </a:lnTo>
                <a:lnTo>
                  <a:pt x="51" y="10"/>
                </a:lnTo>
                <a:lnTo>
                  <a:pt x="50" y="10"/>
                </a:lnTo>
                <a:lnTo>
                  <a:pt x="50" y="10"/>
                </a:lnTo>
                <a:lnTo>
                  <a:pt x="50" y="10"/>
                </a:lnTo>
                <a:lnTo>
                  <a:pt x="50" y="10"/>
                </a:lnTo>
                <a:lnTo>
                  <a:pt x="50" y="10"/>
                </a:lnTo>
                <a:lnTo>
                  <a:pt x="50" y="10"/>
                </a:lnTo>
                <a:lnTo>
                  <a:pt x="50" y="10"/>
                </a:lnTo>
                <a:lnTo>
                  <a:pt x="49" y="9"/>
                </a:lnTo>
                <a:lnTo>
                  <a:pt x="49" y="9"/>
                </a:lnTo>
                <a:lnTo>
                  <a:pt x="49" y="9"/>
                </a:lnTo>
                <a:lnTo>
                  <a:pt x="49" y="9"/>
                </a:lnTo>
                <a:lnTo>
                  <a:pt x="49" y="9"/>
                </a:lnTo>
                <a:lnTo>
                  <a:pt x="49" y="9"/>
                </a:lnTo>
                <a:lnTo>
                  <a:pt x="48" y="9"/>
                </a:lnTo>
                <a:lnTo>
                  <a:pt x="48" y="9"/>
                </a:lnTo>
                <a:lnTo>
                  <a:pt x="48" y="9"/>
                </a:lnTo>
                <a:lnTo>
                  <a:pt x="48" y="9"/>
                </a:lnTo>
                <a:lnTo>
                  <a:pt x="48" y="9"/>
                </a:lnTo>
                <a:lnTo>
                  <a:pt x="48" y="9"/>
                </a:lnTo>
                <a:lnTo>
                  <a:pt x="48" y="9"/>
                </a:lnTo>
                <a:lnTo>
                  <a:pt x="46" y="9"/>
                </a:lnTo>
                <a:lnTo>
                  <a:pt x="46" y="9"/>
                </a:lnTo>
                <a:lnTo>
                  <a:pt x="46" y="9"/>
                </a:lnTo>
                <a:lnTo>
                  <a:pt x="46" y="9"/>
                </a:lnTo>
                <a:lnTo>
                  <a:pt x="46" y="9"/>
                </a:lnTo>
                <a:lnTo>
                  <a:pt x="46" y="9"/>
                </a:lnTo>
                <a:lnTo>
                  <a:pt x="45" y="9"/>
                </a:lnTo>
                <a:lnTo>
                  <a:pt x="45" y="8"/>
                </a:lnTo>
                <a:lnTo>
                  <a:pt x="45" y="8"/>
                </a:lnTo>
                <a:lnTo>
                  <a:pt x="45" y="8"/>
                </a:lnTo>
                <a:lnTo>
                  <a:pt x="45" y="8"/>
                </a:lnTo>
                <a:lnTo>
                  <a:pt x="45" y="8"/>
                </a:lnTo>
                <a:lnTo>
                  <a:pt x="44" y="8"/>
                </a:lnTo>
                <a:lnTo>
                  <a:pt x="44" y="8"/>
                </a:lnTo>
                <a:lnTo>
                  <a:pt x="44" y="8"/>
                </a:lnTo>
                <a:lnTo>
                  <a:pt x="44" y="8"/>
                </a:lnTo>
                <a:lnTo>
                  <a:pt x="44" y="8"/>
                </a:lnTo>
                <a:lnTo>
                  <a:pt x="44" y="8"/>
                </a:lnTo>
                <a:lnTo>
                  <a:pt x="44" y="8"/>
                </a:lnTo>
                <a:lnTo>
                  <a:pt x="43" y="8"/>
                </a:lnTo>
                <a:lnTo>
                  <a:pt x="43" y="8"/>
                </a:lnTo>
                <a:lnTo>
                  <a:pt x="43" y="8"/>
                </a:lnTo>
                <a:lnTo>
                  <a:pt x="43" y="8"/>
                </a:lnTo>
                <a:lnTo>
                  <a:pt x="43" y="8"/>
                </a:lnTo>
                <a:lnTo>
                  <a:pt x="43" y="8"/>
                </a:lnTo>
                <a:lnTo>
                  <a:pt x="42" y="8"/>
                </a:lnTo>
                <a:lnTo>
                  <a:pt x="42" y="8"/>
                </a:lnTo>
                <a:lnTo>
                  <a:pt x="42" y="8"/>
                </a:lnTo>
                <a:lnTo>
                  <a:pt x="42" y="8"/>
                </a:lnTo>
                <a:lnTo>
                  <a:pt x="42" y="8"/>
                </a:lnTo>
                <a:lnTo>
                  <a:pt x="42" y="8"/>
                </a:lnTo>
                <a:lnTo>
                  <a:pt x="41" y="8"/>
                </a:lnTo>
                <a:lnTo>
                  <a:pt x="41" y="8"/>
                </a:lnTo>
                <a:lnTo>
                  <a:pt x="41" y="8"/>
                </a:lnTo>
                <a:lnTo>
                  <a:pt x="41" y="8"/>
                </a:lnTo>
                <a:lnTo>
                  <a:pt x="41" y="8"/>
                </a:lnTo>
                <a:lnTo>
                  <a:pt x="41" y="8"/>
                </a:lnTo>
                <a:lnTo>
                  <a:pt x="40" y="8"/>
                </a:lnTo>
                <a:lnTo>
                  <a:pt x="40" y="8"/>
                </a:lnTo>
                <a:lnTo>
                  <a:pt x="40" y="8"/>
                </a:lnTo>
                <a:lnTo>
                  <a:pt x="40" y="8"/>
                </a:lnTo>
                <a:lnTo>
                  <a:pt x="40" y="8"/>
                </a:lnTo>
                <a:lnTo>
                  <a:pt x="40" y="8"/>
                </a:lnTo>
                <a:lnTo>
                  <a:pt x="39" y="8"/>
                </a:lnTo>
                <a:lnTo>
                  <a:pt x="39" y="8"/>
                </a:lnTo>
                <a:lnTo>
                  <a:pt x="39" y="8"/>
                </a:lnTo>
                <a:lnTo>
                  <a:pt x="39" y="8"/>
                </a:lnTo>
                <a:lnTo>
                  <a:pt x="39" y="8"/>
                </a:lnTo>
                <a:lnTo>
                  <a:pt x="39" y="8"/>
                </a:lnTo>
                <a:lnTo>
                  <a:pt x="37" y="8"/>
                </a:lnTo>
                <a:lnTo>
                  <a:pt x="37" y="8"/>
                </a:lnTo>
                <a:lnTo>
                  <a:pt x="37" y="8"/>
                </a:lnTo>
                <a:lnTo>
                  <a:pt x="37" y="8"/>
                </a:lnTo>
                <a:lnTo>
                  <a:pt x="37" y="8"/>
                </a:lnTo>
                <a:lnTo>
                  <a:pt x="37" y="8"/>
                </a:lnTo>
                <a:lnTo>
                  <a:pt x="36" y="8"/>
                </a:lnTo>
                <a:lnTo>
                  <a:pt x="36" y="8"/>
                </a:lnTo>
                <a:lnTo>
                  <a:pt x="36" y="8"/>
                </a:lnTo>
                <a:lnTo>
                  <a:pt x="36" y="8"/>
                </a:lnTo>
                <a:lnTo>
                  <a:pt x="36" y="8"/>
                </a:lnTo>
                <a:lnTo>
                  <a:pt x="36" y="8"/>
                </a:lnTo>
                <a:lnTo>
                  <a:pt x="35" y="8"/>
                </a:lnTo>
                <a:lnTo>
                  <a:pt x="35" y="8"/>
                </a:lnTo>
                <a:lnTo>
                  <a:pt x="35" y="8"/>
                </a:lnTo>
                <a:lnTo>
                  <a:pt x="35" y="8"/>
                </a:lnTo>
                <a:lnTo>
                  <a:pt x="35" y="8"/>
                </a:lnTo>
                <a:lnTo>
                  <a:pt x="35" y="8"/>
                </a:lnTo>
                <a:lnTo>
                  <a:pt x="34" y="8"/>
                </a:lnTo>
                <a:lnTo>
                  <a:pt x="34" y="8"/>
                </a:lnTo>
                <a:lnTo>
                  <a:pt x="34" y="8"/>
                </a:lnTo>
                <a:lnTo>
                  <a:pt x="34" y="8"/>
                </a:lnTo>
                <a:lnTo>
                  <a:pt x="34" y="8"/>
                </a:lnTo>
                <a:lnTo>
                  <a:pt x="34" y="8"/>
                </a:lnTo>
                <a:lnTo>
                  <a:pt x="33" y="8"/>
                </a:lnTo>
                <a:lnTo>
                  <a:pt x="33" y="8"/>
                </a:lnTo>
                <a:lnTo>
                  <a:pt x="33" y="8"/>
                </a:lnTo>
                <a:lnTo>
                  <a:pt x="33" y="8"/>
                </a:lnTo>
                <a:lnTo>
                  <a:pt x="33" y="8"/>
                </a:lnTo>
                <a:lnTo>
                  <a:pt x="33" y="8"/>
                </a:lnTo>
                <a:lnTo>
                  <a:pt x="32" y="8"/>
                </a:lnTo>
                <a:lnTo>
                  <a:pt x="32" y="8"/>
                </a:lnTo>
                <a:lnTo>
                  <a:pt x="32" y="8"/>
                </a:lnTo>
                <a:lnTo>
                  <a:pt x="32" y="8"/>
                </a:lnTo>
                <a:lnTo>
                  <a:pt x="32" y="8"/>
                </a:lnTo>
                <a:lnTo>
                  <a:pt x="32" y="8"/>
                </a:lnTo>
                <a:lnTo>
                  <a:pt x="31" y="8"/>
                </a:lnTo>
                <a:lnTo>
                  <a:pt x="31" y="9"/>
                </a:lnTo>
                <a:lnTo>
                  <a:pt x="31" y="9"/>
                </a:lnTo>
                <a:lnTo>
                  <a:pt x="31" y="9"/>
                </a:lnTo>
                <a:lnTo>
                  <a:pt x="31" y="9"/>
                </a:lnTo>
                <a:lnTo>
                  <a:pt x="31" y="9"/>
                </a:lnTo>
                <a:lnTo>
                  <a:pt x="31" y="9"/>
                </a:lnTo>
                <a:lnTo>
                  <a:pt x="30" y="9"/>
                </a:lnTo>
                <a:lnTo>
                  <a:pt x="30" y="9"/>
                </a:lnTo>
                <a:lnTo>
                  <a:pt x="30" y="9"/>
                </a:lnTo>
                <a:lnTo>
                  <a:pt x="30" y="9"/>
                </a:lnTo>
                <a:lnTo>
                  <a:pt x="30" y="9"/>
                </a:lnTo>
                <a:lnTo>
                  <a:pt x="30" y="9"/>
                </a:lnTo>
                <a:lnTo>
                  <a:pt x="28" y="9"/>
                </a:lnTo>
                <a:lnTo>
                  <a:pt x="28" y="9"/>
                </a:lnTo>
                <a:lnTo>
                  <a:pt x="28" y="9"/>
                </a:lnTo>
                <a:lnTo>
                  <a:pt x="28" y="9"/>
                </a:lnTo>
                <a:lnTo>
                  <a:pt x="28" y="9"/>
                </a:lnTo>
                <a:lnTo>
                  <a:pt x="28" y="9"/>
                </a:lnTo>
                <a:lnTo>
                  <a:pt x="28" y="9"/>
                </a:lnTo>
                <a:lnTo>
                  <a:pt x="27" y="9"/>
                </a:lnTo>
                <a:lnTo>
                  <a:pt x="27" y="10"/>
                </a:lnTo>
                <a:lnTo>
                  <a:pt x="27" y="10"/>
                </a:lnTo>
                <a:lnTo>
                  <a:pt x="27" y="10"/>
                </a:lnTo>
                <a:lnTo>
                  <a:pt x="27" y="10"/>
                </a:lnTo>
                <a:lnTo>
                  <a:pt x="27" y="10"/>
                </a:lnTo>
                <a:lnTo>
                  <a:pt x="26" y="10"/>
                </a:lnTo>
                <a:lnTo>
                  <a:pt x="26" y="10"/>
                </a:lnTo>
                <a:lnTo>
                  <a:pt x="26" y="10"/>
                </a:lnTo>
                <a:lnTo>
                  <a:pt x="26" y="10"/>
                </a:lnTo>
                <a:lnTo>
                  <a:pt x="26" y="10"/>
                </a:lnTo>
                <a:lnTo>
                  <a:pt x="26" y="10"/>
                </a:lnTo>
                <a:lnTo>
                  <a:pt x="26" y="10"/>
                </a:lnTo>
                <a:lnTo>
                  <a:pt x="25" y="10"/>
                </a:lnTo>
                <a:lnTo>
                  <a:pt x="25" y="10"/>
                </a:lnTo>
                <a:lnTo>
                  <a:pt x="25" y="10"/>
                </a:lnTo>
                <a:lnTo>
                  <a:pt x="25" y="11"/>
                </a:lnTo>
                <a:lnTo>
                  <a:pt x="25" y="11"/>
                </a:lnTo>
                <a:lnTo>
                  <a:pt x="25" y="11"/>
                </a:lnTo>
                <a:lnTo>
                  <a:pt x="25" y="11"/>
                </a:lnTo>
                <a:lnTo>
                  <a:pt x="24" y="11"/>
                </a:lnTo>
                <a:lnTo>
                  <a:pt x="24" y="11"/>
                </a:lnTo>
                <a:lnTo>
                  <a:pt x="24" y="11"/>
                </a:lnTo>
                <a:lnTo>
                  <a:pt x="24" y="11"/>
                </a:lnTo>
                <a:lnTo>
                  <a:pt x="24" y="11"/>
                </a:lnTo>
                <a:lnTo>
                  <a:pt x="24" y="11"/>
                </a:lnTo>
                <a:lnTo>
                  <a:pt x="24" y="11"/>
                </a:lnTo>
                <a:lnTo>
                  <a:pt x="24" y="11"/>
                </a:lnTo>
                <a:lnTo>
                  <a:pt x="23" y="11"/>
                </a:lnTo>
                <a:lnTo>
                  <a:pt x="23" y="12"/>
                </a:lnTo>
                <a:lnTo>
                  <a:pt x="23" y="12"/>
                </a:lnTo>
                <a:lnTo>
                  <a:pt x="23" y="12"/>
                </a:lnTo>
                <a:lnTo>
                  <a:pt x="23" y="12"/>
                </a:lnTo>
                <a:lnTo>
                  <a:pt x="23" y="12"/>
                </a:lnTo>
                <a:lnTo>
                  <a:pt x="23" y="12"/>
                </a:lnTo>
                <a:lnTo>
                  <a:pt x="22" y="12"/>
                </a:lnTo>
                <a:lnTo>
                  <a:pt x="22" y="12"/>
                </a:lnTo>
                <a:lnTo>
                  <a:pt x="22" y="12"/>
                </a:lnTo>
                <a:lnTo>
                  <a:pt x="22" y="12"/>
                </a:lnTo>
                <a:lnTo>
                  <a:pt x="22" y="12"/>
                </a:lnTo>
                <a:lnTo>
                  <a:pt x="22" y="12"/>
                </a:lnTo>
                <a:lnTo>
                  <a:pt x="22" y="13"/>
                </a:lnTo>
                <a:lnTo>
                  <a:pt x="22" y="13"/>
                </a:lnTo>
                <a:lnTo>
                  <a:pt x="21" y="13"/>
                </a:lnTo>
                <a:lnTo>
                  <a:pt x="21" y="13"/>
                </a:lnTo>
                <a:lnTo>
                  <a:pt x="21" y="13"/>
                </a:lnTo>
                <a:lnTo>
                  <a:pt x="21" y="13"/>
                </a:lnTo>
                <a:lnTo>
                  <a:pt x="21" y="13"/>
                </a:lnTo>
                <a:lnTo>
                  <a:pt x="21" y="13"/>
                </a:lnTo>
                <a:lnTo>
                  <a:pt x="21" y="13"/>
                </a:lnTo>
                <a:lnTo>
                  <a:pt x="19" y="13"/>
                </a:lnTo>
                <a:lnTo>
                  <a:pt x="19" y="14"/>
                </a:lnTo>
                <a:lnTo>
                  <a:pt x="19" y="14"/>
                </a:lnTo>
                <a:lnTo>
                  <a:pt x="19" y="14"/>
                </a:lnTo>
                <a:lnTo>
                  <a:pt x="19" y="14"/>
                </a:lnTo>
                <a:lnTo>
                  <a:pt x="19" y="14"/>
                </a:lnTo>
                <a:lnTo>
                  <a:pt x="19" y="14"/>
                </a:lnTo>
                <a:lnTo>
                  <a:pt x="19" y="14"/>
                </a:lnTo>
                <a:lnTo>
                  <a:pt x="19" y="14"/>
                </a:lnTo>
                <a:lnTo>
                  <a:pt x="18" y="14"/>
                </a:lnTo>
                <a:lnTo>
                  <a:pt x="18" y="14"/>
                </a:lnTo>
                <a:lnTo>
                  <a:pt x="18" y="16"/>
                </a:lnTo>
                <a:lnTo>
                  <a:pt x="18" y="16"/>
                </a:lnTo>
                <a:lnTo>
                  <a:pt x="18" y="16"/>
                </a:lnTo>
                <a:lnTo>
                  <a:pt x="18" y="16"/>
                </a:lnTo>
                <a:lnTo>
                  <a:pt x="18" y="16"/>
                </a:lnTo>
                <a:lnTo>
                  <a:pt x="18" y="16"/>
                </a:lnTo>
                <a:lnTo>
                  <a:pt x="17" y="16"/>
                </a:lnTo>
                <a:lnTo>
                  <a:pt x="17" y="16"/>
                </a:lnTo>
                <a:lnTo>
                  <a:pt x="17" y="16"/>
                </a:lnTo>
                <a:lnTo>
                  <a:pt x="17" y="17"/>
                </a:lnTo>
                <a:lnTo>
                  <a:pt x="17" y="17"/>
                </a:lnTo>
                <a:lnTo>
                  <a:pt x="17" y="17"/>
                </a:lnTo>
                <a:lnTo>
                  <a:pt x="17" y="17"/>
                </a:lnTo>
                <a:lnTo>
                  <a:pt x="17" y="17"/>
                </a:lnTo>
                <a:lnTo>
                  <a:pt x="17" y="17"/>
                </a:lnTo>
                <a:lnTo>
                  <a:pt x="16" y="17"/>
                </a:lnTo>
                <a:lnTo>
                  <a:pt x="16" y="17"/>
                </a:lnTo>
                <a:lnTo>
                  <a:pt x="16" y="17"/>
                </a:lnTo>
                <a:lnTo>
                  <a:pt x="16" y="18"/>
                </a:lnTo>
                <a:lnTo>
                  <a:pt x="16" y="18"/>
                </a:lnTo>
                <a:lnTo>
                  <a:pt x="16" y="18"/>
                </a:lnTo>
                <a:lnTo>
                  <a:pt x="16" y="18"/>
                </a:lnTo>
                <a:lnTo>
                  <a:pt x="16" y="18"/>
                </a:lnTo>
                <a:lnTo>
                  <a:pt x="16" y="18"/>
                </a:lnTo>
                <a:lnTo>
                  <a:pt x="16" y="18"/>
                </a:lnTo>
                <a:lnTo>
                  <a:pt x="15" y="18"/>
                </a:lnTo>
                <a:lnTo>
                  <a:pt x="15" y="19"/>
                </a:lnTo>
                <a:lnTo>
                  <a:pt x="15" y="19"/>
                </a:lnTo>
                <a:lnTo>
                  <a:pt x="15" y="19"/>
                </a:lnTo>
                <a:lnTo>
                  <a:pt x="15" y="19"/>
                </a:lnTo>
                <a:lnTo>
                  <a:pt x="15" y="19"/>
                </a:lnTo>
                <a:lnTo>
                  <a:pt x="15" y="19"/>
                </a:lnTo>
                <a:lnTo>
                  <a:pt x="15" y="19"/>
                </a:lnTo>
                <a:lnTo>
                  <a:pt x="15" y="19"/>
                </a:lnTo>
                <a:lnTo>
                  <a:pt x="15" y="20"/>
                </a:lnTo>
                <a:lnTo>
                  <a:pt x="14" y="20"/>
                </a:lnTo>
                <a:lnTo>
                  <a:pt x="14" y="20"/>
                </a:lnTo>
                <a:lnTo>
                  <a:pt x="14" y="20"/>
                </a:lnTo>
                <a:lnTo>
                  <a:pt x="14" y="20"/>
                </a:lnTo>
                <a:lnTo>
                  <a:pt x="14" y="20"/>
                </a:lnTo>
                <a:lnTo>
                  <a:pt x="14" y="20"/>
                </a:lnTo>
                <a:lnTo>
                  <a:pt x="14" y="20"/>
                </a:lnTo>
                <a:lnTo>
                  <a:pt x="14" y="21"/>
                </a:lnTo>
                <a:lnTo>
                  <a:pt x="14" y="21"/>
                </a:lnTo>
                <a:lnTo>
                  <a:pt x="14" y="21"/>
                </a:lnTo>
                <a:lnTo>
                  <a:pt x="14" y="21"/>
                </a:lnTo>
                <a:lnTo>
                  <a:pt x="13" y="21"/>
                </a:lnTo>
                <a:lnTo>
                  <a:pt x="13" y="21"/>
                </a:lnTo>
                <a:lnTo>
                  <a:pt x="13" y="21"/>
                </a:lnTo>
                <a:lnTo>
                  <a:pt x="13" y="22"/>
                </a:lnTo>
                <a:lnTo>
                  <a:pt x="13" y="22"/>
                </a:lnTo>
                <a:lnTo>
                  <a:pt x="13" y="22"/>
                </a:lnTo>
                <a:lnTo>
                  <a:pt x="13" y="22"/>
                </a:lnTo>
                <a:lnTo>
                  <a:pt x="13" y="22"/>
                </a:lnTo>
                <a:lnTo>
                  <a:pt x="13" y="22"/>
                </a:lnTo>
                <a:lnTo>
                  <a:pt x="13" y="22"/>
                </a:lnTo>
                <a:lnTo>
                  <a:pt x="13" y="23"/>
                </a:lnTo>
                <a:lnTo>
                  <a:pt x="13" y="23"/>
                </a:lnTo>
                <a:lnTo>
                  <a:pt x="13" y="23"/>
                </a:lnTo>
                <a:lnTo>
                  <a:pt x="12" y="23"/>
                </a:lnTo>
                <a:lnTo>
                  <a:pt x="12" y="23"/>
                </a:lnTo>
                <a:lnTo>
                  <a:pt x="12" y="23"/>
                </a:lnTo>
                <a:lnTo>
                  <a:pt x="12" y="23"/>
                </a:lnTo>
                <a:lnTo>
                  <a:pt x="12" y="25"/>
                </a:lnTo>
                <a:lnTo>
                  <a:pt x="12" y="25"/>
                </a:lnTo>
                <a:lnTo>
                  <a:pt x="12" y="25"/>
                </a:lnTo>
                <a:lnTo>
                  <a:pt x="12" y="25"/>
                </a:lnTo>
                <a:lnTo>
                  <a:pt x="12" y="25"/>
                </a:lnTo>
                <a:lnTo>
                  <a:pt x="12" y="25"/>
                </a:lnTo>
                <a:lnTo>
                  <a:pt x="12" y="25"/>
                </a:lnTo>
                <a:lnTo>
                  <a:pt x="12" y="26"/>
                </a:lnTo>
                <a:lnTo>
                  <a:pt x="12" y="26"/>
                </a:lnTo>
                <a:lnTo>
                  <a:pt x="12" y="26"/>
                </a:lnTo>
                <a:lnTo>
                  <a:pt x="12" y="26"/>
                </a:lnTo>
                <a:lnTo>
                  <a:pt x="10" y="26"/>
                </a:lnTo>
                <a:lnTo>
                  <a:pt x="10" y="26"/>
                </a:lnTo>
                <a:lnTo>
                  <a:pt x="10" y="26"/>
                </a:lnTo>
                <a:lnTo>
                  <a:pt x="10" y="27"/>
                </a:lnTo>
                <a:lnTo>
                  <a:pt x="10" y="27"/>
                </a:lnTo>
                <a:lnTo>
                  <a:pt x="10" y="27"/>
                </a:lnTo>
                <a:lnTo>
                  <a:pt x="10" y="27"/>
                </a:lnTo>
                <a:lnTo>
                  <a:pt x="10" y="27"/>
                </a:lnTo>
                <a:lnTo>
                  <a:pt x="10" y="27"/>
                </a:lnTo>
                <a:lnTo>
                  <a:pt x="10" y="27"/>
                </a:lnTo>
                <a:lnTo>
                  <a:pt x="10" y="28"/>
                </a:lnTo>
                <a:lnTo>
                  <a:pt x="10" y="28"/>
                </a:lnTo>
                <a:lnTo>
                  <a:pt x="10" y="28"/>
                </a:lnTo>
                <a:lnTo>
                  <a:pt x="10" y="28"/>
                </a:lnTo>
                <a:lnTo>
                  <a:pt x="10" y="28"/>
                </a:lnTo>
                <a:lnTo>
                  <a:pt x="10" y="28"/>
                </a:lnTo>
                <a:lnTo>
                  <a:pt x="10" y="29"/>
                </a:lnTo>
                <a:lnTo>
                  <a:pt x="10" y="29"/>
                </a:lnTo>
                <a:lnTo>
                  <a:pt x="10" y="29"/>
                </a:lnTo>
                <a:lnTo>
                  <a:pt x="9" y="29"/>
                </a:lnTo>
                <a:lnTo>
                  <a:pt x="9" y="29"/>
                </a:lnTo>
                <a:lnTo>
                  <a:pt x="9" y="29"/>
                </a:lnTo>
                <a:lnTo>
                  <a:pt x="9" y="29"/>
                </a:lnTo>
                <a:lnTo>
                  <a:pt x="9" y="30"/>
                </a:lnTo>
                <a:lnTo>
                  <a:pt x="9" y="30"/>
                </a:lnTo>
                <a:lnTo>
                  <a:pt x="9" y="30"/>
                </a:lnTo>
                <a:lnTo>
                  <a:pt x="9" y="30"/>
                </a:lnTo>
                <a:lnTo>
                  <a:pt x="9" y="30"/>
                </a:lnTo>
                <a:lnTo>
                  <a:pt x="9" y="30"/>
                </a:lnTo>
                <a:lnTo>
                  <a:pt x="9" y="31"/>
                </a:lnTo>
                <a:lnTo>
                  <a:pt x="9" y="31"/>
                </a:lnTo>
                <a:lnTo>
                  <a:pt x="9" y="31"/>
                </a:lnTo>
                <a:lnTo>
                  <a:pt x="9" y="31"/>
                </a:lnTo>
                <a:lnTo>
                  <a:pt x="9" y="31"/>
                </a:lnTo>
                <a:lnTo>
                  <a:pt x="9" y="31"/>
                </a:lnTo>
                <a:lnTo>
                  <a:pt x="9" y="32"/>
                </a:lnTo>
                <a:lnTo>
                  <a:pt x="9" y="32"/>
                </a:lnTo>
                <a:lnTo>
                  <a:pt x="9" y="32"/>
                </a:lnTo>
                <a:lnTo>
                  <a:pt x="9" y="32"/>
                </a:lnTo>
                <a:lnTo>
                  <a:pt x="9" y="32"/>
                </a:lnTo>
                <a:lnTo>
                  <a:pt x="9" y="32"/>
                </a:lnTo>
                <a:lnTo>
                  <a:pt x="9" y="34"/>
                </a:lnTo>
                <a:lnTo>
                  <a:pt x="9" y="34"/>
                </a:lnTo>
                <a:lnTo>
                  <a:pt x="9" y="34"/>
                </a:lnTo>
                <a:lnTo>
                  <a:pt x="9" y="34"/>
                </a:lnTo>
                <a:lnTo>
                  <a:pt x="9" y="34"/>
                </a:lnTo>
                <a:lnTo>
                  <a:pt x="9" y="34"/>
                </a:lnTo>
                <a:lnTo>
                  <a:pt x="9" y="35"/>
                </a:lnTo>
                <a:lnTo>
                  <a:pt x="9" y="35"/>
                </a:lnTo>
                <a:lnTo>
                  <a:pt x="9" y="35"/>
                </a:lnTo>
                <a:lnTo>
                  <a:pt x="9" y="35"/>
                </a:lnTo>
                <a:lnTo>
                  <a:pt x="9" y="35"/>
                </a:lnTo>
                <a:lnTo>
                  <a:pt x="9" y="35"/>
                </a:lnTo>
                <a:lnTo>
                  <a:pt x="9" y="36"/>
                </a:lnTo>
                <a:lnTo>
                  <a:pt x="9" y="36"/>
                </a:lnTo>
                <a:lnTo>
                  <a:pt x="9" y="36"/>
                </a:lnTo>
                <a:lnTo>
                  <a:pt x="9" y="36"/>
                </a:lnTo>
                <a:lnTo>
                  <a:pt x="9" y="36"/>
                </a:lnTo>
                <a:lnTo>
                  <a:pt x="9" y="36"/>
                </a:lnTo>
                <a:lnTo>
                  <a:pt x="9" y="37"/>
                </a:lnTo>
                <a:lnTo>
                  <a:pt x="9" y="37"/>
                </a:lnTo>
                <a:lnTo>
                  <a:pt x="9" y="37"/>
                </a:lnTo>
                <a:lnTo>
                  <a:pt x="9" y="37"/>
                </a:lnTo>
                <a:lnTo>
                  <a:pt x="9" y="37"/>
                </a:lnTo>
                <a:lnTo>
                  <a:pt x="9" y="37"/>
                </a:lnTo>
                <a:lnTo>
                  <a:pt x="9" y="38"/>
                </a:lnTo>
                <a:lnTo>
                  <a:pt x="9" y="38"/>
                </a:lnTo>
                <a:lnTo>
                  <a:pt x="9" y="38"/>
                </a:lnTo>
                <a:lnTo>
                  <a:pt x="9" y="38"/>
                </a:lnTo>
                <a:lnTo>
                  <a:pt x="9" y="38"/>
                </a:lnTo>
                <a:lnTo>
                  <a:pt x="9" y="38"/>
                </a:lnTo>
                <a:lnTo>
                  <a:pt x="9" y="39"/>
                </a:lnTo>
                <a:lnTo>
                  <a:pt x="9" y="39"/>
                </a:lnTo>
                <a:lnTo>
                  <a:pt x="9" y="39"/>
                </a:lnTo>
                <a:lnTo>
                  <a:pt x="9" y="39"/>
                </a:lnTo>
                <a:lnTo>
                  <a:pt x="9" y="39"/>
                </a:lnTo>
                <a:lnTo>
                  <a:pt x="9" y="39"/>
                </a:lnTo>
                <a:lnTo>
                  <a:pt x="9" y="40"/>
                </a:lnTo>
                <a:lnTo>
                  <a:pt x="9" y="40"/>
                </a:lnTo>
                <a:lnTo>
                  <a:pt x="9" y="40"/>
                </a:lnTo>
                <a:lnTo>
                  <a:pt x="9" y="40"/>
                </a:lnTo>
                <a:lnTo>
                  <a:pt x="9" y="40"/>
                </a:lnTo>
                <a:lnTo>
                  <a:pt x="9" y="40"/>
                </a:lnTo>
                <a:lnTo>
                  <a:pt x="9" y="41"/>
                </a:lnTo>
                <a:lnTo>
                  <a:pt x="9" y="41"/>
                </a:lnTo>
                <a:lnTo>
                  <a:pt x="9" y="41"/>
                </a:lnTo>
                <a:lnTo>
                  <a:pt x="9" y="41"/>
                </a:lnTo>
                <a:lnTo>
                  <a:pt x="9" y="41"/>
                </a:lnTo>
                <a:lnTo>
                  <a:pt x="9" y="41"/>
                </a:lnTo>
                <a:lnTo>
                  <a:pt x="9" y="43"/>
                </a:lnTo>
                <a:lnTo>
                  <a:pt x="9" y="43"/>
                </a:lnTo>
                <a:lnTo>
                  <a:pt x="9" y="43"/>
                </a:lnTo>
                <a:lnTo>
                  <a:pt x="9" y="43"/>
                </a:lnTo>
                <a:lnTo>
                  <a:pt x="9" y="43"/>
                </a:lnTo>
                <a:lnTo>
                  <a:pt x="9" y="43"/>
                </a:lnTo>
                <a:lnTo>
                  <a:pt x="9" y="44"/>
                </a:lnTo>
                <a:lnTo>
                  <a:pt x="9" y="44"/>
                </a:lnTo>
                <a:lnTo>
                  <a:pt x="9" y="44"/>
                </a:lnTo>
                <a:lnTo>
                  <a:pt x="9" y="44"/>
                </a:lnTo>
                <a:lnTo>
                  <a:pt x="9" y="44"/>
                </a:lnTo>
                <a:lnTo>
                  <a:pt x="9" y="44"/>
                </a:lnTo>
                <a:lnTo>
                  <a:pt x="9" y="44"/>
                </a:lnTo>
                <a:lnTo>
                  <a:pt x="9" y="45"/>
                </a:lnTo>
                <a:lnTo>
                  <a:pt x="9" y="45"/>
                </a:lnTo>
                <a:lnTo>
                  <a:pt x="9" y="45"/>
                </a:lnTo>
                <a:lnTo>
                  <a:pt x="9" y="45"/>
                </a:lnTo>
                <a:lnTo>
                  <a:pt x="10" y="45"/>
                </a:lnTo>
                <a:lnTo>
                  <a:pt x="10" y="45"/>
                </a:lnTo>
                <a:lnTo>
                  <a:pt x="10" y="46"/>
                </a:lnTo>
                <a:lnTo>
                  <a:pt x="10" y="46"/>
                </a:lnTo>
                <a:lnTo>
                  <a:pt x="10" y="46"/>
                </a:lnTo>
                <a:lnTo>
                  <a:pt x="10" y="46"/>
                </a:lnTo>
                <a:lnTo>
                  <a:pt x="10" y="46"/>
                </a:lnTo>
                <a:lnTo>
                  <a:pt x="10" y="46"/>
                </a:lnTo>
                <a:lnTo>
                  <a:pt x="10" y="47"/>
                </a:lnTo>
                <a:lnTo>
                  <a:pt x="10" y="47"/>
                </a:lnTo>
                <a:lnTo>
                  <a:pt x="10" y="47"/>
                </a:lnTo>
                <a:lnTo>
                  <a:pt x="10" y="47"/>
                </a:lnTo>
                <a:lnTo>
                  <a:pt x="10" y="47"/>
                </a:lnTo>
                <a:lnTo>
                  <a:pt x="10" y="47"/>
                </a:lnTo>
                <a:lnTo>
                  <a:pt x="10" y="47"/>
                </a:lnTo>
                <a:lnTo>
                  <a:pt x="10" y="48"/>
                </a:lnTo>
                <a:lnTo>
                  <a:pt x="10" y="48"/>
                </a:lnTo>
                <a:lnTo>
                  <a:pt x="10" y="48"/>
                </a:lnTo>
                <a:lnTo>
                  <a:pt x="10" y="48"/>
                </a:lnTo>
                <a:lnTo>
                  <a:pt x="12" y="48"/>
                </a:lnTo>
                <a:lnTo>
                  <a:pt x="12" y="48"/>
                </a:lnTo>
                <a:lnTo>
                  <a:pt x="12" y="48"/>
                </a:lnTo>
                <a:lnTo>
                  <a:pt x="12" y="49"/>
                </a:lnTo>
                <a:lnTo>
                  <a:pt x="12" y="49"/>
                </a:lnTo>
                <a:lnTo>
                  <a:pt x="12" y="49"/>
                </a:lnTo>
                <a:lnTo>
                  <a:pt x="12" y="49"/>
                </a:lnTo>
                <a:lnTo>
                  <a:pt x="12" y="49"/>
                </a:lnTo>
                <a:lnTo>
                  <a:pt x="12" y="49"/>
                </a:lnTo>
                <a:lnTo>
                  <a:pt x="12" y="49"/>
                </a:lnTo>
                <a:lnTo>
                  <a:pt x="12" y="50"/>
                </a:lnTo>
                <a:lnTo>
                  <a:pt x="12" y="50"/>
                </a:lnTo>
                <a:lnTo>
                  <a:pt x="12" y="50"/>
                </a:lnTo>
                <a:lnTo>
                  <a:pt x="12" y="50"/>
                </a:lnTo>
                <a:lnTo>
                  <a:pt x="12" y="50"/>
                </a:lnTo>
                <a:lnTo>
                  <a:pt x="13" y="50"/>
                </a:lnTo>
                <a:lnTo>
                  <a:pt x="13" y="50"/>
                </a:lnTo>
                <a:lnTo>
                  <a:pt x="13" y="52"/>
                </a:lnTo>
                <a:lnTo>
                  <a:pt x="13" y="52"/>
                </a:lnTo>
                <a:lnTo>
                  <a:pt x="13" y="52"/>
                </a:lnTo>
                <a:lnTo>
                  <a:pt x="13" y="52"/>
                </a:lnTo>
                <a:lnTo>
                  <a:pt x="13" y="52"/>
                </a:lnTo>
                <a:lnTo>
                  <a:pt x="13" y="52"/>
                </a:lnTo>
                <a:lnTo>
                  <a:pt x="13" y="52"/>
                </a:lnTo>
                <a:lnTo>
                  <a:pt x="13" y="53"/>
                </a:lnTo>
                <a:lnTo>
                  <a:pt x="13" y="53"/>
                </a:lnTo>
                <a:lnTo>
                  <a:pt x="13" y="53"/>
                </a:lnTo>
                <a:lnTo>
                  <a:pt x="13" y="53"/>
                </a:lnTo>
                <a:lnTo>
                  <a:pt x="14" y="53"/>
                </a:lnTo>
                <a:lnTo>
                  <a:pt x="14" y="53"/>
                </a:lnTo>
                <a:lnTo>
                  <a:pt x="14" y="53"/>
                </a:lnTo>
                <a:lnTo>
                  <a:pt x="14" y="54"/>
                </a:lnTo>
                <a:lnTo>
                  <a:pt x="14" y="54"/>
                </a:lnTo>
                <a:lnTo>
                  <a:pt x="14" y="54"/>
                </a:lnTo>
                <a:lnTo>
                  <a:pt x="14" y="54"/>
                </a:lnTo>
                <a:lnTo>
                  <a:pt x="14" y="54"/>
                </a:lnTo>
                <a:lnTo>
                  <a:pt x="14" y="54"/>
                </a:lnTo>
                <a:lnTo>
                  <a:pt x="14" y="54"/>
                </a:lnTo>
                <a:lnTo>
                  <a:pt x="14" y="54"/>
                </a:lnTo>
                <a:lnTo>
                  <a:pt x="15" y="55"/>
                </a:lnTo>
                <a:lnTo>
                  <a:pt x="15" y="55"/>
                </a:lnTo>
                <a:lnTo>
                  <a:pt x="15" y="55"/>
                </a:lnTo>
                <a:lnTo>
                  <a:pt x="15" y="55"/>
                </a:lnTo>
                <a:lnTo>
                  <a:pt x="15" y="55"/>
                </a:lnTo>
                <a:lnTo>
                  <a:pt x="15" y="55"/>
                </a:lnTo>
                <a:lnTo>
                  <a:pt x="15" y="55"/>
                </a:lnTo>
                <a:lnTo>
                  <a:pt x="15" y="55"/>
                </a:lnTo>
                <a:lnTo>
                  <a:pt x="15" y="56"/>
                </a:lnTo>
                <a:lnTo>
                  <a:pt x="15" y="56"/>
                </a:lnTo>
                <a:lnTo>
                  <a:pt x="16" y="56"/>
                </a:lnTo>
                <a:lnTo>
                  <a:pt x="16" y="56"/>
                </a:lnTo>
                <a:lnTo>
                  <a:pt x="16" y="56"/>
                </a:lnTo>
                <a:lnTo>
                  <a:pt x="16" y="56"/>
                </a:lnTo>
                <a:lnTo>
                  <a:pt x="16" y="56"/>
                </a:lnTo>
                <a:lnTo>
                  <a:pt x="16" y="56"/>
                </a:lnTo>
                <a:lnTo>
                  <a:pt x="16" y="57"/>
                </a:lnTo>
                <a:lnTo>
                  <a:pt x="16" y="57"/>
                </a:lnTo>
                <a:lnTo>
                  <a:pt x="16" y="57"/>
                </a:lnTo>
                <a:lnTo>
                  <a:pt x="16" y="57"/>
                </a:lnTo>
                <a:lnTo>
                  <a:pt x="17" y="57"/>
                </a:lnTo>
                <a:lnTo>
                  <a:pt x="17" y="57"/>
                </a:lnTo>
                <a:lnTo>
                  <a:pt x="17" y="57"/>
                </a:lnTo>
                <a:lnTo>
                  <a:pt x="17" y="57"/>
                </a:lnTo>
                <a:lnTo>
                  <a:pt x="17" y="57"/>
                </a:lnTo>
                <a:lnTo>
                  <a:pt x="17" y="58"/>
                </a:lnTo>
                <a:lnTo>
                  <a:pt x="17" y="58"/>
                </a:lnTo>
                <a:lnTo>
                  <a:pt x="17" y="58"/>
                </a:lnTo>
                <a:lnTo>
                  <a:pt x="17" y="58"/>
                </a:lnTo>
                <a:lnTo>
                  <a:pt x="18" y="58"/>
                </a:lnTo>
                <a:lnTo>
                  <a:pt x="18" y="58"/>
                </a:lnTo>
                <a:lnTo>
                  <a:pt x="18" y="58"/>
                </a:lnTo>
                <a:lnTo>
                  <a:pt x="18" y="58"/>
                </a:lnTo>
                <a:lnTo>
                  <a:pt x="18" y="58"/>
                </a:lnTo>
                <a:lnTo>
                  <a:pt x="18" y="59"/>
                </a:lnTo>
                <a:lnTo>
                  <a:pt x="18" y="59"/>
                </a:lnTo>
                <a:lnTo>
                  <a:pt x="18" y="59"/>
                </a:lnTo>
                <a:lnTo>
                  <a:pt x="19" y="59"/>
                </a:lnTo>
                <a:lnTo>
                  <a:pt x="19" y="59"/>
                </a:lnTo>
                <a:lnTo>
                  <a:pt x="19" y="59"/>
                </a:lnTo>
                <a:lnTo>
                  <a:pt x="19" y="59"/>
                </a:lnTo>
                <a:lnTo>
                  <a:pt x="19" y="59"/>
                </a:lnTo>
                <a:lnTo>
                  <a:pt x="19" y="59"/>
                </a:lnTo>
                <a:lnTo>
                  <a:pt x="19" y="59"/>
                </a:lnTo>
                <a:lnTo>
                  <a:pt x="19" y="61"/>
                </a:lnTo>
                <a:lnTo>
                  <a:pt x="19" y="61"/>
                </a:lnTo>
                <a:lnTo>
                  <a:pt x="21" y="61"/>
                </a:lnTo>
                <a:lnTo>
                  <a:pt x="21" y="61"/>
                </a:lnTo>
                <a:lnTo>
                  <a:pt x="21" y="61"/>
                </a:lnTo>
                <a:lnTo>
                  <a:pt x="21" y="61"/>
                </a:lnTo>
                <a:lnTo>
                  <a:pt x="21" y="61"/>
                </a:lnTo>
                <a:lnTo>
                  <a:pt x="21" y="61"/>
                </a:lnTo>
                <a:lnTo>
                  <a:pt x="21" y="61"/>
                </a:lnTo>
                <a:lnTo>
                  <a:pt x="22" y="61"/>
                </a:lnTo>
                <a:lnTo>
                  <a:pt x="22" y="62"/>
                </a:lnTo>
                <a:lnTo>
                  <a:pt x="22" y="62"/>
                </a:lnTo>
                <a:lnTo>
                  <a:pt x="22" y="62"/>
                </a:lnTo>
                <a:lnTo>
                  <a:pt x="22" y="62"/>
                </a:lnTo>
                <a:lnTo>
                  <a:pt x="22" y="62"/>
                </a:lnTo>
                <a:lnTo>
                  <a:pt x="22" y="62"/>
                </a:lnTo>
                <a:lnTo>
                  <a:pt x="22" y="62"/>
                </a:lnTo>
                <a:lnTo>
                  <a:pt x="23" y="62"/>
                </a:lnTo>
                <a:lnTo>
                  <a:pt x="23" y="62"/>
                </a:lnTo>
                <a:lnTo>
                  <a:pt x="23" y="62"/>
                </a:lnTo>
                <a:lnTo>
                  <a:pt x="23" y="62"/>
                </a:lnTo>
                <a:lnTo>
                  <a:pt x="23" y="63"/>
                </a:lnTo>
                <a:lnTo>
                  <a:pt x="23" y="63"/>
                </a:lnTo>
                <a:lnTo>
                  <a:pt x="23" y="63"/>
                </a:lnTo>
                <a:lnTo>
                  <a:pt x="24" y="63"/>
                </a:lnTo>
                <a:lnTo>
                  <a:pt x="24" y="63"/>
                </a:lnTo>
                <a:lnTo>
                  <a:pt x="24" y="63"/>
                </a:lnTo>
                <a:lnTo>
                  <a:pt x="24" y="63"/>
                </a:lnTo>
                <a:lnTo>
                  <a:pt x="24" y="63"/>
                </a:lnTo>
                <a:lnTo>
                  <a:pt x="24" y="63"/>
                </a:lnTo>
                <a:lnTo>
                  <a:pt x="24" y="63"/>
                </a:lnTo>
                <a:lnTo>
                  <a:pt x="24" y="63"/>
                </a:lnTo>
                <a:lnTo>
                  <a:pt x="25" y="63"/>
                </a:lnTo>
                <a:lnTo>
                  <a:pt x="25" y="63"/>
                </a:lnTo>
                <a:lnTo>
                  <a:pt x="25" y="64"/>
                </a:lnTo>
                <a:lnTo>
                  <a:pt x="25" y="64"/>
                </a:lnTo>
                <a:lnTo>
                  <a:pt x="25" y="64"/>
                </a:lnTo>
                <a:lnTo>
                  <a:pt x="25" y="64"/>
                </a:lnTo>
                <a:lnTo>
                  <a:pt x="25" y="64"/>
                </a:lnTo>
                <a:lnTo>
                  <a:pt x="26" y="64"/>
                </a:lnTo>
                <a:lnTo>
                  <a:pt x="26" y="64"/>
                </a:lnTo>
                <a:lnTo>
                  <a:pt x="26" y="64"/>
                </a:lnTo>
                <a:lnTo>
                  <a:pt x="26" y="64"/>
                </a:lnTo>
                <a:lnTo>
                  <a:pt x="26" y="64"/>
                </a:lnTo>
                <a:lnTo>
                  <a:pt x="26" y="64"/>
                </a:lnTo>
                <a:lnTo>
                  <a:pt x="26" y="64"/>
                </a:lnTo>
                <a:lnTo>
                  <a:pt x="27" y="64"/>
                </a:lnTo>
                <a:lnTo>
                  <a:pt x="27" y="64"/>
                </a:lnTo>
                <a:lnTo>
                  <a:pt x="27" y="64"/>
                </a:lnTo>
                <a:lnTo>
                  <a:pt x="27" y="65"/>
                </a:lnTo>
                <a:lnTo>
                  <a:pt x="27" y="65"/>
                </a:lnTo>
                <a:lnTo>
                  <a:pt x="27" y="65"/>
                </a:lnTo>
                <a:lnTo>
                  <a:pt x="28" y="65"/>
                </a:lnTo>
                <a:lnTo>
                  <a:pt x="28" y="65"/>
                </a:lnTo>
                <a:lnTo>
                  <a:pt x="28" y="65"/>
                </a:lnTo>
                <a:lnTo>
                  <a:pt x="28" y="65"/>
                </a:lnTo>
                <a:lnTo>
                  <a:pt x="28" y="65"/>
                </a:lnTo>
                <a:lnTo>
                  <a:pt x="28" y="65"/>
                </a:lnTo>
                <a:lnTo>
                  <a:pt x="28" y="65"/>
                </a:lnTo>
                <a:lnTo>
                  <a:pt x="30" y="65"/>
                </a:lnTo>
                <a:lnTo>
                  <a:pt x="30" y="65"/>
                </a:lnTo>
                <a:lnTo>
                  <a:pt x="30" y="65"/>
                </a:lnTo>
                <a:lnTo>
                  <a:pt x="30" y="65"/>
                </a:lnTo>
                <a:lnTo>
                  <a:pt x="30" y="65"/>
                </a:lnTo>
                <a:lnTo>
                  <a:pt x="30" y="65"/>
                </a:lnTo>
                <a:lnTo>
                  <a:pt x="31" y="65"/>
                </a:lnTo>
                <a:lnTo>
                  <a:pt x="31" y="65"/>
                </a:lnTo>
                <a:lnTo>
                  <a:pt x="31" y="65"/>
                </a:lnTo>
                <a:lnTo>
                  <a:pt x="31" y="66"/>
                </a:lnTo>
                <a:lnTo>
                  <a:pt x="31" y="66"/>
                </a:lnTo>
                <a:lnTo>
                  <a:pt x="31" y="66"/>
                </a:lnTo>
                <a:lnTo>
                  <a:pt x="31" y="66"/>
                </a:lnTo>
                <a:lnTo>
                  <a:pt x="32" y="66"/>
                </a:lnTo>
                <a:lnTo>
                  <a:pt x="32" y="66"/>
                </a:lnTo>
                <a:lnTo>
                  <a:pt x="32" y="66"/>
                </a:lnTo>
                <a:lnTo>
                  <a:pt x="32" y="66"/>
                </a:lnTo>
                <a:lnTo>
                  <a:pt x="32" y="66"/>
                </a:lnTo>
                <a:lnTo>
                  <a:pt x="32" y="66"/>
                </a:lnTo>
                <a:lnTo>
                  <a:pt x="33" y="66"/>
                </a:lnTo>
                <a:lnTo>
                  <a:pt x="33" y="66"/>
                </a:lnTo>
                <a:lnTo>
                  <a:pt x="33" y="66"/>
                </a:lnTo>
                <a:lnTo>
                  <a:pt x="33" y="66"/>
                </a:lnTo>
                <a:lnTo>
                  <a:pt x="33" y="66"/>
                </a:lnTo>
                <a:lnTo>
                  <a:pt x="33" y="66"/>
                </a:lnTo>
                <a:lnTo>
                  <a:pt x="34" y="66"/>
                </a:lnTo>
                <a:lnTo>
                  <a:pt x="34" y="66"/>
                </a:lnTo>
                <a:lnTo>
                  <a:pt x="34" y="66"/>
                </a:lnTo>
                <a:lnTo>
                  <a:pt x="34" y="66"/>
                </a:lnTo>
                <a:lnTo>
                  <a:pt x="34" y="66"/>
                </a:lnTo>
                <a:lnTo>
                  <a:pt x="34" y="66"/>
                </a:lnTo>
                <a:lnTo>
                  <a:pt x="35" y="66"/>
                </a:lnTo>
                <a:lnTo>
                  <a:pt x="35" y="66"/>
                </a:lnTo>
                <a:lnTo>
                  <a:pt x="35" y="66"/>
                </a:lnTo>
                <a:lnTo>
                  <a:pt x="35" y="66"/>
                </a:lnTo>
                <a:lnTo>
                  <a:pt x="35" y="66"/>
                </a:lnTo>
                <a:lnTo>
                  <a:pt x="35" y="66"/>
                </a:lnTo>
                <a:lnTo>
                  <a:pt x="36" y="66"/>
                </a:lnTo>
                <a:lnTo>
                  <a:pt x="36" y="66"/>
                </a:lnTo>
                <a:lnTo>
                  <a:pt x="36" y="66"/>
                </a:lnTo>
                <a:lnTo>
                  <a:pt x="36" y="66"/>
                </a:lnTo>
                <a:lnTo>
                  <a:pt x="36" y="66"/>
                </a:lnTo>
                <a:lnTo>
                  <a:pt x="36" y="66"/>
                </a:lnTo>
                <a:lnTo>
                  <a:pt x="37" y="66"/>
                </a:lnTo>
                <a:lnTo>
                  <a:pt x="37" y="66"/>
                </a:lnTo>
                <a:lnTo>
                  <a:pt x="37" y="66"/>
                </a:lnTo>
                <a:lnTo>
                  <a:pt x="37" y="66"/>
                </a:lnTo>
                <a:lnTo>
                  <a:pt x="37" y="66"/>
                </a:lnTo>
                <a:lnTo>
                  <a:pt x="37" y="66"/>
                </a:lnTo>
                <a:lnTo>
                  <a:pt x="39" y="66"/>
                </a:lnTo>
                <a:lnTo>
                  <a:pt x="39" y="66"/>
                </a:lnTo>
                <a:lnTo>
                  <a:pt x="39" y="66"/>
                </a:lnTo>
                <a:lnTo>
                  <a:pt x="39" y="66"/>
                </a:lnTo>
                <a:close/>
                <a:moveTo>
                  <a:pt x="76" y="37"/>
                </a:moveTo>
                <a:lnTo>
                  <a:pt x="76" y="37"/>
                </a:lnTo>
                <a:lnTo>
                  <a:pt x="76" y="37"/>
                </a:lnTo>
                <a:lnTo>
                  <a:pt x="76" y="38"/>
                </a:lnTo>
                <a:lnTo>
                  <a:pt x="76" y="38"/>
                </a:lnTo>
                <a:lnTo>
                  <a:pt x="76" y="38"/>
                </a:lnTo>
                <a:lnTo>
                  <a:pt x="76" y="38"/>
                </a:lnTo>
                <a:lnTo>
                  <a:pt x="76" y="39"/>
                </a:lnTo>
                <a:lnTo>
                  <a:pt x="76" y="39"/>
                </a:lnTo>
                <a:lnTo>
                  <a:pt x="76" y="39"/>
                </a:lnTo>
                <a:lnTo>
                  <a:pt x="76" y="39"/>
                </a:lnTo>
                <a:lnTo>
                  <a:pt x="76" y="39"/>
                </a:lnTo>
                <a:lnTo>
                  <a:pt x="76" y="40"/>
                </a:lnTo>
                <a:lnTo>
                  <a:pt x="76" y="40"/>
                </a:lnTo>
                <a:lnTo>
                  <a:pt x="76" y="40"/>
                </a:lnTo>
                <a:lnTo>
                  <a:pt x="76" y="40"/>
                </a:lnTo>
                <a:lnTo>
                  <a:pt x="76" y="40"/>
                </a:lnTo>
                <a:lnTo>
                  <a:pt x="76" y="41"/>
                </a:lnTo>
                <a:lnTo>
                  <a:pt x="76" y="41"/>
                </a:lnTo>
                <a:lnTo>
                  <a:pt x="76" y="41"/>
                </a:lnTo>
                <a:lnTo>
                  <a:pt x="76" y="41"/>
                </a:lnTo>
                <a:lnTo>
                  <a:pt x="76" y="43"/>
                </a:lnTo>
                <a:lnTo>
                  <a:pt x="76" y="43"/>
                </a:lnTo>
                <a:lnTo>
                  <a:pt x="76" y="43"/>
                </a:lnTo>
                <a:lnTo>
                  <a:pt x="76" y="43"/>
                </a:lnTo>
                <a:lnTo>
                  <a:pt x="76" y="43"/>
                </a:lnTo>
                <a:lnTo>
                  <a:pt x="76" y="44"/>
                </a:lnTo>
                <a:lnTo>
                  <a:pt x="76" y="44"/>
                </a:lnTo>
                <a:lnTo>
                  <a:pt x="76" y="44"/>
                </a:lnTo>
                <a:lnTo>
                  <a:pt x="76" y="44"/>
                </a:lnTo>
                <a:lnTo>
                  <a:pt x="76" y="44"/>
                </a:lnTo>
                <a:lnTo>
                  <a:pt x="76" y="45"/>
                </a:lnTo>
                <a:lnTo>
                  <a:pt x="76" y="45"/>
                </a:lnTo>
                <a:lnTo>
                  <a:pt x="76" y="45"/>
                </a:lnTo>
                <a:lnTo>
                  <a:pt x="75" y="45"/>
                </a:lnTo>
                <a:lnTo>
                  <a:pt x="75" y="45"/>
                </a:lnTo>
                <a:lnTo>
                  <a:pt x="75" y="46"/>
                </a:lnTo>
                <a:lnTo>
                  <a:pt x="75" y="46"/>
                </a:lnTo>
                <a:lnTo>
                  <a:pt x="75" y="46"/>
                </a:lnTo>
                <a:lnTo>
                  <a:pt x="75" y="46"/>
                </a:lnTo>
                <a:lnTo>
                  <a:pt x="75" y="46"/>
                </a:lnTo>
                <a:lnTo>
                  <a:pt x="75" y="47"/>
                </a:lnTo>
                <a:lnTo>
                  <a:pt x="75" y="47"/>
                </a:lnTo>
                <a:lnTo>
                  <a:pt x="75" y="47"/>
                </a:lnTo>
                <a:lnTo>
                  <a:pt x="75" y="47"/>
                </a:lnTo>
                <a:lnTo>
                  <a:pt x="75" y="47"/>
                </a:lnTo>
                <a:lnTo>
                  <a:pt x="75" y="48"/>
                </a:lnTo>
                <a:lnTo>
                  <a:pt x="75" y="48"/>
                </a:lnTo>
                <a:lnTo>
                  <a:pt x="75" y="48"/>
                </a:lnTo>
                <a:lnTo>
                  <a:pt x="75" y="48"/>
                </a:lnTo>
                <a:lnTo>
                  <a:pt x="75" y="48"/>
                </a:lnTo>
                <a:lnTo>
                  <a:pt x="75" y="49"/>
                </a:lnTo>
                <a:lnTo>
                  <a:pt x="75" y="49"/>
                </a:lnTo>
                <a:lnTo>
                  <a:pt x="73" y="49"/>
                </a:lnTo>
                <a:lnTo>
                  <a:pt x="73" y="49"/>
                </a:lnTo>
                <a:lnTo>
                  <a:pt x="73" y="49"/>
                </a:lnTo>
                <a:lnTo>
                  <a:pt x="73" y="50"/>
                </a:lnTo>
                <a:lnTo>
                  <a:pt x="73" y="50"/>
                </a:lnTo>
                <a:lnTo>
                  <a:pt x="73" y="50"/>
                </a:lnTo>
                <a:lnTo>
                  <a:pt x="73" y="50"/>
                </a:lnTo>
                <a:lnTo>
                  <a:pt x="73" y="50"/>
                </a:lnTo>
                <a:lnTo>
                  <a:pt x="73" y="50"/>
                </a:lnTo>
                <a:lnTo>
                  <a:pt x="73" y="52"/>
                </a:lnTo>
                <a:lnTo>
                  <a:pt x="73" y="52"/>
                </a:lnTo>
                <a:lnTo>
                  <a:pt x="73" y="52"/>
                </a:lnTo>
                <a:lnTo>
                  <a:pt x="73" y="52"/>
                </a:lnTo>
                <a:lnTo>
                  <a:pt x="72" y="52"/>
                </a:lnTo>
                <a:lnTo>
                  <a:pt x="72" y="53"/>
                </a:lnTo>
                <a:lnTo>
                  <a:pt x="72" y="53"/>
                </a:lnTo>
                <a:lnTo>
                  <a:pt x="72" y="53"/>
                </a:lnTo>
                <a:lnTo>
                  <a:pt x="72" y="53"/>
                </a:lnTo>
                <a:lnTo>
                  <a:pt x="72" y="53"/>
                </a:lnTo>
                <a:lnTo>
                  <a:pt x="72" y="54"/>
                </a:lnTo>
                <a:lnTo>
                  <a:pt x="72" y="54"/>
                </a:lnTo>
                <a:lnTo>
                  <a:pt x="72" y="54"/>
                </a:lnTo>
                <a:lnTo>
                  <a:pt x="72" y="54"/>
                </a:lnTo>
                <a:lnTo>
                  <a:pt x="72" y="54"/>
                </a:lnTo>
                <a:lnTo>
                  <a:pt x="72" y="54"/>
                </a:lnTo>
                <a:lnTo>
                  <a:pt x="71" y="55"/>
                </a:lnTo>
                <a:lnTo>
                  <a:pt x="71" y="55"/>
                </a:lnTo>
                <a:lnTo>
                  <a:pt x="71" y="55"/>
                </a:lnTo>
                <a:lnTo>
                  <a:pt x="71" y="55"/>
                </a:lnTo>
                <a:lnTo>
                  <a:pt x="71" y="55"/>
                </a:lnTo>
                <a:lnTo>
                  <a:pt x="71" y="56"/>
                </a:lnTo>
                <a:lnTo>
                  <a:pt x="71" y="56"/>
                </a:lnTo>
                <a:lnTo>
                  <a:pt x="71" y="56"/>
                </a:lnTo>
                <a:lnTo>
                  <a:pt x="71" y="56"/>
                </a:lnTo>
                <a:lnTo>
                  <a:pt x="71" y="56"/>
                </a:lnTo>
                <a:lnTo>
                  <a:pt x="70" y="56"/>
                </a:lnTo>
                <a:lnTo>
                  <a:pt x="70" y="57"/>
                </a:lnTo>
                <a:lnTo>
                  <a:pt x="70" y="57"/>
                </a:lnTo>
                <a:lnTo>
                  <a:pt x="70" y="57"/>
                </a:lnTo>
                <a:lnTo>
                  <a:pt x="70" y="57"/>
                </a:lnTo>
                <a:lnTo>
                  <a:pt x="70" y="57"/>
                </a:lnTo>
                <a:lnTo>
                  <a:pt x="70" y="57"/>
                </a:lnTo>
                <a:lnTo>
                  <a:pt x="70" y="58"/>
                </a:lnTo>
                <a:lnTo>
                  <a:pt x="70" y="58"/>
                </a:lnTo>
                <a:lnTo>
                  <a:pt x="69" y="58"/>
                </a:lnTo>
                <a:lnTo>
                  <a:pt x="69" y="58"/>
                </a:lnTo>
                <a:lnTo>
                  <a:pt x="69" y="58"/>
                </a:lnTo>
                <a:lnTo>
                  <a:pt x="69" y="58"/>
                </a:lnTo>
                <a:lnTo>
                  <a:pt x="69" y="59"/>
                </a:lnTo>
                <a:lnTo>
                  <a:pt x="69" y="59"/>
                </a:lnTo>
                <a:lnTo>
                  <a:pt x="69" y="59"/>
                </a:lnTo>
                <a:lnTo>
                  <a:pt x="69" y="59"/>
                </a:lnTo>
                <a:lnTo>
                  <a:pt x="69" y="59"/>
                </a:lnTo>
                <a:lnTo>
                  <a:pt x="68" y="59"/>
                </a:lnTo>
                <a:lnTo>
                  <a:pt x="68" y="61"/>
                </a:lnTo>
                <a:lnTo>
                  <a:pt x="68" y="61"/>
                </a:lnTo>
                <a:lnTo>
                  <a:pt x="68" y="61"/>
                </a:lnTo>
                <a:lnTo>
                  <a:pt x="68" y="61"/>
                </a:lnTo>
                <a:lnTo>
                  <a:pt x="68" y="61"/>
                </a:lnTo>
                <a:lnTo>
                  <a:pt x="68" y="61"/>
                </a:lnTo>
                <a:lnTo>
                  <a:pt x="67" y="61"/>
                </a:lnTo>
                <a:lnTo>
                  <a:pt x="67" y="62"/>
                </a:lnTo>
                <a:lnTo>
                  <a:pt x="67" y="62"/>
                </a:lnTo>
                <a:lnTo>
                  <a:pt x="67" y="62"/>
                </a:lnTo>
                <a:lnTo>
                  <a:pt x="67" y="62"/>
                </a:lnTo>
                <a:lnTo>
                  <a:pt x="67" y="62"/>
                </a:lnTo>
                <a:lnTo>
                  <a:pt x="67" y="62"/>
                </a:lnTo>
                <a:lnTo>
                  <a:pt x="67" y="63"/>
                </a:lnTo>
                <a:lnTo>
                  <a:pt x="66" y="63"/>
                </a:lnTo>
                <a:lnTo>
                  <a:pt x="66" y="63"/>
                </a:lnTo>
                <a:lnTo>
                  <a:pt x="66" y="63"/>
                </a:lnTo>
                <a:lnTo>
                  <a:pt x="66" y="63"/>
                </a:lnTo>
                <a:lnTo>
                  <a:pt x="66" y="63"/>
                </a:lnTo>
                <a:lnTo>
                  <a:pt x="66" y="63"/>
                </a:lnTo>
                <a:lnTo>
                  <a:pt x="66" y="64"/>
                </a:lnTo>
                <a:lnTo>
                  <a:pt x="64" y="64"/>
                </a:lnTo>
                <a:lnTo>
                  <a:pt x="64" y="64"/>
                </a:lnTo>
                <a:lnTo>
                  <a:pt x="64" y="64"/>
                </a:lnTo>
                <a:lnTo>
                  <a:pt x="64" y="64"/>
                </a:lnTo>
                <a:lnTo>
                  <a:pt x="64" y="64"/>
                </a:lnTo>
                <a:lnTo>
                  <a:pt x="64" y="64"/>
                </a:lnTo>
                <a:lnTo>
                  <a:pt x="64" y="65"/>
                </a:lnTo>
                <a:lnTo>
                  <a:pt x="63" y="65"/>
                </a:lnTo>
                <a:lnTo>
                  <a:pt x="63" y="65"/>
                </a:lnTo>
                <a:lnTo>
                  <a:pt x="63" y="65"/>
                </a:lnTo>
                <a:lnTo>
                  <a:pt x="63" y="65"/>
                </a:lnTo>
                <a:lnTo>
                  <a:pt x="63" y="65"/>
                </a:lnTo>
                <a:lnTo>
                  <a:pt x="63" y="65"/>
                </a:lnTo>
                <a:lnTo>
                  <a:pt x="63" y="65"/>
                </a:lnTo>
                <a:lnTo>
                  <a:pt x="62" y="66"/>
                </a:lnTo>
                <a:lnTo>
                  <a:pt x="62" y="66"/>
                </a:lnTo>
                <a:lnTo>
                  <a:pt x="62" y="66"/>
                </a:lnTo>
                <a:lnTo>
                  <a:pt x="62" y="66"/>
                </a:lnTo>
                <a:lnTo>
                  <a:pt x="62" y="66"/>
                </a:lnTo>
                <a:lnTo>
                  <a:pt x="62" y="66"/>
                </a:lnTo>
                <a:lnTo>
                  <a:pt x="61" y="66"/>
                </a:lnTo>
                <a:lnTo>
                  <a:pt x="61" y="66"/>
                </a:lnTo>
                <a:lnTo>
                  <a:pt x="61" y="67"/>
                </a:lnTo>
                <a:lnTo>
                  <a:pt x="61" y="67"/>
                </a:lnTo>
                <a:lnTo>
                  <a:pt x="61" y="67"/>
                </a:lnTo>
                <a:lnTo>
                  <a:pt x="61" y="67"/>
                </a:lnTo>
                <a:lnTo>
                  <a:pt x="61" y="67"/>
                </a:lnTo>
                <a:lnTo>
                  <a:pt x="60" y="67"/>
                </a:lnTo>
                <a:lnTo>
                  <a:pt x="60" y="67"/>
                </a:lnTo>
                <a:lnTo>
                  <a:pt x="60" y="67"/>
                </a:lnTo>
                <a:lnTo>
                  <a:pt x="60" y="68"/>
                </a:lnTo>
                <a:lnTo>
                  <a:pt x="60" y="68"/>
                </a:lnTo>
                <a:lnTo>
                  <a:pt x="60" y="68"/>
                </a:lnTo>
                <a:lnTo>
                  <a:pt x="59" y="68"/>
                </a:lnTo>
                <a:lnTo>
                  <a:pt x="59" y="68"/>
                </a:lnTo>
                <a:lnTo>
                  <a:pt x="59" y="68"/>
                </a:lnTo>
                <a:lnTo>
                  <a:pt x="59" y="68"/>
                </a:lnTo>
                <a:lnTo>
                  <a:pt x="59" y="68"/>
                </a:lnTo>
                <a:lnTo>
                  <a:pt x="59" y="68"/>
                </a:lnTo>
                <a:lnTo>
                  <a:pt x="58" y="70"/>
                </a:lnTo>
                <a:lnTo>
                  <a:pt x="58" y="70"/>
                </a:lnTo>
                <a:lnTo>
                  <a:pt x="58" y="70"/>
                </a:lnTo>
                <a:lnTo>
                  <a:pt x="58" y="70"/>
                </a:lnTo>
                <a:lnTo>
                  <a:pt x="58" y="70"/>
                </a:lnTo>
                <a:lnTo>
                  <a:pt x="57" y="70"/>
                </a:lnTo>
                <a:lnTo>
                  <a:pt x="57" y="70"/>
                </a:lnTo>
                <a:lnTo>
                  <a:pt x="57" y="70"/>
                </a:lnTo>
                <a:lnTo>
                  <a:pt x="57" y="70"/>
                </a:lnTo>
                <a:lnTo>
                  <a:pt x="57" y="70"/>
                </a:lnTo>
                <a:lnTo>
                  <a:pt x="57" y="71"/>
                </a:lnTo>
                <a:lnTo>
                  <a:pt x="55" y="71"/>
                </a:lnTo>
                <a:lnTo>
                  <a:pt x="55" y="71"/>
                </a:lnTo>
                <a:lnTo>
                  <a:pt x="55" y="71"/>
                </a:lnTo>
                <a:lnTo>
                  <a:pt x="55" y="71"/>
                </a:lnTo>
                <a:lnTo>
                  <a:pt x="55" y="71"/>
                </a:lnTo>
                <a:lnTo>
                  <a:pt x="55" y="71"/>
                </a:lnTo>
                <a:lnTo>
                  <a:pt x="54" y="71"/>
                </a:lnTo>
                <a:lnTo>
                  <a:pt x="54" y="71"/>
                </a:lnTo>
                <a:lnTo>
                  <a:pt x="54" y="71"/>
                </a:lnTo>
                <a:lnTo>
                  <a:pt x="54" y="71"/>
                </a:lnTo>
                <a:lnTo>
                  <a:pt x="54" y="72"/>
                </a:lnTo>
                <a:lnTo>
                  <a:pt x="53" y="72"/>
                </a:lnTo>
                <a:lnTo>
                  <a:pt x="53" y="72"/>
                </a:lnTo>
                <a:lnTo>
                  <a:pt x="53" y="72"/>
                </a:lnTo>
                <a:lnTo>
                  <a:pt x="53" y="72"/>
                </a:lnTo>
                <a:lnTo>
                  <a:pt x="53" y="72"/>
                </a:lnTo>
                <a:lnTo>
                  <a:pt x="52" y="72"/>
                </a:lnTo>
                <a:lnTo>
                  <a:pt x="52" y="72"/>
                </a:lnTo>
                <a:lnTo>
                  <a:pt x="52" y="72"/>
                </a:lnTo>
                <a:lnTo>
                  <a:pt x="52" y="72"/>
                </a:lnTo>
                <a:lnTo>
                  <a:pt x="52" y="72"/>
                </a:lnTo>
                <a:lnTo>
                  <a:pt x="52" y="72"/>
                </a:lnTo>
                <a:lnTo>
                  <a:pt x="51" y="72"/>
                </a:lnTo>
                <a:lnTo>
                  <a:pt x="51" y="73"/>
                </a:lnTo>
                <a:lnTo>
                  <a:pt x="51" y="73"/>
                </a:lnTo>
                <a:lnTo>
                  <a:pt x="51" y="73"/>
                </a:lnTo>
                <a:lnTo>
                  <a:pt x="51" y="73"/>
                </a:lnTo>
                <a:lnTo>
                  <a:pt x="50" y="73"/>
                </a:lnTo>
                <a:lnTo>
                  <a:pt x="50" y="73"/>
                </a:lnTo>
                <a:lnTo>
                  <a:pt x="50" y="73"/>
                </a:lnTo>
                <a:lnTo>
                  <a:pt x="50" y="73"/>
                </a:lnTo>
                <a:lnTo>
                  <a:pt x="50" y="73"/>
                </a:lnTo>
                <a:lnTo>
                  <a:pt x="49" y="73"/>
                </a:lnTo>
                <a:lnTo>
                  <a:pt x="49" y="73"/>
                </a:lnTo>
                <a:lnTo>
                  <a:pt x="49" y="73"/>
                </a:lnTo>
                <a:lnTo>
                  <a:pt x="49" y="73"/>
                </a:lnTo>
                <a:lnTo>
                  <a:pt x="49" y="73"/>
                </a:lnTo>
                <a:lnTo>
                  <a:pt x="48" y="73"/>
                </a:lnTo>
                <a:lnTo>
                  <a:pt x="48" y="73"/>
                </a:lnTo>
                <a:lnTo>
                  <a:pt x="48" y="73"/>
                </a:lnTo>
                <a:lnTo>
                  <a:pt x="48" y="74"/>
                </a:lnTo>
                <a:lnTo>
                  <a:pt x="48" y="74"/>
                </a:lnTo>
                <a:lnTo>
                  <a:pt x="46" y="74"/>
                </a:lnTo>
                <a:lnTo>
                  <a:pt x="46" y="74"/>
                </a:lnTo>
                <a:lnTo>
                  <a:pt x="46" y="74"/>
                </a:lnTo>
                <a:lnTo>
                  <a:pt x="46" y="74"/>
                </a:lnTo>
                <a:lnTo>
                  <a:pt x="46" y="74"/>
                </a:lnTo>
                <a:lnTo>
                  <a:pt x="45" y="74"/>
                </a:lnTo>
                <a:lnTo>
                  <a:pt x="45" y="74"/>
                </a:lnTo>
                <a:lnTo>
                  <a:pt x="45" y="74"/>
                </a:lnTo>
                <a:lnTo>
                  <a:pt x="45" y="74"/>
                </a:lnTo>
                <a:lnTo>
                  <a:pt x="45" y="74"/>
                </a:lnTo>
                <a:lnTo>
                  <a:pt x="44" y="74"/>
                </a:lnTo>
                <a:lnTo>
                  <a:pt x="44" y="74"/>
                </a:lnTo>
                <a:lnTo>
                  <a:pt x="44" y="74"/>
                </a:lnTo>
                <a:lnTo>
                  <a:pt x="44" y="74"/>
                </a:lnTo>
                <a:lnTo>
                  <a:pt x="44" y="74"/>
                </a:lnTo>
                <a:lnTo>
                  <a:pt x="43" y="74"/>
                </a:lnTo>
                <a:lnTo>
                  <a:pt x="43" y="74"/>
                </a:lnTo>
                <a:lnTo>
                  <a:pt x="43" y="74"/>
                </a:lnTo>
                <a:lnTo>
                  <a:pt x="43" y="74"/>
                </a:lnTo>
                <a:lnTo>
                  <a:pt x="42" y="74"/>
                </a:lnTo>
                <a:lnTo>
                  <a:pt x="42" y="74"/>
                </a:lnTo>
                <a:lnTo>
                  <a:pt x="42" y="74"/>
                </a:lnTo>
                <a:lnTo>
                  <a:pt x="42" y="74"/>
                </a:lnTo>
                <a:lnTo>
                  <a:pt x="42" y="74"/>
                </a:lnTo>
                <a:lnTo>
                  <a:pt x="41" y="74"/>
                </a:lnTo>
                <a:lnTo>
                  <a:pt x="41" y="74"/>
                </a:lnTo>
                <a:lnTo>
                  <a:pt x="41" y="74"/>
                </a:lnTo>
                <a:lnTo>
                  <a:pt x="41" y="74"/>
                </a:lnTo>
                <a:lnTo>
                  <a:pt x="41" y="74"/>
                </a:lnTo>
                <a:lnTo>
                  <a:pt x="40" y="74"/>
                </a:lnTo>
                <a:lnTo>
                  <a:pt x="40" y="74"/>
                </a:lnTo>
                <a:lnTo>
                  <a:pt x="40" y="74"/>
                </a:lnTo>
                <a:lnTo>
                  <a:pt x="40" y="74"/>
                </a:lnTo>
                <a:lnTo>
                  <a:pt x="40" y="74"/>
                </a:lnTo>
                <a:lnTo>
                  <a:pt x="39" y="74"/>
                </a:lnTo>
                <a:lnTo>
                  <a:pt x="39" y="74"/>
                </a:lnTo>
                <a:lnTo>
                  <a:pt x="39" y="74"/>
                </a:lnTo>
                <a:lnTo>
                  <a:pt x="39" y="74"/>
                </a:lnTo>
                <a:lnTo>
                  <a:pt x="37" y="74"/>
                </a:lnTo>
                <a:lnTo>
                  <a:pt x="37" y="74"/>
                </a:lnTo>
                <a:lnTo>
                  <a:pt x="37" y="74"/>
                </a:lnTo>
                <a:lnTo>
                  <a:pt x="37" y="74"/>
                </a:lnTo>
                <a:lnTo>
                  <a:pt x="37" y="74"/>
                </a:lnTo>
                <a:lnTo>
                  <a:pt x="36" y="74"/>
                </a:lnTo>
                <a:lnTo>
                  <a:pt x="36" y="74"/>
                </a:lnTo>
                <a:lnTo>
                  <a:pt x="36" y="74"/>
                </a:lnTo>
                <a:lnTo>
                  <a:pt x="36" y="74"/>
                </a:lnTo>
                <a:lnTo>
                  <a:pt x="36" y="74"/>
                </a:lnTo>
                <a:lnTo>
                  <a:pt x="35" y="74"/>
                </a:lnTo>
                <a:lnTo>
                  <a:pt x="35" y="74"/>
                </a:lnTo>
                <a:lnTo>
                  <a:pt x="35" y="74"/>
                </a:lnTo>
                <a:lnTo>
                  <a:pt x="35" y="74"/>
                </a:lnTo>
                <a:lnTo>
                  <a:pt x="34" y="74"/>
                </a:lnTo>
                <a:lnTo>
                  <a:pt x="34" y="74"/>
                </a:lnTo>
                <a:lnTo>
                  <a:pt x="34" y="74"/>
                </a:lnTo>
                <a:lnTo>
                  <a:pt x="34" y="74"/>
                </a:lnTo>
                <a:lnTo>
                  <a:pt x="34" y="74"/>
                </a:lnTo>
                <a:lnTo>
                  <a:pt x="33" y="74"/>
                </a:lnTo>
                <a:lnTo>
                  <a:pt x="33" y="74"/>
                </a:lnTo>
                <a:lnTo>
                  <a:pt x="33" y="74"/>
                </a:lnTo>
                <a:lnTo>
                  <a:pt x="33" y="74"/>
                </a:lnTo>
                <a:lnTo>
                  <a:pt x="33" y="74"/>
                </a:lnTo>
                <a:lnTo>
                  <a:pt x="32" y="74"/>
                </a:lnTo>
                <a:lnTo>
                  <a:pt x="32" y="74"/>
                </a:lnTo>
                <a:lnTo>
                  <a:pt x="32" y="74"/>
                </a:lnTo>
                <a:lnTo>
                  <a:pt x="32" y="74"/>
                </a:lnTo>
                <a:lnTo>
                  <a:pt x="32" y="74"/>
                </a:lnTo>
                <a:lnTo>
                  <a:pt x="31" y="74"/>
                </a:lnTo>
                <a:lnTo>
                  <a:pt x="31" y="74"/>
                </a:lnTo>
                <a:lnTo>
                  <a:pt x="31" y="74"/>
                </a:lnTo>
                <a:lnTo>
                  <a:pt x="31" y="74"/>
                </a:lnTo>
                <a:lnTo>
                  <a:pt x="31" y="74"/>
                </a:lnTo>
                <a:lnTo>
                  <a:pt x="30" y="74"/>
                </a:lnTo>
                <a:lnTo>
                  <a:pt x="30" y="74"/>
                </a:lnTo>
                <a:lnTo>
                  <a:pt x="30" y="74"/>
                </a:lnTo>
                <a:lnTo>
                  <a:pt x="30" y="73"/>
                </a:lnTo>
                <a:lnTo>
                  <a:pt x="30" y="73"/>
                </a:lnTo>
                <a:lnTo>
                  <a:pt x="28" y="73"/>
                </a:lnTo>
                <a:lnTo>
                  <a:pt x="28" y="73"/>
                </a:lnTo>
                <a:lnTo>
                  <a:pt x="28" y="73"/>
                </a:lnTo>
                <a:lnTo>
                  <a:pt x="28" y="73"/>
                </a:lnTo>
                <a:lnTo>
                  <a:pt x="28" y="73"/>
                </a:lnTo>
                <a:lnTo>
                  <a:pt x="27" y="73"/>
                </a:lnTo>
                <a:lnTo>
                  <a:pt x="27" y="73"/>
                </a:lnTo>
                <a:lnTo>
                  <a:pt x="27" y="73"/>
                </a:lnTo>
                <a:lnTo>
                  <a:pt x="27" y="73"/>
                </a:lnTo>
                <a:lnTo>
                  <a:pt x="27" y="73"/>
                </a:lnTo>
                <a:lnTo>
                  <a:pt x="26" y="73"/>
                </a:lnTo>
                <a:lnTo>
                  <a:pt x="26" y="73"/>
                </a:lnTo>
                <a:lnTo>
                  <a:pt x="26" y="73"/>
                </a:lnTo>
                <a:lnTo>
                  <a:pt x="26" y="73"/>
                </a:lnTo>
                <a:lnTo>
                  <a:pt x="26" y="73"/>
                </a:lnTo>
                <a:lnTo>
                  <a:pt x="25" y="72"/>
                </a:lnTo>
                <a:lnTo>
                  <a:pt x="25" y="72"/>
                </a:lnTo>
                <a:lnTo>
                  <a:pt x="25" y="72"/>
                </a:lnTo>
                <a:lnTo>
                  <a:pt x="25" y="72"/>
                </a:lnTo>
                <a:lnTo>
                  <a:pt x="25" y="72"/>
                </a:lnTo>
                <a:lnTo>
                  <a:pt x="24" y="72"/>
                </a:lnTo>
                <a:lnTo>
                  <a:pt x="24" y="72"/>
                </a:lnTo>
                <a:lnTo>
                  <a:pt x="24" y="72"/>
                </a:lnTo>
                <a:lnTo>
                  <a:pt x="24" y="72"/>
                </a:lnTo>
                <a:lnTo>
                  <a:pt x="24" y="72"/>
                </a:lnTo>
                <a:lnTo>
                  <a:pt x="24" y="72"/>
                </a:lnTo>
                <a:lnTo>
                  <a:pt x="23" y="72"/>
                </a:lnTo>
                <a:lnTo>
                  <a:pt x="23" y="72"/>
                </a:lnTo>
                <a:lnTo>
                  <a:pt x="23" y="71"/>
                </a:lnTo>
                <a:lnTo>
                  <a:pt x="23" y="71"/>
                </a:lnTo>
                <a:lnTo>
                  <a:pt x="23" y="71"/>
                </a:lnTo>
                <a:lnTo>
                  <a:pt x="22" y="71"/>
                </a:lnTo>
                <a:lnTo>
                  <a:pt x="22" y="71"/>
                </a:lnTo>
                <a:lnTo>
                  <a:pt x="22" y="71"/>
                </a:lnTo>
                <a:lnTo>
                  <a:pt x="22" y="71"/>
                </a:lnTo>
                <a:lnTo>
                  <a:pt x="22" y="71"/>
                </a:lnTo>
                <a:lnTo>
                  <a:pt x="22" y="71"/>
                </a:lnTo>
                <a:lnTo>
                  <a:pt x="21" y="71"/>
                </a:lnTo>
                <a:lnTo>
                  <a:pt x="21" y="71"/>
                </a:lnTo>
                <a:lnTo>
                  <a:pt x="21" y="70"/>
                </a:lnTo>
                <a:lnTo>
                  <a:pt x="21" y="70"/>
                </a:lnTo>
                <a:lnTo>
                  <a:pt x="21" y="70"/>
                </a:lnTo>
                <a:lnTo>
                  <a:pt x="19" y="70"/>
                </a:lnTo>
                <a:lnTo>
                  <a:pt x="19" y="70"/>
                </a:lnTo>
                <a:lnTo>
                  <a:pt x="19" y="70"/>
                </a:lnTo>
                <a:lnTo>
                  <a:pt x="19" y="70"/>
                </a:lnTo>
                <a:lnTo>
                  <a:pt x="19" y="70"/>
                </a:lnTo>
                <a:lnTo>
                  <a:pt x="19" y="70"/>
                </a:lnTo>
                <a:lnTo>
                  <a:pt x="18" y="70"/>
                </a:lnTo>
                <a:lnTo>
                  <a:pt x="18" y="68"/>
                </a:lnTo>
                <a:lnTo>
                  <a:pt x="18" y="68"/>
                </a:lnTo>
                <a:lnTo>
                  <a:pt x="18" y="68"/>
                </a:lnTo>
                <a:lnTo>
                  <a:pt x="18" y="68"/>
                </a:lnTo>
                <a:lnTo>
                  <a:pt x="18" y="68"/>
                </a:lnTo>
                <a:lnTo>
                  <a:pt x="17" y="68"/>
                </a:lnTo>
                <a:lnTo>
                  <a:pt x="17" y="68"/>
                </a:lnTo>
                <a:lnTo>
                  <a:pt x="17" y="68"/>
                </a:lnTo>
                <a:lnTo>
                  <a:pt x="17" y="68"/>
                </a:lnTo>
                <a:lnTo>
                  <a:pt x="17" y="67"/>
                </a:lnTo>
                <a:lnTo>
                  <a:pt x="17" y="67"/>
                </a:lnTo>
                <a:lnTo>
                  <a:pt x="16" y="67"/>
                </a:lnTo>
                <a:lnTo>
                  <a:pt x="16" y="67"/>
                </a:lnTo>
                <a:lnTo>
                  <a:pt x="16" y="67"/>
                </a:lnTo>
                <a:lnTo>
                  <a:pt x="16" y="67"/>
                </a:lnTo>
                <a:lnTo>
                  <a:pt x="16" y="67"/>
                </a:lnTo>
                <a:lnTo>
                  <a:pt x="16" y="67"/>
                </a:lnTo>
                <a:lnTo>
                  <a:pt x="15" y="66"/>
                </a:lnTo>
                <a:lnTo>
                  <a:pt x="15" y="66"/>
                </a:lnTo>
                <a:lnTo>
                  <a:pt x="15" y="66"/>
                </a:lnTo>
                <a:lnTo>
                  <a:pt x="15" y="66"/>
                </a:lnTo>
                <a:lnTo>
                  <a:pt x="15" y="66"/>
                </a:lnTo>
                <a:lnTo>
                  <a:pt x="15" y="66"/>
                </a:lnTo>
                <a:lnTo>
                  <a:pt x="14" y="66"/>
                </a:lnTo>
                <a:lnTo>
                  <a:pt x="14" y="66"/>
                </a:lnTo>
                <a:lnTo>
                  <a:pt x="14" y="65"/>
                </a:lnTo>
                <a:lnTo>
                  <a:pt x="14" y="65"/>
                </a:lnTo>
                <a:lnTo>
                  <a:pt x="14" y="65"/>
                </a:lnTo>
                <a:lnTo>
                  <a:pt x="14" y="65"/>
                </a:lnTo>
                <a:lnTo>
                  <a:pt x="14" y="65"/>
                </a:lnTo>
                <a:lnTo>
                  <a:pt x="13" y="65"/>
                </a:lnTo>
                <a:lnTo>
                  <a:pt x="13" y="65"/>
                </a:lnTo>
                <a:lnTo>
                  <a:pt x="13" y="65"/>
                </a:lnTo>
                <a:lnTo>
                  <a:pt x="13" y="64"/>
                </a:lnTo>
                <a:lnTo>
                  <a:pt x="13" y="64"/>
                </a:lnTo>
                <a:lnTo>
                  <a:pt x="13" y="64"/>
                </a:lnTo>
                <a:lnTo>
                  <a:pt x="13" y="64"/>
                </a:lnTo>
                <a:lnTo>
                  <a:pt x="12" y="64"/>
                </a:lnTo>
                <a:lnTo>
                  <a:pt x="12" y="64"/>
                </a:lnTo>
                <a:lnTo>
                  <a:pt x="12" y="64"/>
                </a:lnTo>
                <a:lnTo>
                  <a:pt x="12" y="63"/>
                </a:lnTo>
                <a:lnTo>
                  <a:pt x="12" y="63"/>
                </a:lnTo>
                <a:lnTo>
                  <a:pt x="12" y="63"/>
                </a:lnTo>
                <a:lnTo>
                  <a:pt x="12" y="63"/>
                </a:lnTo>
                <a:lnTo>
                  <a:pt x="10" y="63"/>
                </a:lnTo>
                <a:lnTo>
                  <a:pt x="10" y="63"/>
                </a:lnTo>
                <a:lnTo>
                  <a:pt x="10" y="63"/>
                </a:lnTo>
                <a:lnTo>
                  <a:pt x="10" y="62"/>
                </a:lnTo>
                <a:lnTo>
                  <a:pt x="10" y="62"/>
                </a:lnTo>
                <a:lnTo>
                  <a:pt x="10" y="62"/>
                </a:lnTo>
                <a:lnTo>
                  <a:pt x="10" y="62"/>
                </a:lnTo>
                <a:lnTo>
                  <a:pt x="10" y="62"/>
                </a:lnTo>
                <a:lnTo>
                  <a:pt x="9" y="62"/>
                </a:lnTo>
                <a:lnTo>
                  <a:pt x="9" y="61"/>
                </a:lnTo>
                <a:lnTo>
                  <a:pt x="9" y="61"/>
                </a:lnTo>
                <a:lnTo>
                  <a:pt x="9" y="61"/>
                </a:lnTo>
                <a:lnTo>
                  <a:pt x="9" y="61"/>
                </a:lnTo>
                <a:lnTo>
                  <a:pt x="9" y="61"/>
                </a:lnTo>
                <a:lnTo>
                  <a:pt x="9" y="61"/>
                </a:lnTo>
                <a:lnTo>
                  <a:pt x="8" y="61"/>
                </a:lnTo>
                <a:lnTo>
                  <a:pt x="8" y="59"/>
                </a:lnTo>
                <a:lnTo>
                  <a:pt x="8" y="59"/>
                </a:lnTo>
                <a:lnTo>
                  <a:pt x="8" y="59"/>
                </a:lnTo>
                <a:lnTo>
                  <a:pt x="8" y="59"/>
                </a:lnTo>
                <a:lnTo>
                  <a:pt x="8" y="59"/>
                </a:lnTo>
                <a:lnTo>
                  <a:pt x="8" y="59"/>
                </a:lnTo>
                <a:lnTo>
                  <a:pt x="8" y="58"/>
                </a:lnTo>
                <a:lnTo>
                  <a:pt x="8" y="58"/>
                </a:lnTo>
                <a:lnTo>
                  <a:pt x="7" y="58"/>
                </a:lnTo>
                <a:lnTo>
                  <a:pt x="7" y="58"/>
                </a:lnTo>
                <a:lnTo>
                  <a:pt x="7" y="58"/>
                </a:lnTo>
                <a:lnTo>
                  <a:pt x="7" y="58"/>
                </a:lnTo>
                <a:lnTo>
                  <a:pt x="7" y="57"/>
                </a:lnTo>
                <a:lnTo>
                  <a:pt x="7" y="57"/>
                </a:lnTo>
                <a:lnTo>
                  <a:pt x="7" y="57"/>
                </a:lnTo>
                <a:lnTo>
                  <a:pt x="7" y="57"/>
                </a:lnTo>
                <a:lnTo>
                  <a:pt x="7" y="57"/>
                </a:lnTo>
                <a:lnTo>
                  <a:pt x="6" y="57"/>
                </a:lnTo>
                <a:lnTo>
                  <a:pt x="6" y="56"/>
                </a:lnTo>
                <a:lnTo>
                  <a:pt x="6" y="56"/>
                </a:lnTo>
                <a:lnTo>
                  <a:pt x="6" y="56"/>
                </a:lnTo>
                <a:lnTo>
                  <a:pt x="6" y="56"/>
                </a:lnTo>
                <a:lnTo>
                  <a:pt x="6" y="56"/>
                </a:lnTo>
                <a:lnTo>
                  <a:pt x="6" y="56"/>
                </a:lnTo>
                <a:lnTo>
                  <a:pt x="6" y="55"/>
                </a:lnTo>
                <a:lnTo>
                  <a:pt x="6" y="55"/>
                </a:lnTo>
                <a:lnTo>
                  <a:pt x="6" y="55"/>
                </a:lnTo>
                <a:lnTo>
                  <a:pt x="5" y="55"/>
                </a:lnTo>
                <a:lnTo>
                  <a:pt x="5" y="55"/>
                </a:lnTo>
                <a:lnTo>
                  <a:pt x="5" y="54"/>
                </a:lnTo>
                <a:lnTo>
                  <a:pt x="5" y="54"/>
                </a:lnTo>
                <a:lnTo>
                  <a:pt x="5" y="54"/>
                </a:lnTo>
                <a:lnTo>
                  <a:pt x="5" y="54"/>
                </a:lnTo>
                <a:lnTo>
                  <a:pt x="5" y="54"/>
                </a:lnTo>
                <a:lnTo>
                  <a:pt x="5" y="54"/>
                </a:lnTo>
                <a:lnTo>
                  <a:pt x="5" y="53"/>
                </a:lnTo>
                <a:lnTo>
                  <a:pt x="5" y="53"/>
                </a:lnTo>
                <a:lnTo>
                  <a:pt x="5" y="53"/>
                </a:lnTo>
                <a:lnTo>
                  <a:pt x="4" y="53"/>
                </a:lnTo>
                <a:lnTo>
                  <a:pt x="4" y="53"/>
                </a:lnTo>
                <a:lnTo>
                  <a:pt x="4" y="52"/>
                </a:lnTo>
                <a:lnTo>
                  <a:pt x="4" y="52"/>
                </a:lnTo>
                <a:lnTo>
                  <a:pt x="4" y="52"/>
                </a:lnTo>
                <a:lnTo>
                  <a:pt x="4" y="52"/>
                </a:lnTo>
                <a:lnTo>
                  <a:pt x="4" y="52"/>
                </a:lnTo>
                <a:lnTo>
                  <a:pt x="4" y="50"/>
                </a:lnTo>
                <a:lnTo>
                  <a:pt x="4" y="50"/>
                </a:lnTo>
                <a:lnTo>
                  <a:pt x="4" y="50"/>
                </a:lnTo>
                <a:lnTo>
                  <a:pt x="4" y="50"/>
                </a:lnTo>
                <a:lnTo>
                  <a:pt x="4" y="50"/>
                </a:lnTo>
                <a:lnTo>
                  <a:pt x="4" y="50"/>
                </a:lnTo>
                <a:lnTo>
                  <a:pt x="3" y="49"/>
                </a:lnTo>
                <a:lnTo>
                  <a:pt x="3" y="49"/>
                </a:lnTo>
                <a:lnTo>
                  <a:pt x="3" y="49"/>
                </a:lnTo>
                <a:lnTo>
                  <a:pt x="3" y="49"/>
                </a:lnTo>
                <a:lnTo>
                  <a:pt x="3" y="49"/>
                </a:lnTo>
                <a:lnTo>
                  <a:pt x="3" y="48"/>
                </a:lnTo>
                <a:lnTo>
                  <a:pt x="3" y="48"/>
                </a:lnTo>
                <a:lnTo>
                  <a:pt x="3" y="48"/>
                </a:lnTo>
                <a:lnTo>
                  <a:pt x="3" y="48"/>
                </a:lnTo>
                <a:lnTo>
                  <a:pt x="3" y="48"/>
                </a:lnTo>
                <a:lnTo>
                  <a:pt x="3" y="47"/>
                </a:lnTo>
                <a:lnTo>
                  <a:pt x="3" y="47"/>
                </a:lnTo>
                <a:lnTo>
                  <a:pt x="3" y="47"/>
                </a:lnTo>
                <a:lnTo>
                  <a:pt x="3" y="47"/>
                </a:lnTo>
                <a:lnTo>
                  <a:pt x="3" y="47"/>
                </a:lnTo>
                <a:lnTo>
                  <a:pt x="3" y="46"/>
                </a:lnTo>
                <a:lnTo>
                  <a:pt x="1" y="46"/>
                </a:lnTo>
                <a:lnTo>
                  <a:pt x="1" y="46"/>
                </a:lnTo>
                <a:lnTo>
                  <a:pt x="1" y="46"/>
                </a:lnTo>
                <a:lnTo>
                  <a:pt x="1" y="46"/>
                </a:lnTo>
                <a:lnTo>
                  <a:pt x="1" y="45"/>
                </a:lnTo>
                <a:lnTo>
                  <a:pt x="1" y="45"/>
                </a:lnTo>
                <a:lnTo>
                  <a:pt x="1" y="45"/>
                </a:lnTo>
                <a:lnTo>
                  <a:pt x="1" y="45"/>
                </a:lnTo>
                <a:lnTo>
                  <a:pt x="1" y="45"/>
                </a:lnTo>
                <a:lnTo>
                  <a:pt x="1" y="44"/>
                </a:lnTo>
                <a:lnTo>
                  <a:pt x="1" y="44"/>
                </a:lnTo>
                <a:lnTo>
                  <a:pt x="1" y="44"/>
                </a:lnTo>
                <a:lnTo>
                  <a:pt x="1" y="44"/>
                </a:lnTo>
                <a:lnTo>
                  <a:pt x="1" y="44"/>
                </a:lnTo>
                <a:lnTo>
                  <a:pt x="1" y="43"/>
                </a:lnTo>
                <a:lnTo>
                  <a:pt x="1" y="43"/>
                </a:lnTo>
                <a:lnTo>
                  <a:pt x="1" y="43"/>
                </a:lnTo>
                <a:lnTo>
                  <a:pt x="1" y="43"/>
                </a:lnTo>
                <a:lnTo>
                  <a:pt x="1" y="43"/>
                </a:lnTo>
                <a:lnTo>
                  <a:pt x="1" y="41"/>
                </a:lnTo>
                <a:lnTo>
                  <a:pt x="1" y="41"/>
                </a:lnTo>
                <a:lnTo>
                  <a:pt x="1" y="41"/>
                </a:lnTo>
                <a:lnTo>
                  <a:pt x="1" y="41"/>
                </a:lnTo>
                <a:lnTo>
                  <a:pt x="1" y="40"/>
                </a:lnTo>
                <a:lnTo>
                  <a:pt x="1" y="40"/>
                </a:lnTo>
                <a:lnTo>
                  <a:pt x="1" y="40"/>
                </a:lnTo>
                <a:lnTo>
                  <a:pt x="1" y="40"/>
                </a:lnTo>
                <a:lnTo>
                  <a:pt x="1" y="40"/>
                </a:lnTo>
                <a:lnTo>
                  <a:pt x="1" y="39"/>
                </a:lnTo>
                <a:lnTo>
                  <a:pt x="1" y="39"/>
                </a:lnTo>
                <a:lnTo>
                  <a:pt x="1" y="39"/>
                </a:lnTo>
                <a:lnTo>
                  <a:pt x="1" y="39"/>
                </a:lnTo>
                <a:lnTo>
                  <a:pt x="0" y="39"/>
                </a:lnTo>
                <a:lnTo>
                  <a:pt x="0" y="38"/>
                </a:lnTo>
                <a:lnTo>
                  <a:pt x="0" y="38"/>
                </a:lnTo>
                <a:lnTo>
                  <a:pt x="0" y="38"/>
                </a:lnTo>
                <a:lnTo>
                  <a:pt x="0" y="38"/>
                </a:lnTo>
                <a:lnTo>
                  <a:pt x="0" y="37"/>
                </a:lnTo>
                <a:lnTo>
                  <a:pt x="0" y="37"/>
                </a:lnTo>
                <a:lnTo>
                  <a:pt x="0" y="37"/>
                </a:lnTo>
                <a:lnTo>
                  <a:pt x="0" y="37"/>
                </a:lnTo>
                <a:lnTo>
                  <a:pt x="0" y="37"/>
                </a:lnTo>
                <a:lnTo>
                  <a:pt x="0" y="36"/>
                </a:lnTo>
                <a:lnTo>
                  <a:pt x="0" y="36"/>
                </a:lnTo>
                <a:lnTo>
                  <a:pt x="0" y="36"/>
                </a:lnTo>
                <a:lnTo>
                  <a:pt x="0" y="36"/>
                </a:lnTo>
                <a:lnTo>
                  <a:pt x="0" y="36"/>
                </a:lnTo>
                <a:lnTo>
                  <a:pt x="1" y="35"/>
                </a:lnTo>
                <a:lnTo>
                  <a:pt x="1" y="35"/>
                </a:lnTo>
                <a:lnTo>
                  <a:pt x="1" y="35"/>
                </a:lnTo>
                <a:lnTo>
                  <a:pt x="1" y="35"/>
                </a:lnTo>
                <a:lnTo>
                  <a:pt x="1" y="34"/>
                </a:lnTo>
                <a:lnTo>
                  <a:pt x="1" y="34"/>
                </a:lnTo>
                <a:lnTo>
                  <a:pt x="1" y="34"/>
                </a:lnTo>
                <a:lnTo>
                  <a:pt x="1" y="34"/>
                </a:lnTo>
                <a:lnTo>
                  <a:pt x="1" y="34"/>
                </a:lnTo>
                <a:lnTo>
                  <a:pt x="1" y="32"/>
                </a:lnTo>
                <a:lnTo>
                  <a:pt x="1" y="32"/>
                </a:lnTo>
                <a:lnTo>
                  <a:pt x="1" y="32"/>
                </a:lnTo>
                <a:lnTo>
                  <a:pt x="1" y="32"/>
                </a:lnTo>
                <a:lnTo>
                  <a:pt x="1" y="32"/>
                </a:lnTo>
                <a:lnTo>
                  <a:pt x="1" y="31"/>
                </a:lnTo>
                <a:lnTo>
                  <a:pt x="1" y="31"/>
                </a:lnTo>
                <a:lnTo>
                  <a:pt x="1" y="31"/>
                </a:lnTo>
                <a:lnTo>
                  <a:pt x="1" y="31"/>
                </a:lnTo>
                <a:lnTo>
                  <a:pt x="1" y="31"/>
                </a:lnTo>
                <a:lnTo>
                  <a:pt x="1" y="30"/>
                </a:lnTo>
                <a:lnTo>
                  <a:pt x="1" y="30"/>
                </a:lnTo>
                <a:lnTo>
                  <a:pt x="1" y="30"/>
                </a:lnTo>
                <a:lnTo>
                  <a:pt x="1" y="30"/>
                </a:lnTo>
                <a:lnTo>
                  <a:pt x="1" y="30"/>
                </a:lnTo>
                <a:lnTo>
                  <a:pt x="1" y="29"/>
                </a:lnTo>
                <a:lnTo>
                  <a:pt x="1" y="29"/>
                </a:lnTo>
                <a:lnTo>
                  <a:pt x="1" y="29"/>
                </a:lnTo>
                <a:lnTo>
                  <a:pt x="1" y="29"/>
                </a:lnTo>
                <a:lnTo>
                  <a:pt x="1" y="29"/>
                </a:lnTo>
                <a:lnTo>
                  <a:pt x="1" y="28"/>
                </a:lnTo>
                <a:lnTo>
                  <a:pt x="1" y="28"/>
                </a:lnTo>
                <a:lnTo>
                  <a:pt x="1" y="28"/>
                </a:lnTo>
                <a:lnTo>
                  <a:pt x="3" y="28"/>
                </a:lnTo>
                <a:lnTo>
                  <a:pt x="3" y="28"/>
                </a:lnTo>
                <a:lnTo>
                  <a:pt x="3" y="27"/>
                </a:lnTo>
                <a:lnTo>
                  <a:pt x="3" y="27"/>
                </a:lnTo>
                <a:lnTo>
                  <a:pt x="3" y="27"/>
                </a:lnTo>
                <a:lnTo>
                  <a:pt x="3" y="27"/>
                </a:lnTo>
                <a:lnTo>
                  <a:pt x="3" y="27"/>
                </a:lnTo>
                <a:lnTo>
                  <a:pt x="3" y="26"/>
                </a:lnTo>
                <a:lnTo>
                  <a:pt x="3" y="26"/>
                </a:lnTo>
                <a:lnTo>
                  <a:pt x="3" y="26"/>
                </a:lnTo>
                <a:lnTo>
                  <a:pt x="3" y="26"/>
                </a:lnTo>
                <a:lnTo>
                  <a:pt x="3" y="26"/>
                </a:lnTo>
                <a:lnTo>
                  <a:pt x="3" y="25"/>
                </a:lnTo>
                <a:lnTo>
                  <a:pt x="3" y="25"/>
                </a:lnTo>
                <a:lnTo>
                  <a:pt x="3" y="25"/>
                </a:lnTo>
                <a:lnTo>
                  <a:pt x="3" y="25"/>
                </a:lnTo>
                <a:lnTo>
                  <a:pt x="4" y="25"/>
                </a:lnTo>
                <a:lnTo>
                  <a:pt x="4" y="23"/>
                </a:lnTo>
                <a:lnTo>
                  <a:pt x="4" y="23"/>
                </a:lnTo>
                <a:lnTo>
                  <a:pt x="4" y="23"/>
                </a:lnTo>
                <a:lnTo>
                  <a:pt x="4" y="23"/>
                </a:lnTo>
                <a:lnTo>
                  <a:pt x="4" y="23"/>
                </a:lnTo>
                <a:lnTo>
                  <a:pt x="4" y="22"/>
                </a:lnTo>
                <a:lnTo>
                  <a:pt x="4" y="22"/>
                </a:lnTo>
                <a:lnTo>
                  <a:pt x="4" y="22"/>
                </a:lnTo>
                <a:lnTo>
                  <a:pt x="4" y="22"/>
                </a:lnTo>
                <a:lnTo>
                  <a:pt x="4" y="22"/>
                </a:lnTo>
                <a:lnTo>
                  <a:pt x="4" y="22"/>
                </a:lnTo>
                <a:lnTo>
                  <a:pt x="4" y="21"/>
                </a:lnTo>
                <a:lnTo>
                  <a:pt x="5" y="21"/>
                </a:lnTo>
                <a:lnTo>
                  <a:pt x="5" y="21"/>
                </a:lnTo>
                <a:lnTo>
                  <a:pt x="5" y="21"/>
                </a:lnTo>
                <a:lnTo>
                  <a:pt x="5" y="21"/>
                </a:lnTo>
                <a:lnTo>
                  <a:pt x="5" y="20"/>
                </a:lnTo>
                <a:lnTo>
                  <a:pt x="5" y="20"/>
                </a:lnTo>
                <a:lnTo>
                  <a:pt x="5" y="20"/>
                </a:lnTo>
                <a:lnTo>
                  <a:pt x="5" y="20"/>
                </a:lnTo>
                <a:lnTo>
                  <a:pt x="5" y="20"/>
                </a:lnTo>
                <a:lnTo>
                  <a:pt x="5" y="20"/>
                </a:lnTo>
                <a:lnTo>
                  <a:pt x="5" y="19"/>
                </a:lnTo>
                <a:lnTo>
                  <a:pt x="6" y="19"/>
                </a:lnTo>
                <a:lnTo>
                  <a:pt x="6" y="19"/>
                </a:lnTo>
                <a:lnTo>
                  <a:pt x="6" y="19"/>
                </a:lnTo>
                <a:lnTo>
                  <a:pt x="6" y="19"/>
                </a:lnTo>
                <a:lnTo>
                  <a:pt x="6" y="18"/>
                </a:lnTo>
                <a:lnTo>
                  <a:pt x="6" y="18"/>
                </a:lnTo>
                <a:lnTo>
                  <a:pt x="6" y="18"/>
                </a:lnTo>
                <a:lnTo>
                  <a:pt x="6" y="18"/>
                </a:lnTo>
                <a:lnTo>
                  <a:pt x="6" y="18"/>
                </a:lnTo>
                <a:lnTo>
                  <a:pt x="6" y="18"/>
                </a:lnTo>
                <a:lnTo>
                  <a:pt x="7" y="17"/>
                </a:lnTo>
                <a:lnTo>
                  <a:pt x="7" y="17"/>
                </a:lnTo>
                <a:lnTo>
                  <a:pt x="7" y="17"/>
                </a:lnTo>
                <a:lnTo>
                  <a:pt x="7" y="17"/>
                </a:lnTo>
                <a:lnTo>
                  <a:pt x="7" y="17"/>
                </a:lnTo>
                <a:lnTo>
                  <a:pt x="7" y="17"/>
                </a:lnTo>
                <a:lnTo>
                  <a:pt x="7" y="16"/>
                </a:lnTo>
                <a:lnTo>
                  <a:pt x="7" y="16"/>
                </a:lnTo>
                <a:lnTo>
                  <a:pt x="7" y="16"/>
                </a:lnTo>
                <a:lnTo>
                  <a:pt x="8" y="16"/>
                </a:lnTo>
                <a:lnTo>
                  <a:pt x="8" y="16"/>
                </a:lnTo>
                <a:lnTo>
                  <a:pt x="8" y="16"/>
                </a:lnTo>
                <a:lnTo>
                  <a:pt x="8" y="14"/>
                </a:lnTo>
                <a:lnTo>
                  <a:pt x="8" y="14"/>
                </a:lnTo>
                <a:lnTo>
                  <a:pt x="8" y="14"/>
                </a:lnTo>
                <a:lnTo>
                  <a:pt x="8" y="14"/>
                </a:lnTo>
                <a:lnTo>
                  <a:pt x="8" y="14"/>
                </a:lnTo>
                <a:lnTo>
                  <a:pt x="8" y="14"/>
                </a:lnTo>
                <a:lnTo>
                  <a:pt x="9" y="13"/>
                </a:lnTo>
                <a:lnTo>
                  <a:pt x="9" y="13"/>
                </a:lnTo>
                <a:lnTo>
                  <a:pt x="9" y="13"/>
                </a:lnTo>
                <a:lnTo>
                  <a:pt x="9" y="13"/>
                </a:lnTo>
                <a:lnTo>
                  <a:pt x="9" y="13"/>
                </a:lnTo>
                <a:lnTo>
                  <a:pt x="9" y="13"/>
                </a:lnTo>
                <a:lnTo>
                  <a:pt x="9" y="13"/>
                </a:lnTo>
                <a:lnTo>
                  <a:pt x="10" y="12"/>
                </a:lnTo>
                <a:lnTo>
                  <a:pt x="10" y="12"/>
                </a:lnTo>
                <a:lnTo>
                  <a:pt x="10" y="12"/>
                </a:lnTo>
                <a:lnTo>
                  <a:pt x="10" y="12"/>
                </a:lnTo>
                <a:lnTo>
                  <a:pt x="10" y="12"/>
                </a:lnTo>
                <a:lnTo>
                  <a:pt x="10" y="12"/>
                </a:lnTo>
                <a:lnTo>
                  <a:pt x="10" y="11"/>
                </a:lnTo>
                <a:lnTo>
                  <a:pt x="10" y="11"/>
                </a:lnTo>
                <a:lnTo>
                  <a:pt x="12" y="11"/>
                </a:lnTo>
                <a:lnTo>
                  <a:pt x="12" y="11"/>
                </a:lnTo>
                <a:lnTo>
                  <a:pt x="12" y="11"/>
                </a:lnTo>
                <a:lnTo>
                  <a:pt x="12" y="11"/>
                </a:lnTo>
                <a:lnTo>
                  <a:pt x="12" y="11"/>
                </a:lnTo>
                <a:lnTo>
                  <a:pt x="12" y="10"/>
                </a:lnTo>
                <a:lnTo>
                  <a:pt x="12" y="10"/>
                </a:lnTo>
                <a:lnTo>
                  <a:pt x="13" y="10"/>
                </a:lnTo>
                <a:lnTo>
                  <a:pt x="13" y="10"/>
                </a:lnTo>
                <a:lnTo>
                  <a:pt x="13" y="10"/>
                </a:lnTo>
                <a:lnTo>
                  <a:pt x="13" y="10"/>
                </a:lnTo>
                <a:lnTo>
                  <a:pt x="13" y="10"/>
                </a:lnTo>
                <a:lnTo>
                  <a:pt x="13" y="9"/>
                </a:lnTo>
                <a:lnTo>
                  <a:pt x="13" y="9"/>
                </a:lnTo>
                <a:lnTo>
                  <a:pt x="14" y="9"/>
                </a:lnTo>
                <a:lnTo>
                  <a:pt x="14" y="9"/>
                </a:lnTo>
                <a:lnTo>
                  <a:pt x="14" y="9"/>
                </a:lnTo>
                <a:lnTo>
                  <a:pt x="14" y="9"/>
                </a:lnTo>
                <a:lnTo>
                  <a:pt x="14" y="9"/>
                </a:lnTo>
                <a:lnTo>
                  <a:pt x="14" y="9"/>
                </a:lnTo>
                <a:lnTo>
                  <a:pt x="14" y="8"/>
                </a:lnTo>
                <a:lnTo>
                  <a:pt x="15" y="8"/>
                </a:lnTo>
                <a:lnTo>
                  <a:pt x="15" y="8"/>
                </a:lnTo>
                <a:lnTo>
                  <a:pt x="15" y="8"/>
                </a:lnTo>
                <a:lnTo>
                  <a:pt x="15" y="8"/>
                </a:lnTo>
                <a:lnTo>
                  <a:pt x="15" y="8"/>
                </a:lnTo>
                <a:lnTo>
                  <a:pt x="15" y="8"/>
                </a:lnTo>
                <a:lnTo>
                  <a:pt x="16" y="8"/>
                </a:lnTo>
                <a:lnTo>
                  <a:pt x="16" y="7"/>
                </a:lnTo>
                <a:lnTo>
                  <a:pt x="16" y="7"/>
                </a:lnTo>
                <a:lnTo>
                  <a:pt x="16" y="7"/>
                </a:lnTo>
                <a:lnTo>
                  <a:pt x="16" y="7"/>
                </a:lnTo>
                <a:lnTo>
                  <a:pt x="16" y="7"/>
                </a:lnTo>
                <a:lnTo>
                  <a:pt x="17" y="7"/>
                </a:lnTo>
                <a:lnTo>
                  <a:pt x="17" y="7"/>
                </a:lnTo>
                <a:lnTo>
                  <a:pt x="17" y="7"/>
                </a:lnTo>
                <a:lnTo>
                  <a:pt x="17" y="5"/>
                </a:lnTo>
                <a:lnTo>
                  <a:pt x="17" y="5"/>
                </a:lnTo>
                <a:lnTo>
                  <a:pt x="17" y="5"/>
                </a:lnTo>
                <a:lnTo>
                  <a:pt x="18" y="5"/>
                </a:lnTo>
                <a:lnTo>
                  <a:pt x="18" y="5"/>
                </a:lnTo>
                <a:lnTo>
                  <a:pt x="18" y="5"/>
                </a:lnTo>
                <a:lnTo>
                  <a:pt x="18" y="5"/>
                </a:lnTo>
                <a:lnTo>
                  <a:pt x="18" y="5"/>
                </a:lnTo>
                <a:lnTo>
                  <a:pt x="18" y="5"/>
                </a:lnTo>
                <a:lnTo>
                  <a:pt x="19" y="5"/>
                </a:lnTo>
                <a:lnTo>
                  <a:pt x="19" y="4"/>
                </a:lnTo>
                <a:lnTo>
                  <a:pt x="19" y="4"/>
                </a:lnTo>
                <a:lnTo>
                  <a:pt x="19" y="4"/>
                </a:lnTo>
                <a:lnTo>
                  <a:pt x="19" y="4"/>
                </a:lnTo>
                <a:lnTo>
                  <a:pt x="19" y="4"/>
                </a:lnTo>
                <a:lnTo>
                  <a:pt x="21" y="4"/>
                </a:lnTo>
                <a:lnTo>
                  <a:pt x="21" y="4"/>
                </a:lnTo>
                <a:lnTo>
                  <a:pt x="21" y="4"/>
                </a:lnTo>
                <a:lnTo>
                  <a:pt x="21" y="4"/>
                </a:lnTo>
                <a:lnTo>
                  <a:pt x="21" y="4"/>
                </a:lnTo>
                <a:lnTo>
                  <a:pt x="22" y="3"/>
                </a:lnTo>
                <a:lnTo>
                  <a:pt x="22" y="3"/>
                </a:lnTo>
                <a:lnTo>
                  <a:pt x="22" y="3"/>
                </a:lnTo>
                <a:lnTo>
                  <a:pt x="22" y="3"/>
                </a:lnTo>
                <a:lnTo>
                  <a:pt x="22" y="3"/>
                </a:lnTo>
                <a:lnTo>
                  <a:pt x="22" y="3"/>
                </a:lnTo>
                <a:lnTo>
                  <a:pt x="23" y="3"/>
                </a:lnTo>
                <a:lnTo>
                  <a:pt x="23" y="3"/>
                </a:lnTo>
                <a:lnTo>
                  <a:pt x="23" y="3"/>
                </a:lnTo>
                <a:lnTo>
                  <a:pt x="23" y="3"/>
                </a:lnTo>
                <a:lnTo>
                  <a:pt x="23" y="3"/>
                </a:lnTo>
                <a:lnTo>
                  <a:pt x="24" y="2"/>
                </a:lnTo>
                <a:lnTo>
                  <a:pt x="24" y="2"/>
                </a:lnTo>
                <a:lnTo>
                  <a:pt x="24" y="2"/>
                </a:lnTo>
                <a:lnTo>
                  <a:pt x="24" y="2"/>
                </a:lnTo>
                <a:lnTo>
                  <a:pt x="24" y="2"/>
                </a:lnTo>
                <a:lnTo>
                  <a:pt x="24" y="2"/>
                </a:lnTo>
                <a:lnTo>
                  <a:pt x="25" y="2"/>
                </a:lnTo>
                <a:lnTo>
                  <a:pt x="25" y="2"/>
                </a:lnTo>
                <a:lnTo>
                  <a:pt x="25" y="2"/>
                </a:lnTo>
                <a:lnTo>
                  <a:pt x="25" y="2"/>
                </a:lnTo>
                <a:lnTo>
                  <a:pt x="25" y="2"/>
                </a:lnTo>
                <a:lnTo>
                  <a:pt x="26" y="2"/>
                </a:lnTo>
                <a:lnTo>
                  <a:pt x="26" y="2"/>
                </a:lnTo>
                <a:lnTo>
                  <a:pt x="26" y="1"/>
                </a:lnTo>
                <a:lnTo>
                  <a:pt x="26" y="1"/>
                </a:lnTo>
                <a:lnTo>
                  <a:pt x="26" y="1"/>
                </a:lnTo>
                <a:lnTo>
                  <a:pt x="27" y="1"/>
                </a:lnTo>
                <a:lnTo>
                  <a:pt x="27" y="1"/>
                </a:lnTo>
                <a:lnTo>
                  <a:pt x="27" y="1"/>
                </a:lnTo>
                <a:lnTo>
                  <a:pt x="27" y="1"/>
                </a:lnTo>
                <a:lnTo>
                  <a:pt x="27" y="1"/>
                </a:lnTo>
                <a:lnTo>
                  <a:pt x="28" y="1"/>
                </a:lnTo>
                <a:lnTo>
                  <a:pt x="28" y="1"/>
                </a:lnTo>
                <a:lnTo>
                  <a:pt x="28" y="1"/>
                </a:lnTo>
                <a:lnTo>
                  <a:pt x="28" y="1"/>
                </a:lnTo>
                <a:lnTo>
                  <a:pt x="28" y="1"/>
                </a:lnTo>
                <a:lnTo>
                  <a:pt x="30" y="1"/>
                </a:lnTo>
                <a:lnTo>
                  <a:pt x="30" y="1"/>
                </a:lnTo>
                <a:lnTo>
                  <a:pt x="30" y="1"/>
                </a:lnTo>
                <a:lnTo>
                  <a:pt x="30" y="1"/>
                </a:lnTo>
                <a:lnTo>
                  <a:pt x="30" y="1"/>
                </a:lnTo>
                <a:lnTo>
                  <a:pt x="31" y="0"/>
                </a:lnTo>
                <a:lnTo>
                  <a:pt x="31" y="0"/>
                </a:lnTo>
                <a:lnTo>
                  <a:pt x="31" y="0"/>
                </a:lnTo>
                <a:lnTo>
                  <a:pt x="31" y="0"/>
                </a:lnTo>
                <a:lnTo>
                  <a:pt x="31" y="0"/>
                </a:lnTo>
                <a:lnTo>
                  <a:pt x="32" y="0"/>
                </a:lnTo>
                <a:lnTo>
                  <a:pt x="32" y="0"/>
                </a:lnTo>
                <a:lnTo>
                  <a:pt x="32" y="0"/>
                </a:lnTo>
                <a:lnTo>
                  <a:pt x="32" y="0"/>
                </a:lnTo>
                <a:lnTo>
                  <a:pt x="32" y="0"/>
                </a:lnTo>
                <a:lnTo>
                  <a:pt x="33" y="0"/>
                </a:lnTo>
                <a:lnTo>
                  <a:pt x="33" y="0"/>
                </a:lnTo>
                <a:lnTo>
                  <a:pt x="33" y="0"/>
                </a:lnTo>
                <a:lnTo>
                  <a:pt x="33" y="0"/>
                </a:lnTo>
                <a:lnTo>
                  <a:pt x="33" y="0"/>
                </a:lnTo>
                <a:lnTo>
                  <a:pt x="34" y="0"/>
                </a:lnTo>
                <a:lnTo>
                  <a:pt x="34" y="0"/>
                </a:lnTo>
                <a:lnTo>
                  <a:pt x="34" y="0"/>
                </a:lnTo>
                <a:lnTo>
                  <a:pt x="34" y="0"/>
                </a:lnTo>
                <a:lnTo>
                  <a:pt x="34" y="0"/>
                </a:lnTo>
                <a:lnTo>
                  <a:pt x="35" y="0"/>
                </a:lnTo>
                <a:lnTo>
                  <a:pt x="35" y="0"/>
                </a:lnTo>
                <a:lnTo>
                  <a:pt x="35" y="0"/>
                </a:lnTo>
                <a:lnTo>
                  <a:pt x="35" y="0"/>
                </a:lnTo>
                <a:lnTo>
                  <a:pt x="36" y="0"/>
                </a:lnTo>
                <a:lnTo>
                  <a:pt x="36" y="0"/>
                </a:lnTo>
                <a:lnTo>
                  <a:pt x="36" y="0"/>
                </a:lnTo>
                <a:lnTo>
                  <a:pt x="36" y="0"/>
                </a:lnTo>
                <a:lnTo>
                  <a:pt x="36" y="0"/>
                </a:lnTo>
                <a:lnTo>
                  <a:pt x="37" y="0"/>
                </a:lnTo>
                <a:lnTo>
                  <a:pt x="37" y="0"/>
                </a:lnTo>
                <a:lnTo>
                  <a:pt x="37" y="0"/>
                </a:lnTo>
                <a:lnTo>
                  <a:pt x="37" y="0"/>
                </a:lnTo>
                <a:lnTo>
                  <a:pt x="37" y="0"/>
                </a:lnTo>
                <a:lnTo>
                  <a:pt x="39" y="0"/>
                </a:lnTo>
                <a:lnTo>
                  <a:pt x="39" y="0"/>
                </a:lnTo>
                <a:lnTo>
                  <a:pt x="39" y="0"/>
                </a:lnTo>
                <a:lnTo>
                  <a:pt x="39" y="0"/>
                </a:lnTo>
                <a:lnTo>
                  <a:pt x="40" y="0"/>
                </a:lnTo>
                <a:lnTo>
                  <a:pt x="40" y="0"/>
                </a:lnTo>
                <a:lnTo>
                  <a:pt x="40" y="0"/>
                </a:lnTo>
                <a:lnTo>
                  <a:pt x="40" y="0"/>
                </a:lnTo>
                <a:lnTo>
                  <a:pt x="40" y="0"/>
                </a:lnTo>
                <a:lnTo>
                  <a:pt x="41" y="0"/>
                </a:lnTo>
                <a:lnTo>
                  <a:pt x="41" y="0"/>
                </a:lnTo>
                <a:lnTo>
                  <a:pt x="41" y="0"/>
                </a:lnTo>
                <a:lnTo>
                  <a:pt x="41" y="0"/>
                </a:lnTo>
                <a:lnTo>
                  <a:pt x="41" y="0"/>
                </a:lnTo>
                <a:lnTo>
                  <a:pt x="42" y="0"/>
                </a:lnTo>
                <a:lnTo>
                  <a:pt x="42" y="0"/>
                </a:lnTo>
                <a:lnTo>
                  <a:pt x="42" y="0"/>
                </a:lnTo>
                <a:lnTo>
                  <a:pt x="42" y="0"/>
                </a:lnTo>
                <a:lnTo>
                  <a:pt x="42" y="0"/>
                </a:lnTo>
                <a:lnTo>
                  <a:pt x="43" y="0"/>
                </a:lnTo>
                <a:lnTo>
                  <a:pt x="43" y="0"/>
                </a:lnTo>
                <a:lnTo>
                  <a:pt x="43" y="0"/>
                </a:lnTo>
                <a:lnTo>
                  <a:pt x="43" y="0"/>
                </a:lnTo>
                <a:lnTo>
                  <a:pt x="44" y="0"/>
                </a:lnTo>
                <a:lnTo>
                  <a:pt x="44" y="0"/>
                </a:lnTo>
                <a:lnTo>
                  <a:pt x="44" y="0"/>
                </a:lnTo>
                <a:lnTo>
                  <a:pt x="44" y="0"/>
                </a:lnTo>
                <a:lnTo>
                  <a:pt x="44" y="0"/>
                </a:lnTo>
                <a:lnTo>
                  <a:pt x="45" y="0"/>
                </a:lnTo>
                <a:lnTo>
                  <a:pt x="45" y="0"/>
                </a:lnTo>
                <a:lnTo>
                  <a:pt x="45" y="0"/>
                </a:lnTo>
                <a:lnTo>
                  <a:pt x="45" y="0"/>
                </a:lnTo>
                <a:lnTo>
                  <a:pt x="45" y="0"/>
                </a:lnTo>
                <a:lnTo>
                  <a:pt x="46" y="0"/>
                </a:lnTo>
                <a:lnTo>
                  <a:pt x="46" y="0"/>
                </a:lnTo>
                <a:lnTo>
                  <a:pt x="46" y="0"/>
                </a:lnTo>
                <a:lnTo>
                  <a:pt x="46" y="0"/>
                </a:lnTo>
                <a:lnTo>
                  <a:pt x="46" y="1"/>
                </a:lnTo>
                <a:lnTo>
                  <a:pt x="48" y="1"/>
                </a:lnTo>
                <a:lnTo>
                  <a:pt x="48" y="1"/>
                </a:lnTo>
                <a:lnTo>
                  <a:pt x="48" y="1"/>
                </a:lnTo>
                <a:lnTo>
                  <a:pt x="48" y="1"/>
                </a:lnTo>
                <a:lnTo>
                  <a:pt x="48" y="1"/>
                </a:lnTo>
                <a:lnTo>
                  <a:pt x="49" y="1"/>
                </a:lnTo>
                <a:lnTo>
                  <a:pt x="49" y="1"/>
                </a:lnTo>
                <a:lnTo>
                  <a:pt x="49" y="1"/>
                </a:lnTo>
                <a:lnTo>
                  <a:pt x="49" y="1"/>
                </a:lnTo>
                <a:lnTo>
                  <a:pt x="49" y="1"/>
                </a:lnTo>
                <a:lnTo>
                  <a:pt x="50" y="1"/>
                </a:lnTo>
                <a:lnTo>
                  <a:pt x="50" y="1"/>
                </a:lnTo>
                <a:lnTo>
                  <a:pt x="50" y="1"/>
                </a:lnTo>
                <a:lnTo>
                  <a:pt x="50" y="1"/>
                </a:lnTo>
                <a:lnTo>
                  <a:pt x="50" y="1"/>
                </a:lnTo>
                <a:lnTo>
                  <a:pt x="51" y="1"/>
                </a:lnTo>
                <a:lnTo>
                  <a:pt x="51" y="1"/>
                </a:lnTo>
                <a:lnTo>
                  <a:pt x="51" y="2"/>
                </a:lnTo>
                <a:lnTo>
                  <a:pt x="51" y="2"/>
                </a:lnTo>
                <a:lnTo>
                  <a:pt x="51" y="2"/>
                </a:lnTo>
                <a:lnTo>
                  <a:pt x="52" y="2"/>
                </a:lnTo>
                <a:lnTo>
                  <a:pt x="52" y="2"/>
                </a:lnTo>
                <a:lnTo>
                  <a:pt x="52" y="2"/>
                </a:lnTo>
                <a:lnTo>
                  <a:pt x="52" y="2"/>
                </a:lnTo>
                <a:lnTo>
                  <a:pt x="52" y="2"/>
                </a:lnTo>
                <a:lnTo>
                  <a:pt x="52" y="2"/>
                </a:lnTo>
                <a:lnTo>
                  <a:pt x="53" y="2"/>
                </a:lnTo>
                <a:lnTo>
                  <a:pt x="53" y="2"/>
                </a:lnTo>
                <a:lnTo>
                  <a:pt x="53" y="2"/>
                </a:lnTo>
                <a:lnTo>
                  <a:pt x="53" y="2"/>
                </a:lnTo>
                <a:lnTo>
                  <a:pt x="53" y="3"/>
                </a:lnTo>
                <a:lnTo>
                  <a:pt x="54" y="3"/>
                </a:lnTo>
                <a:lnTo>
                  <a:pt x="54" y="3"/>
                </a:lnTo>
                <a:lnTo>
                  <a:pt x="54" y="3"/>
                </a:lnTo>
                <a:lnTo>
                  <a:pt x="54" y="3"/>
                </a:lnTo>
                <a:lnTo>
                  <a:pt x="54" y="3"/>
                </a:lnTo>
                <a:lnTo>
                  <a:pt x="55" y="3"/>
                </a:lnTo>
                <a:lnTo>
                  <a:pt x="55" y="3"/>
                </a:lnTo>
                <a:lnTo>
                  <a:pt x="55" y="3"/>
                </a:lnTo>
                <a:lnTo>
                  <a:pt x="55" y="3"/>
                </a:lnTo>
                <a:lnTo>
                  <a:pt x="55" y="3"/>
                </a:lnTo>
                <a:lnTo>
                  <a:pt x="55" y="4"/>
                </a:lnTo>
                <a:lnTo>
                  <a:pt x="57" y="4"/>
                </a:lnTo>
                <a:lnTo>
                  <a:pt x="57" y="4"/>
                </a:lnTo>
                <a:lnTo>
                  <a:pt x="57" y="4"/>
                </a:lnTo>
                <a:lnTo>
                  <a:pt x="57" y="4"/>
                </a:lnTo>
                <a:lnTo>
                  <a:pt x="57" y="4"/>
                </a:lnTo>
                <a:lnTo>
                  <a:pt x="57" y="4"/>
                </a:lnTo>
                <a:lnTo>
                  <a:pt x="58" y="4"/>
                </a:lnTo>
                <a:lnTo>
                  <a:pt x="58" y="4"/>
                </a:lnTo>
                <a:lnTo>
                  <a:pt x="58" y="4"/>
                </a:lnTo>
                <a:lnTo>
                  <a:pt x="58" y="5"/>
                </a:lnTo>
                <a:lnTo>
                  <a:pt x="58" y="5"/>
                </a:lnTo>
                <a:lnTo>
                  <a:pt x="59" y="5"/>
                </a:lnTo>
                <a:lnTo>
                  <a:pt x="59" y="5"/>
                </a:lnTo>
                <a:lnTo>
                  <a:pt x="59" y="5"/>
                </a:lnTo>
                <a:lnTo>
                  <a:pt x="59" y="5"/>
                </a:lnTo>
                <a:lnTo>
                  <a:pt x="59" y="5"/>
                </a:lnTo>
                <a:lnTo>
                  <a:pt x="59" y="5"/>
                </a:lnTo>
                <a:lnTo>
                  <a:pt x="60" y="5"/>
                </a:lnTo>
                <a:lnTo>
                  <a:pt x="60" y="5"/>
                </a:lnTo>
                <a:lnTo>
                  <a:pt x="60" y="7"/>
                </a:lnTo>
                <a:lnTo>
                  <a:pt x="60" y="7"/>
                </a:lnTo>
                <a:lnTo>
                  <a:pt x="60" y="7"/>
                </a:lnTo>
                <a:lnTo>
                  <a:pt x="60" y="7"/>
                </a:lnTo>
                <a:lnTo>
                  <a:pt x="61" y="7"/>
                </a:lnTo>
                <a:lnTo>
                  <a:pt x="61" y="7"/>
                </a:lnTo>
                <a:lnTo>
                  <a:pt x="61" y="7"/>
                </a:lnTo>
                <a:lnTo>
                  <a:pt x="61" y="7"/>
                </a:lnTo>
                <a:lnTo>
                  <a:pt x="61" y="8"/>
                </a:lnTo>
                <a:lnTo>
                  <a:pt x="61" y="8"/>
                </a:lnTo>
                <a:lnTo>
                  <a:pt x="61" y="8"/>
                </a:lnTo>
                <a:lnTo>
                  <a:pt x="62" y="8"/>
                </a:lnTo>
                <a:lnTo>
                  <a:pt x="62" y="8"/>
                </a:lnTo>
                <a:lnTo>
                  <a:pt x="62" y="8"/>
                </a:lnTo>
                <a:lnTo>
                  <a:pt x="62" y="8"/>
                </a:lnTo>
                <a:lnTo>
                  <a:pt x="62" y="8"/>
                </a:lnTo>
                <a:lnTo>
                  <a:pt x="62" y="9"/>
                </a:lnTo>
                <a:lnTo>
                  <a:pt x="63" y="9"/>
                </a:lnTo>
                <a:lnTo>
                  <a:pt x="63" y="9"/>
                </a:lnTo>
                <a:lnTo>
                  <a:pt x="63" y="9"/>
                </a:lnTo>
                <a:lnTo>
                  <a:pt x="63" y="9"/>
                </a:lnTo>
                <a:lnTo>
                  <a:pt x="63" y="9"/>
                </a:lnTo>
                <a:lnTo>
                  <a:pt x="63" y="9"/>
                </a:lnTo>
                <a:lnTo>
                  <a:pt x="63" y="9"/>
                </a:lnTo>
                <a:lnTo>
                  <a:pt x="64" y="10"/>
                </a:lnTo>
                <a:lnTo>
                  <a:pt x="64" y="10"/>
                </a:lnTo>
                <a:lnTo>
                  <a:pt x="64" y="10"/>
                </a:lnTo>
                <a:lnTo>
                  <a:pt x="64" y="10"/>
                </a:lnTo>
                <a:lnTo>
                  <a:pt x="64" y="10"/>
                </a:lnTo>
                <a:lnTo>
                  <a:pt x="64" y="10"/>
                </a:lnTo>
                <a:lnTo>
                  <a:pt x="64" y="10"/>
                </a:lnTo>
                <a:lnTo>
                  <a:pt x="66" y="11"/>
                </a:lnTo>
                <a:lnTo>
                  <a:pt x="66" y="11"/>
                </a:lnTo>
                <a:lnTo>
                  <a:pt x="66" y="11"/>
                </a:lnTo>
                <a:lnTo>
                  <a:pt x="66" y="11"/>
                </a:lnTo>
                <a:lnTo>
                  <a:pt x="66" y="11"/>
                </a:lnTo>
                <a:lnTo>
                  <a:pt x="66" y="11"/>
                </a:lnTo>
                <a:lnTo>
                  <a:pt x="66" y="11"/>
                </a:lnTo>
                <a:lnTo>
                  <a:pt x="67" y="12"/>
                </a:lnTo>
                <a:lnTo>
                  <a:pt x="67" y="12"/>
                </a:lnTo>
                <a:lnTo>
                  <a:pt x="67" y="12"/>
                </a:lnTo>
                <a:lnTo>
                  <a:pt x="67" y="12"/>
                </a:lnTo>
                <a:lnTo>
                  <a:pt x="67" y="12"/>
                </a:lnTo>
                <a:lnTo>
                  <a:pt x="67" y="12"/>
                </a:lnTo>
                <a:lnTo>
                  <a:pt x="67" y="13"/>
                </a:lnTo>
                <a:lnTo>
                  <a:pt x="67" y="13"/>
                </a:lnTo>
                <a:lnTo>
                  <a:pt x="68" y="13"/>
                </a:lnTo>
                <a:lnTo>
                  <a:pt x="68" y="13"/>
                </a:lnTo>
                <a:lnTo>
                  <a:pt x="68" y="13"/>
                </a:lnTo>
                <a:lnTo>
                  <a:pt x="68" y="13"/>
                </a:lnTo>
                <a:lnTo>
                  <a:pt x="68" y="13"/>
                </a:lnTo>
                <a:lnTo>
                  <a:pt x="68" y="14"/>
                </a:lnTo>
                <a:lnTo>
                  <a:pt x="68" y="14"/>
                </a:lnTo>
                <a:lnTo>
                  <a:pt x="68" y="14"/>
                </a:lnTo>
                <a:lnTo>
                  <a:pt x="69" y="14"/>
                </a:lnTo>
                <a:lnTo>
                  <a:pt x="69" y="14"/>
                </a:lnTo>
                <a:lnTo>
                  <a:pt x="69" y="14"/>
                </a:lnTo>
                <a:lnTo>
                  <a:pt x="69" y="16"/>
                </a:lnTo>
                <a:lnTo>
                  <a:pt x="69" y="16"/>
                </a:lnTo>
                <a:lnTo>
                  <a:pt x="69" y="16"/>
                </a:lnTo>
                <a:lnTo>
                  <a:pt x="69" y="16"/>
                </a:lnTo>
                <a:lnTo>
                  <a:pt x="69" y="16"/>
                </a:lnTo>
                <a:lnTo>
                  <a:pt x="70" y="16"/>
                </a:lnTo>
                <a:lnTo>
                  <a:pt x="70" y="17"/>
                </a:lnTo>
                <a:lnTo>
                  <a:pt x="70" y="17"/>
                </a:lnTo>
                <a:lnTo>
                  <a:pt x="70" y="17"/>
                </a:lnTo>
                <a:lnTo>
                  <a:pt x="70" y="17"/>
                </a:lnTo>
                <a:lnTo>
                  <a:pt x="70" y="17"/>
                </a:lnTo>
                <a:lnTo>
                  <a:pt x="70" y="17"/>
                </a:lnTo>
                <a:lnTo>
                  <a:pt x="70" y="18"/>
                </a:lnTo>
                <a:lnTo>
                  <a:pt x="70" y="18"/>
                </a:lnTo>
                <a:lnTo>
                  <a:pt x="71" y="18"/>
                </a:lnTo>
                <a:lnTo>
                  <a:pt x="71" y="18"/>
                </a:lnTo>
                <a:lnTo>
                  <a:pt x="71" y="18"/>
                </a:lnTo>
                <a:lnTo>
                  <a:pt x="71" y="18"/>
                </a:lnTo>
                <a:lnTo>
                  <a:pt x="71" y="19"/>
                </a:lnTo>
                <a:lnTo>
                  <a:pt x="71" y="19"/>
                </a:lnTo>
                <a:lnTo>
                  <a:pt x="71" y="19"/>
                </a:lnTo>
                <a:lnTo>
                  <a:pt x="71" y="19"/>
                </a:lnTo>
                <a:lnTo>
                  <a:pt x="71" y="19"/>
                </a:lnTo>
                <a:lnTo>
                  <a:pt x="71" y="20"/>
                </a:lnTo>
                <a:lnTo>
                  <a:pt x="72" y="20"/>
                </a:lnTo>
                <a:lnTo>
                  <a:pt x="72" y="20"/>
                </a:lnTo>
                <a:lnTo>
                  <a:pt x="72" y="20"/>
                </a:lnTo>
                <a:lnTo>
                  <a:pt x="72" y="20"/>
                </a:lnTo>
                <a:lnTo>
                  <a:pt x="72" y="20"/>
                </a:lnTo>
                <a:lnTo>
                  <a:pt x="72" y="21"/>
                </a:lnTo>
                <a:lnTo>
                  <a:pt x="72" y="21"/>
                </a:lnTo>
                <a:lnTo>
                  <a:pt x="72" y="21"/>
                </a:lnTo>
                <a:lnTo>
                  <a:pt x="72" y="21"/>
                </a:lnTo>
                <a:lnTo>
                  <a:pt x="72" y="21"/>
                </a:lnTo>
                <a:lnTo>
                  <a:pt x="72" y="22"/>
                </a:lnTo>
                <a:lnTo>
                  <a:pt x="72" y="22"/>
                </a:lnTo>
                <a:lnTo>
                  <a:pt x="73" y="22"/>
                </a:lnTo>
                <a:lnTo>
                  <a:pt x="73" y="22"/>
                </a:lnTo>
                <a:lnTo>
                  <a:pt x="73" y="22"/>
                </a:lnTo>
                <a:lnTo>
                  <a:pt x="73" y="22"/>
                </a:lnTo>
                <a:lnTo>
                  <a:pt x="73" y="23"/>
                </a:lnTo>
                <a:lnTo>
                  <a:pt x="73" y="23"/>
                </a:lnTo>
                <a:lnTo>
                  <a:pt x="73" y="23"/>
                </a:lnTo>
                <a:lnTo>
                  <a:pt x="73" y="23"/>
                </a:lnTo>
                <a:lnTo>
                  <a:pt x="73" y="23"/>
                </a:lnTo>
                <a:lnTo>
                  <a:pt x="73" y="25"/>
                </a:lnTo>
                <a:lnTo>
                  <a:pt x="73" y="25"/>
                </a:lnTo>
                <a:lnTo>
                  <a:pt x="73" y="25"/>
                </a:lnTo>
                <a:lnTo>
                  <a:pt x="73" y="25"/>
                </a:lnTo>
                <a:lnTo>
                  <a:pt x="75" y="25"/>
                </a:lnTo>
                <a:lnTo>
                  <a:pt x="75" y="26"/>
                </a:lnTo>
                <a:lnTo>
                  <a:pt x="75" y="26"/>
                </a:lnTo>
                <a:lnTo>
                  <a:pt x="75" y="26"/>
                </a:lnTo>
                <a:lnTo>
                  <a:pt x="75" y="26"/>
                </a:lnTo>
                <a:lnTo>
                  <a:pt x="75" y="26"/>
                </a:lnTo>
                <a:lnTo>
                  <a:pt x="75" y="27"/>
                </a:lnTo>
                <a:lnTo>
                  <a:pt x="75" y="27"/>
                </a:lnTo>
                <a:lnTo>
                  <a:pt x="75" y="27"/>
                </a:lnTo>
                <a:lnTo>
                  <a:pt x="75" y="27"/>
                </a:lnTo>
                <a:lnTo>
                  <a:pt x="75" y="27"/>
                </a:lnTo>
                <a:lnTo>
                  <a:pt x="75" y="28"/>
                </a:lnTo>
                <a:lnTo>
                  <a:pt x="75" y="28"/>
                </a:lnTo>
                <a:lnTo>
                  <a:pt x="75" y="28"/>
                </a:lnTo>
                <a:lnTo>
                  <a:pt x="75" y="28"/>
                </a:lnTo>
                <a:lnTo>
                  <a:pt x="75" y="28"/>
                </a:lnTo>
                <a:lnTo>
                  <a:pt x="75" y="29"/>
                </a:lnTo>
                <a:lnTo>
                  <a:pt x="75" y="29"/>
                </a:lnTo>
                <a:lnTo>
                  <a:pt x="75" y="29"/>
                </a:lnTo>
                <a:lnTo>
                  <a:pt x="76" y="29"/>
                </a:lnTo>
                <a:lnTo>
                  <a:pt x="76" y="29"/>
                </a:lnTo>
                <a:lnTo>
                  <a:pt x="76" y="30"/>
                </a:lnTo>
                <a:lnTo>
                  <a:pt x="76" y="30"/>
                </a:lnTo>
                <a:lnTo>
                  <a:pt x="76" y="30"/>
                </a:lnTo>
                <a:lnTo>
                  <a:pt x="76" y="30"/>
                </a:lnTo>
                <a:lnTo>
                  <a:pt x="76" y="30"/>
                </a:lnTo>
                <a:lnTo>
                  <a:pt x="76" y="31"/>
                </a:lnTo>
                <a:lnTo>
                  <a:pt x="76" y="31"/>
                </a:lnTo>
                <a:lnTo>
                  <a:pt x="76" y="31"/>
                </a:lnTo>
                <a:lnTo>
                  <a:pt x="76" y="31"/>
                </a:lnTo>
                <a:lnTo>
                  <a:pt x="76" y="31"/>
                </a:lnTo>
                <a:lnTo>
                  <a:pt x="76" y="32"/>
                </a:lnTo>
                <a:lnTo>
                  <a:pt x="76" y="32"/>
                </a:lnTo>
                <a:lnTo>
                  <a:pt x="76" y="32"/>
                </a:lnTo>
                <a:lnTo>
                  <a:pt x="76" y="32"/>
                </a:lnTo>
                <a:lnTo>
                  <a:pt x="76" y="32"/>
                </a:lnTo>
                <a:lnTo>
                  <a:pt x="76" y="34"/>
                </a:lnTo>
                <a:lnTo>
                  <a:pt x="76" y="34"/>
                </a:lnTo>
                <a:lnTo>
                  <a:pt x="76" y="34"/>
                </a:lnTo>
                <a:lnTo>
                  <a:pt x="76" y="34"/>
                </a:lnTo>
                <a:lnTo>
                  <a:pt x="76" y="34"/>
                </a:lnTo>
                <a:lnTo>
                  <a:pt x="76" y="35"/>
                </a:lnTo>
                <a:lnTo>
                  <a:pt x="76" y="35"/>
                </a:lnTo>
                <a:lnTo>
                  <a:pt x="76" y="35"/>
                </a:lnTo>
                <a:lnTo>
                  <a:pt x="76" y="35"/>
                </a:lnTo>
                <a:lnTo>
                  <a:pt x="76" y="36"/>
                </a:lnTo>
                <a:lnTo>
                  <a:pt x="76" y="36"/>
                </a:lnTo>
                <a:lnTo>
                  <a:pt x="76" y="36"/>
                </a:lnTo>
                <a:lnTo>
                  <a:pt x="76" y="36"/>
                </a:lnTo>
                <a:lnTo>
                  <a:pt x="76" y="36"/>
                </a:lnTo>
                <a:lnTo>
                  <a:pt x="76" y="37"/>
                </a:lnTo>
                <a:lnTo>
                  <a:pt x="76" y="37"/>
                </a:lnTo>
                <a:lnTo>
                  <a:pt x="76" y="37"/>
                </a:lnTo>
                <a:lnTo>
                  <a:pt x="76" y="37"/>
                </a:lnTo>
                <a:close/>
                <a:moveTo>
                  <a:pt x="78" y="41"/>
                </a:moveTo>
                <a:lnTo>
                  <a:pt x="78" y="34"/>
                </a:lnTo>
                <a:lnTo>
                  <a:pt x="94" y="34"/>
                </a:lnTo>
                <a:lnTo>
                  <a:pt x="94" y="41"/>
                </a:lnTo>
                <a:lnTo>
                  <a:pt x="78" y="41"/>
                </a:lnTo>
                <a:lnTo>
                  <a:pt x="78" y="41"/>
                </a:lnTo>
                <a:close/>
                <a:moveTo>
                  <a:pt x="125" y="41"/>
                </a:moveTo>
                <a:lnTo>
                  <a:pt x="125" y="34"/>
                </a:lnTo>
                <a:lnTo>
                  <a:pt x="141" y="34"/>
                </a:lnTo>
                <a:lnTo>
                  <a:pt x="141" y="41"/>
                </a:lnTo>
                <a:lnTo>
                  <a:pt x="125" y="41"/>
                </a:lnTo>
                <a:lnTo>
                  <a:pt x="125" y="41"/>
                </a:lnTo>
                <a:close/>
                <a:moveTo>
                  <a:pt x="173" y="41"/>
                </a:moveTo>
                <a:lnTo>
                  <a:pt x="173" y="34"/>
                </a:lnTo>
                <a:lnTo>
                  <a:pt x="188" y="34"/>
                </a:lnTo>
                <a:lnTo>
                  <a:pt x="188" y="41"/>
                </a:lnTo>
                <a:lnTo>
                  <a:pt x="173" y="41"/>
                </a:lnTo>
                <a:lnTo>
                  <a:pt x="173" y="41"/>
                </a:lnTo>
                <a:close/>
                <a:moveTo>
                  <a:pt x="220" y="41"/>
                </a:moveTo>
                <a:lnTo>
                  <a:pt x="220" y="34"/>
                </a:lnTo>
                <a:lnTo>
                  <a:pt x="236" y="34"/>
                </a:lnTo>
                <a:lnTo>
                  <a:pt x="236" y="41"/>
                </a:lnTo>
                <a:lnTo>
                  <a:pt x="220" y="41"/>
                </a:lnTo>
                <a:lnTo>
                  <a:pt x="220" y="41"/>
                </a:lnTo>
                <a:close/>
                <a:moveTo>
                  <a:pt x="267" y="41"/>
                </a:moveTo>
                <a:lnTo>
                  <a:pt x="267" y="34"/>
                </a:lnTo>
                <a:lnTo>
                  <a:pt x="283" y="34"/>
                </a:lnTo>
                <a:lnTo>
                  <a:pt x="283" y="41"/>
                </a:lnTo>
                <a:lnTo>
                  <a:pt x="267" y="41"/>
                </a:lnTo>
                <a:lnTo>
                  <a:pt x="267" y="41"/>
                </a:lnTo>
                <a:close/>
                <a:moveTo>
                  <a:pt x="314" y="41"/>
                </a:moveTo>
                <a:lnTo>
                  <a:pt x="314" y="34"/>
                </a:lnTo>
                <a:lnTo>
                  <a:pt x="330" y="34"/>
                </a:lnTo>
                <a:lnTo>
                  <a:pt x="330" y="41"/>
                </a:lnTo>
                <a:lnTo>
                  <a:pt x="314" y="41"/>
                </a:lnTo>
                <a:lnTo>
                  <a:pt x="314" y="41"/>
                </a:lnTo>
                <a:close/>
                <a:moveTo>
                  <a:pt x="362" y="41"/>
                </a:moveTo>
                <a:lnTo>
                  <a:pt x="362" y="34"/>
                </a:lnTo>
                <a:lnTo>
                  <a:pt x="376" y="34"/>
                </a:lnTo>
                <a:lnTo>
                  <a:pt x="376" y="41"/>
                </a:lnTo>
                <a:lnTo>
                  <a:pt x="362" y="41"/>
                </a:lnTo>
                <a:lnTo>
                  <a:pt x="362" y="41"/>
                </a:lnTo>
                <a:close/>
                <a:moveTo>
                  <a:pt x="408" y="41"/>
                </a:moveTo>
                <a:lnTo>
                  <a:pt x="408" y="34"/>
                </a:lnTo>
                <a:lnTo>
                  <a:pt x="424" y="34"/>
                </a:lnTo>
                <a:lnTo>
                  <a:pt x="424" y="41"/>
                </a:lnTo>
                <a:lnTo>
                  <a:pt x="408" y="41"/>
                </a:lnTo>
                <a:lnTo>
                  <a:pt x="408" y="41"/>
                </a:lnTo>
                <a:close/>
                <a:moveTo>
                  <a:pt x="455" y="41"/>
                </a:moveTo>
                <a:lnTo>
                  <a:pt x="455" y="34"/>
                </a:lnTo>
                <a:lnTo>
                  <a:pt x="471" y="34"/>
                </a:lnTo>
                <a:lnTo>
                  <a:pt x="471" y="41"/>
                </a:lnTo>
                <a:lnTo>
                  <a:pt x="455" y="41"/>
                </a:lnTo>
                <a:close/>
              </a:path>
            </a:pathLst>
          </a:custGeom>
          <a:solidFill>
            <a:srgbClr val="8497B0"/>
          </a:solidFill>
          <a:ln>
            <a:solidFill>
              <a:schemeClr val="accent3">
                <a:lumMod val="60000"/>
                <a:lumOff val="40000"/>
              </a:schemeClr>
            </a:solidFill>
          </a:ln>
        </p:spPr>
        <p:txBody>
          <a:bodyPr vert="horz" wrap="square" lIns="91440" tIns="45720" rIns="91440" bIns="45720" numCol="1" anchor="t" anchorCtr="0" compatLnSpc="1">
            <a:prstTxWarp prst="textNoShape">
              <a:avLst/>
            </a:prstTxWarp>
          </a:bodyPr>
          <a:lstStyle/>
          <a:p>
            <a:endParaRPr lang="en-US"/>
          </a:p>
        </p:txBody>
      </p:sp>
      <p:sp>
        <p:nvSpPr>
          <p:cNvPr id="90" name="Freeform 84">
            <a:extLst>
              <a:ext uri="{FF2B5EF4-FFF2-40B4-BE49-F238E27FC236}">
                <a16:creationId xmlns:a16="http://schemas.microsoft.com/office/drawing/2014/main" id="{AA8EB988-BD6F-484D-A54D-83015AE5E44E}"/>
              </a:ext>
            </a:extLst>
          </p:cNvPr>
          <p:cNvSpPr>
            <a:spLocks noEditPoints="1"/>
          </p:cNvSpPr>
          <p:nvPr/>
        </p:nvSpPr>
        <p:spPr bwMode="auto">
          <a:xfrm>
            <a:off x="7901432" y="2898322"/>
            <a:ext cx="847725" cy="334962"/>
          </a:xfrm>
          <a:custGeom>
            <a:avLst/>
            <a:gdLst>
              <a:gd name="T0" fmla="*/ 43 w 534"/>
              <a:gd name="T1" fmla="*/ 203 h 211"/>
              <a:gd name="T2" fmla="*/ 50 w 534"/>
              <a:gd name="T3" fmla="*/ 201 h 211"/>
              <a:gd name="T4" fmla="*/ 54 w 534"/>
              <a:gd name="T5" fmla="*/ 197 h 211"/>
              <a:gd name="T6" fmla="*/ 60 w 534"/>
              <a:gd name="T7" fmla="*/ 194 h 211"/>
              <a:gd name="T8" fmla="*/ 63 w 534"/>
              <a:gd name="T9" fmla="*/ 190 h 211"/>
              <a:gd name="T10" fmla="*/ 66 w 534"/>
              <a:gd name="T11" fmla="*/ 184 h 211"/>
              <a:gd name="T12" fmla="*/ 68 w 534"/>
              <a:gd name="T13" fmla="*/ 178 h 211"/>
              <a:gd name="T14" fmla="*/ 68 w 534"/>
              <a:gd name="T15" fmla="*/ 171 h 211"/>
              <a:gd name="T16" fmla="*/ 67 w 534"/>
              <a:gd name="T17" fmla="*/ 165 h 211"/>
              <a:gd name="T18" fmla="*/ 64 w 534"/>
              <a:gd name="T19" fmla="*/ 159 h 211"/>
              <a:gd name="T20" fmla="*/ 61 w 534"/>
              <a:gd name="T21" fmla="*/ 155 h 211"/>
              <a:gd name="T22" fmla="*/ 57 w 534"/>
              <a:gd name="T23" fmla="*/ 150 h 211"/>
              <a:gd name="T24" fmla="*/ 52 w 534"/>
              <a:gd name="T25" fmla="*/ 147 h 211"/>
              <a:gd name="T26" fmla="*/ 46 w 534"/>
              <a:gd name="T27" fmla="*/ 144 h 211"/>
              <a:gd name="T28" fmla="*/ 40 w 534"/>
              <a:gd name="T29" fmla="*/ 143 h 211"/>
              <a:gd name="T30" fmla="*/ 34 w 534"/>
              <a:gd name="T31" fmla="*/ 144 h 211"/>
              <a:gd name="T32" fmla="*/ 27 w 534"/>
              <a:gd name="T33" fmla="*/ 146 h 211"/>
              <a:gd name="T34" fmla="*/ 23 w 534"/>
              <a:gd name="T35" fmla="*/ 148 h 211"/>
              <a:gd name="T36" fmla="*/ 17 w 534"/>
              <a:gd name="T37" fmla="*/ 152 h 211"/>
              <a:gd name="T38" fmla="*/ 14 w 534"/>
              <a:gd name="T39" fmla="*/ 157 h 211"/>
              <a:gd name="T40" fmla="*/ 10 w 534"/>
              <a:gd name="T41" fmla="*/ 162 h 211"/>
              <a:gd name="T42" fmla="*/ 9 w 534"/>
              <a:gd name="T43" fmla="*/ 168 h 211"/>
              <a:gd name="T44" fmla="*/ 9 w 534"/>
              <a:gd name="T45" fmla="*/ 175 h 211"/>
              <a:gd name="T46" fmla="*/ 9 w 534"/>
              <a:gd name="T47" fmla="*/ 181 h 211"/>
              <a:gd name="T48" fmla="*/ 12 w 534"/>
              <a:gd name="T49" fmla="*/ 186 h 211"/>
              <a:gd name="T50" fmla="*/ 15 w 534"/>
              <a:gd name="T51" fmla="*/ 192 h 211"/>
              <a:gd name="T52" fmla="*/ 19 w 534"/>
              <a:gd name="T53" fmla="*/ 196 h 211"/>
              <a:gd name="T54" fmla="*/ 24 w 534"/>
              <a:gd name="T55" fmla="*/ 200 h 211"/>
              <a:gd name="T56" fmla="*/ 31 w 534"/>
              <a:gd name="T57" fmla="*/ 202 h 211"/>
              <a:gd name="T58" fmla="*/ 36 w 534"/>
              <a:gd name="T59" fmla="*/ 203 h 211"/>
              <a:gd name="T60" fmla="*/ 76 w 534"/>
              <a:gd name="T61" fmla="*/ 178 h 211"/>
              <a:gd name="T62" fmla="*/ 73 w 534"/>
              <a:gd name="T63" fmla="*/ 186 h 211"/>
              <a:gd name="T64" fmla="*/ 70 w 534"/>
              <a:gd name="T65" fmla="*/ 193 h 211"/>
              <a:gd name="T66" fmla="*/ 66 w 534"/>
              <a:gd name="T67" fmla="*/ 199 h 211"/>
              <a:gd name="T68" fmla="*/ 60 w 534"/>
              <a:gd name="T69" fmla="*/ 204 h 211"/>
              <a:gd name="T70" fmla="*/ 53 w 534"/>
              <a:gd name="T71" fmla="*/ 208 h 211"/>
              <a:gd name="T72" fmla="*/ 45 w 534"/>
              <a:gd name="T73" fmla="*/ 210 h 211"/>
              <a:gd name="T74" fmla="*/ 37 w 534"/>
              <a:gd name="T75" fmla="*/ 211 h 211"/>
              <a:gd name="T76" fmla="*/ 30 w 534"/>
              <a:gd name="T77" fmla="*/ 210 h 211"/>
              <a:gd name="T78" fmla="*/ 23 w 534"/>
              <a:gd name="T79" fmla="*/ 208 h 211"/>
              <a:gd name="T80" fmla="*/ 16 w 534"/>
              <a:gd name="T81" fmla="*/ 203 h 211"/>
              <a:gd name="T82" fmla="*/ 10 w 534"/>
              <a:gd name="T83" fmla="*/ 199 h 211"/>
              <a:gd name="T84" fmla="*/ 6 w 534"/>
              <a:gd name="T85" fmla="*/ 192 h 211"/>
              <a:gd name="T86" fmla="*/ 3 w 534"/>
              <a:gd name="T87" fmla="*/ 185 h 211"/>
              <a:gd name="T88" fmla="*/ 1 w 534"/>
              <a:gd name="T89" fmla="*/ 177 h 211"/>
              <a:gd name="T90" fmla="*/ 1 w 534"/>
              <a:gd name="T91" fmla="*/ 168 h 211"/>
              <a:gd name="T92" fmla="*/ 3 w 534"/>
              <a:gd name="T93" fmla="*/ 161 h 211"/>
              <a:gd name="T94" fmla="*/ 6 w 534"/>
              <a:gd name="T95" fmla="*/ 153 h 211"/>
              <a:gd name="T96" fmla="*/ 10 w 534"/>
              <a:gd name="T97" fmla="*/ 148 h 211"/>
              <a:gd name="T98" fmla="*/ 16 w 534"/>
              <a:gd name="T99" fmla="*/ 142 h 211"/>
              <a:gd name="T100" fmla="*/ 23 w 534"/>
              <a:gd name="T101" fmla="*/ 139 h 211"/>
              <a:gd name="T102" fmla="*/ 31 w 534"/>
              <a:gd name="T103" fmla="*/ 137 h 211"/>
              <a:gd name="T104" fmla="*/ 39 w 534"/>
              <a:gd name="T105" fmla="*/ 135 h 211"/>
              <a:gd name="T106" fmla="*/ 46 w 534"/>
              <a:gd name="T107" fmla="*/ 137 h 211"/>
              <a:gd name="T108" fmla="*/ 54 w 534"/>
              <a:gd name="T109" fmla="*/ 139 h 211"/>
              <a:gd name="T110" fmla="*/ 61 w 534"/>
              <a:gd name="T111" fmla="*/ 143 h 211"/>
              <a:gd name="T112" fmla="*/ 67 w 534"/>
              <a:gd name="T113" fmla="*/ 148 h 211"/>
              <a:gd name="T114" fmla="*/ 71 w 534"/>
              <a:gd name="T115" fmla="*/ 155 h 211"/>
              <a:gd name="T116" fmla="*/ 75 w 534"/>
              <a:gd name="T117" fmla="*/ 161 h 211"/>
              <a:gd name="T118" fmla="*/ 76 w 534"/>
              <a:gd name="T119" fmla="*/ 169 h 211"/>
              <a:gd name="T120" fmla="*/ 188 w 534"/>
              <a:gd name="T121" fmla="*/ 177 h 211"/>
              <a:gd name="T122" fmla="*/ 456 w 534"/>
              <a:gd name="T123" fmla="*/ 169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4" h="211">
                <a:moveTo>
                  <a:pt x="534" y="16"/>
                </a:moveTo>
                <a:lnTo>
                  <a:pt x="526" y="16"/>
                </a:lnTo>
                <a:lnTo>
                  <a:pt x="526" y="0"/>
                </a:lnTo>
                <a:lnTo>
                  <a:pt x="534" y="0"/>
                </a:lnTo>
                <a:lnTo>
                  <a:pt x="534" y="16"/>
                </a:lnTo>
                <a:lnTo>
                  <a:pt x="534" y="16"/>
                </a:lnTo>
                <a:close/>
                <a:moveTo>
                  <a:pt x="39" y="203"/>
                </a:moveTo>
                <a:lnTo>
                  <a:pt x="39" y="203"/>
                </a:lnTo>
                <a:lnTo>
                  <a:pt x="39" y="203"/>
                </a:lnTo>
                <a:lnTo>
                  <a:pt x="39" y="203"/>
                </a:lnTo>
                <a:lnTo>
                  <a:pt x="40" y="203"/>
                </a:lnTo>
                <a:lnTo>
                  <a:pt x="40" y="203"/>
                </a:lnTo>
                <a:lnTo>
                  <a:pt x="40" y="203"/>
                </a:lnTo>
                <a:lnTo>
                  <a:pt x="40" y="203"/>
                </a:lnTo>
                <a:lnTo>
                  <a:pt x="40" y="203"/>
                </a:lnTo>
                <a:lnTo>
                  <a:pt x="40" y="203"/>
                </a:lnTo>
                <a:lnTo>
                  <a:pt x="41" y="203"/>
                </a:lnTo>
                <a:lnTo>
                  <a:pt x="41" y="203"/>
                </a:lnTo>
                <a:lnTo>
                  <a:pt x="41" y="203"/>
                </a:lnTo>
                <a:lnTo>
                  <a:pt x="41" y="203"/>
                </a:lnTo>
                <a:lnTo>
                  <a:pt x="41" y="203"/>
                </a:lnTo>
                <a:lnTo>
                  <a:pt x="41" y="203"/>
                </a:lnTo>
                <a:lnTo>
                  <a:pt x="42" y="203"/>
                </a:lnTo>
                <a:lnTo>
                  <a:pt x="42" y="203"/>
                </a:lnTo>
                <a:lnTo>
                  <a:pt x="42" y="203"/>
                </a:lnTo>
                <a:lnTo>
                  <a:pt x="42" y="203"/>
                </a:lnTo>
                <a:lnTo>
                  <a:pt x="42" y="203"/>
                </a:lnTo>
                <a:lnTo>
                  <a:pt x="42" y="203"/>
                </a:lnTo>
                <a:lnTo>
                  <a:pt x="43" y="203"/>
                </a:lnTo>
                <a:lnTo>
                  <a:pt x="43" y="203"/>
                </a:lnTo>
                <a:lnTo>
                  <a:pt x="43" y="203"/>
                </a:lnTo>
                <a:lnTo>
                  <a:pt x="43" y="203"/>
                </a:lnTo>
                <a:lnTo>
                  <a:pt x="43" y="203"/>
                </a:lnTo>
                <a:lnTo>
                  <a:pt x="43" y="203"/>
                </a:lnTo>
                <a:lnTo>
                  <a:pt x="44" y="202"/>
                </a:lnTo>
                <a:lnTo>
                  <a:pt x="44" y="202"/>
                </a:lnTo>
                <a:lnTo>
                  <a:pt x="44" y="202"/>
                </a:lnTo>
                <a:lnTo>
                  <a:pt x="44" y="202"/>
                </a:lnTo>
                <a:lnTo>
                  <a:pt x="44" y="202"/>
                </a:lnTo>
                <a:lnTo>
                  <a:pt x="44" y="202"/>
                </a:lnTo>
                <a:lnTo>
                  <a:pt x="45" y="202"/>
                </a:lnTo>
                <a:lnTo>
                  <a:pt x="45" y="202"/>
                </a:lnTo>
                <a:lnTo>
                  <a:pt x="45" y="202"/>
                </a:lnTo>
                <a:lnTo>
                  <a:pt x="45" y="202"/>
                </a:lnTo>
                <a:lnTo>
                  <a:pt x="45" y="202"/>
                </a:lnTo>
                <a:lnTo>
                  <a:pt x="45" y="202"/>
                </a:lnTo>
                <a:lnTo>
                  <a:pt x="45" y="202"/>
                </a:lnTo>
                <a:lnTo>
                  <a:pt x="46" y="202"/>
                </a:lnTo>
                <a:lnTo>
                  <a:pt x="46" y="202"/>
                </a:lnTo>
                <a:lnTo>
                  <a:pt x="46" y="202"/>
                </a:lnTo>
                <a:lnTo>
                  <a:pt x="46" y="202"/>
                </a:lnTo>
                <a:lnTo>
                  <a:pt x="46" y="202"/>
                </a:lnTo>
                <a:lnTo>
                  <a:pt x="46" y="202"/>
                </a:lnTo>
                <a:lnTo>
                  <a:pt x="48" y="202"/>
                </a:lnTo>
                <a:lnTo>
                  <a:pt x="48" y="202"/>
                </a:lnTo>
                <a:lnTo>
                  <a:pt x="48" y="202"/>
                </a:lnTo>
                <a:lnTo>
                  <a:pt x="48" y="202"/>
                </a:lnTo>
                <a:lnTo>
                  <a:pt x="48" y="202"/>
                </a:lnTo>
                <a:lnTo>
                  <a:pt x="48" y="202"/>
                </a:lnTo>
                <a:lnTo>
                  <a:pt x="48" y="201"/>
                </a:lnTo>
                <a:lnTo>
                  <a:pt x="49" y="201"/>
                </a:lnTo>
                <a:lnTo>
                  <a:pt x="49" y="201"/>
                </a:lnTo>
                <a:lnTo>
                  <a:pt x="49" y="201"/>
                </a:lnTo>
                <a:lnTo>
                  <a:pt x="49" y="201"/>
                </a:lnTo>
                <a:lnTo>
                  <a:pt x="49" y="201"/>
                </a:lnTo>
                <a:lnTo>
                  <a:pt x="49" y="201"/>
                </a:lnTo>
                <a:lnTo>
                  <a:pt x="50" y="201"/>
                </a:lnTo>
                <a:lnTo>
                  <a:pt x="50" y="201"/>
                </a:lnTo>
                <a:lnTo>
                  <a:pt x="50" y="201"/>
                </a:lnTo>
                <a:lnTo>
                  <a:pt x="50" y="201"/>
                </a:lnTo>
                <a:lnTo>
                  <a:pt x="50" y="201"/>
                </a:lnTo>
                <a:lnTo>
                  <a:pt x="50" y="201"/>
                </a:lnTo>
                <a:lnTo>
                  <a:pt x="50" y="201"/>
                </a:lnTo>
                <a:lnTo>
                  <a:pt x="51" y="201"/>
                </a:lnTo>
                <a:lnTo>
                  <a:pt x="51" y="201"/>
                </a:lnTo>
                <a:lnTo>
                  <a:pt x="51" y="201"/>
                </a:lnTo>
                <a:lnTo>
                  <a:pt x="51" y="200"/>
                </a:lnTo>
                <a:lnTo>
                  <a:pt x="51" y="200"/>
                </a:lnTo>
                <a:lnTo>
                  <a:pt x="51" y="200"/>
                </a:lnTo>
                <a:lnTo>
                  <a:pt x="51" y="200"/>
                </a:lnTo>
                <a:lnTo>
                  <a:pt x="52" y="200"/>
                </a:lnTo>
                <a:lnTo>
                  <a:pt x="52" y="200"/>
                </a:lnTo>
                <a:lnTo>
                  <a:pt x="52" y="200"/>
                </a:lnTo>
                <a:lnTo>
                  <a:pt x="52" y="200"/>
                </a:lnTo>
                <a:lnTo>
                  <a:pt x="52" y="200"/>
                </a:lnTo>
                <a:lnTo>
                  <a:pt x="52" y="200"/>
                </a:lnTo>
                <a:lnTo>
                  <a:pt x="52" y="200"/>
                </a:lnTo>
                <a:lnTo>
                  <a:pt x="53" y="200"/>
                </a:lnTo>
                <a:lnTo>
                  <a:pt x="53" y="200"/>
                </a:lnTo>
                <a:lnTo>
                  <a:pt x="53" y="199"/>
                </a:lnTo>
                <a:lnTo>
                  <a:pt x="53" y="199"/>
                </a:lnTo>
                <a:lnTo>
                  <a:pt x="53" y="199"/>
                </a:lnTo>
                <a:lnTo>
                  <a:pt x="53" y="199"/>
                </a:lnTo>
                <a:lnTo>
                  <a:pt x="53" y="199"/>
                </a:lnTo>
                <a:lnTo>
                  <a:pt x="54" y="199"/>
                </a:lnTo>
                <a:lnTo>
                  <a:pt x="54" y="199"/>
                </a:lnTo>
                <a:lnTo>
                  <a:pt x="54" y="199"/>
                </a:lnTo>
                <a:lnTo>
                  <a:pt x="54" y="199"/>
                </a:lnTo>
                <a:lnTo>
                  <a:pt x="54" y="199"/>
                </a:lnTo>
                <a:lnTo>
                  <a:pt x="54" y="199"/>
                </a:lnTo>
                <a:lnTo>
                  <a:pt x="54" y="199"/>
                </a:lnTo>
                <a:lnTo>
                  <a:pt x="54" y="197"/>
                </a:lnTo>
                <a:lnTo>
                  <a:pt x="55" y="197"/>
                </a:lnTo>
                <a:lnTo>
                  <a:pt x="55" y="197"/>
                </a:lnTo>
                <a:lnTo>
                  <a:pt x="55" y="197"/>
                </a:lnTo>
                <a:lnTo>
                  <a:pt x="55" y="197"/>
                </a:lnTo>
                <a:lnTo>
                  <a:pt x="55" y="197"/>
                </a:lnTo>
                <a:lnTo>
                  <a:pt x="55" y="197"/>
                </a:lnTo>
                <a:lnTo>
                  <a:pt x="55" y="197"/>
                </a:lnTo>
                <a:lnTo>
                  <a:pt x="55" y="197"/>
                </a:lnTo>
                <a:lnTo>
                  <a:pt x="57" y="197"/>
                </a:lnTo>
                <a:lnTo>
                  <a:pt x="57" y="197"/>
                </a:lnTo>
                <a:lnTo>
                  <a:pt x="57" y="196"/>
                </a:lnTo>
                <a:lnTo>
                  <a:pt x="57" y="196"/>
                </a:lnTo>
                <a:lnTo>
                  <a:pt x="57" y="196"/>
                </a:lnTo>
                <a:lnTo>
                  <a:pt x="57" y="196"/>
                </a:lnTo>
                <a:lnTo>
                  <a:pt x="57" y="196"/>
                </a:lnTo>
                <a:lnTo>
                  <a:pt x="57" y="196"/>
                </a:lnTo>
                <a:lnTo>
                  <a:pt x="58" y="196"/>
                </a:lnTo>
                <a:lnTo>
                  <a:pt x="58" y="196"/>
                </a:lnTo>
                <a:lnTo>
                  <a:pt x="58" y="196"/>
                </a:lnTo>
                <a:lnTo>
                  <a:pt x="58" y="196"/>
                </a:lnTo>
                <a:lnTo>
                  <a:pt x="58" y="195"/>
                </a:lnTo>
                <a:lnTo>
                  <a:pt x="58" y="195"/>
                </a:lnTo>
                <a:lnTo>
                  <a:pt x="58" y="195"/>
                </a:lnTo>
                <a:lnTo>
                  <a:pt x="58" y="195"/>
                </a:lnTo>
                <a:lnTo>
                  <a:pt x="59" y="195"/>
                </a:lnTo>
                <a:lnTo>
                  <a:pt x="59" y="195"/>
                </a:lnTo>
                <a:lnTo>
                  <a:pt x="59" y="195"/>
                </a:lnTo>
                <a:lnTo>
                  <a:pt x="59" y="195"/>
                </a:lnTo>
                <a:lnTo>
                  <a:pt x="59" y="195"/>
                </a:lnTo>
                <a:lnTo>
                  <a:pt x="59" y="195"/>
                </a:lnTo>
                <a:lnTo>
                  <a:pt x="59" y="194"/>
                </a:lnTo>
                <a:lnTo>
                  <a:pt x="59" y="194"/>
                </a:lnTo>
                <a:lnTo>
                  <a:pt x="60" y="194"/>
                </a:lnTo>
                <a:lnTo>
                  <a:pt x="60" y="194"/>
                </a:lnTo>
                <a:lnTo>
                  <a:pt x="60" y="194"/>
                </a:lnTo>
                <a:lnTo>
                  <a:pt x="60" y="194"/>
                </a:lnTo>
                <a:lnTo>
                  <a:pt x="60" y="194"/>
                </a:lnTo>
                <a:lnTo>
                  <a:pt x="60" y="194"/>
                </a:lnTo>
                <a:lnTo>
                  <a:pt x="60" y="193"/>
                </a:lnTo>
                <a:lnTo>
                  <a:pt x="60" y="193"/>
                </a:lnTo>
                <a:lnTo>
                  <a:pt x="60" y="193"/>
                </a:lnTo>
                <a:lnTo>
                  <a:pt x="60" y="193"/>
                </a:lnTo>
                <a:lnTo>
                  <a:pt x="61" y="193"/>
                </a:lnTo>
                <a:lnTo>
                  <a:pt x="61" y="193"/>
                </a:lnTo>
                <a:lnTo>
                  <a:pt x="61" y="193"/>
                </a:lnTo>
                <a:lnTo>
                  <a:pt x="61" y="193"/>
                </a:lnTo>
                <a:lnTo>
                  <a:pt x="61" y="193"/>
                </a:lnTo>
                <a:lnTo>
                  <a:pt x="61" y="192"/>
                </a:lnTo>
                <a:lnTo>
                  <a:pt x="61" y="192"/>
                </a:lnTo>
                <a:lnTo>
                  <a:pt x="61" y="192"/>
                </a:lnTo>
                <a:lnTo>
                  <a:pt x="61" y="192"/>
                </a:lnTo>
                <a:lnTo>
                  <a:pt x="62" y="192"/>
                </a:lnTo>
                <a:lnTo>
                  <a:pt x="62" y="192"/>
                </a:lnTo>
                <a:lnTo>
                  <a:pt x="62" y="192"/>
                </a:lnTo>
                <a:lnTo>
                  <a:pt x="62" y="192"/>
                </a:lnTo>
                <a:lnTo>
                  <a:pt x="62" y="191"/>
                </a:lnTo>
                <a:lnTo>
                  <a:pt x="62" y="191"/>
                </a:lnTo>
                <a:lnTo>
                  <a:pt x="62" y="191"/>
                </a:lnTo>
                <a:lnTo>
                  <a:pt x="62" y="191"/>
                </a:lnTo>
                <a:lnTo>
                  <a:pt x="62" y="191"/>
                </a:lnTo>
                <a:lnTo>
                  <a:pt x="62" y="191"/>
                </a:lnTo>
                <a:lnTo>
                  <a:pt x="62" y="191"/>
                </a:lnTo>
                <a:lnTo>
                  <a:pt x="63" y="191"/>
                </a:lnTo>
                <a:lnTo>
                  <a:pt x="63" y="190"/>
                </a:lnTo>
                <a:lnTo>
                  <a:pt x="63" y="190"/>
                </a:lnTo>
                <a:lnTo>
                  <a:pt x="63" y="190"/>
                </a:lnTo>
                <a:lnTo>
                  <a:pt x="63" y="190"/>
                </a:lnTo>
                <a:lnTo>
                  <a:pt x="63" y="190"/>
                </a:lnTo>
                <a:lnTo>
                  <a:pt x="63" y="190"/>
                </a:lnTo>
                <a:lnTo>
                  <a:pt x="63" y="190"/>
                </a:lnTo>
                <a:lnTo>
                  <a:pt x="63" y="188"/>
                </a:lnTo>
                <a:lnTo>
                  <a:pt x="63" y="188"/>
                </a:lnTo>
                <a:lnTo>
                  <a:pt x="63" y="188"/>
                </a:lnTo>
                <a:lnTo>
                  <a:pt x="63" y="188"/>
                </a:lnTo>
                <a:lnTo>
                  <a:pt x="64" y="188"/>
                </a:lnTo>
                <a:lnTo>
                  <a:pt x="64" y="188"/>
                </a:lnTo>
                <a:lnTo>
                  <a:pt x="64" y="188"/>
                </a:lnTo>
                <a:lnTo>
                  <a:pt x="64" y="188"/>
                </a:lnTo>
                <a:lnTo>
                  <a:pt x="64" y="187"/>
                </a:lnTo>
                <a:lnTo>
                  <a:pt x="64" y="187"/>
                </a:lnTo>
                <a:lnTo>
                  <a:pt x="64" y="187"/>
                </a:lnTo>
                <a:lnTo>
                  <a:pt x="64" y="187"/>
                </a:lnTo>
                <a:lnTo>
                  <a:pt x="64" y="187"/>
                </a:lnTo>
                <a:lnTo>
                  <a:pt x="64" y="187"/>
                </a:lnTo>
                <a:lnTo>
                  <a:pt x="64" y="187"/>
                </a:lnTo>
                <a:lnTo>
                  <a:pt x="64" y="186"/>
                </a:lnTo>
                <a:lnTo>
                  <a:pt x="64" y="186"/>
                </a:lnTo>
                <a:lnTo>
                  <a:pt x="66" y="186"/>
                </a:lnTo>
                <a:lnTo>
                  <a:pt x="66" y="186"/>
                </a:lnTo>
                <a:lnTo>
                  <a:pt x="66" y="186"/>
                </a:lnTo>
                <a:lnTo>
                  <a:pt x="66" y="186"/>
                </a:lnTo>
                <a:lnTo>
                  <a:pt x="66" y="186"/>
                </a:lnTo>
                <a:lnTo>
                  <a:pt x="66" y="185"/>
                </a:lnTo>
                <a:lnTo>
                  <a:pt x="66" y="185"/>
                </a:lnTo>
                <a:lnTo>
                  <a:pt x="66" y="185"/>
                </a:lnTo>
                <a:lnTo>
                  <a:pt x="66" y="185"/>
                </a:lnTo>
                <a:lnTo>
                  <a:pt x="66" y="185"/>
                </a:lnTo>
                <a:lnTo>
                  <a:pt x="66" y="185"/>
                </a:lnTo>
                <a:lnTo>
                  <a:pt x="66" y="184"/>
                </a:lnTo>
                <a:lnTo>
                  <a:pt x="66" y="184"/>
                </a:lnTo>
                <a:lnTo>
                  <a:pt x="66" y="184"/>
                </a:lnTo>
                <a:lnTo>
                  <a:pt x="66" y="184"/>
                </a:lnTo>
                <a:lnTo>
                  <a:pt x="67" y="184"/>
                </a:lnTo>
                <a:lnTo>
                  <a:pt x="67" y="184"/>
                </a:lnTo>
                <a:lnTo>
                  <a:pt x="67" y="184"/>
                </a:lnTo>
                <a:lnTo>
                  <a:pt x="67" y="183"/>
                </a:lnTo>
                <a:lnTo>
                  <a:pt x="67" y="183"/>
                </a:lnTo>
                <a:lnTo>
                  <a:pt x="67" y="183"/>
                </a:lnTo>
                <a:lnTo>
                  <a:pt x="67" y="183"/>
                </a:lnTo>
                <a:lnTo>
                  <a:pt x="67" y="183"/>
                </a:lnTo>
                <a:lnTo>
                  <a:pt x="67" y="183"/>
                </a:lnTo>
                <a:lnTo>
                  <a:pt x="67" y="183"/>
                </a:lnTo>
                <a:lnTo>
                  <a:pt x="67" y="182"/>
                </a:lnTo>
                <a:lnTo>
                  <a:pt x="67" y="182"/>
                </a:lnTo>
                <a:lnTo>
                  <a:pt x="67" y="182"/>
                </a:lnTo>
                <a:lnTo>
                  <a:pt x="67" y="182"/>
                </a:lnTo>
                <a:lnTo>
                  <a:pt x="67" y="182"/>
                </a:lnTo>
                <a:lnTo>
                  <a:pt x="67" y="182"/>
                </a:lnTo>
                <a:lnTo>
                  <a:pt x="67" y="181"/>
                </a:lnTo>
                <a:lnTo>
                  <a:pt x="67" y="181"/>
                </a:lnTo>
                <a:lnTo>
                  <a:pt x="67" y="181"/>
                </a:lnTo>
                <a:lnTo>
                  <a:pt x="67" y="181"/>
                </a:lnTo>
                <a:lnTo>
                  <a:pt x="67" y="181"/>
                </a:lnTo>
                <a:lnTo>
                  <a:pt x="68" y="181"/>
                </a:lnTo>
                <a:lnTo>
                  <a:pt x="68" y="179"/>
                </a:lnTo>
                <a:lnTo>
                  <a:pt x="68" y="179"/>
                </a:lnTo>
                <a:lnTo>
                  <a:pt x="68" y="179"/>
                </a:lnTo>
                <a:lnTo>
                  <a:pt x="68" y="179"/>
                </a:lnTo>
                <a:lnTo>
                  <a:pt x="68" y="179"/>
                </a:lnTo>
                <a:lnTo>
                  <a:pt x="68" y="179"/>
                </a:lnTo>
                <a:lnTo>
                  <a:pt x="68" y="179"/>
                </a:lnTo>
                <a:lnTo>
                  <a:pt x="68" y="178"/>
                </a:lnTo>
                <a:lnTo>
                  <a:pt x="68" y="178"/>
                </a:lnTo>
                <a:lnTo>
                  <a:pt x="68" y="178"/>
                </a:lnTo>
                <a:lnTo>
                  <a:pt x="68" y="178"/>
                </a:lnTo>
                <a:lnTo>
                  <a:pt x="68" y="178"/>
                </a:lnTo>
                <a:lnTo>
                  <a:pt x="68" y="178"/>
                </a:lnTo>
                <a:lnTo>
                  <a:pt x="68" y="177"/>
                </a:lnTo>
                <a:lnTo>
                  <a:pt x="68" y="177"/>
                </a:lnTo>
                <a:lnTo>
                  <a:pt x="68" y="177"/>
                </a:lnTo>
                <a:lnTo>
                  <a:pt x="68" y="177"/>
                </a:lnTo>
                <a:lnTo>
                  <a:pt x="68" y="177"/>
                </a:lnTo>
                <a:lnTo>
                  <a:pt x="68" y="177"/>
                </a:lnTo>
                <a:lnTo>
                  <a:pt x="68" y="176"/>
                </a:lnTo>
                <a:lnTo>
                  <a:pt x="68" y="176"/>
                </a:lnTo>
                <a:lnTo>
                  <a:pt x="68" y="176"/>
                </a:lnTo>
                <a:lnTo>
                  <a:pt x="68" y="176"/>
                </a:lnTo>
                <a:lnTo>
                  <a:pt x="68" y="176"/>
                </a:lnTo>
                <a:lnTo>
                  <a:pt x="68" y="176"/>
                </a:lnTo>
                <a:lnTo>
                  <a:pt x="68" y="175"/>
                </a:lnTo>
                <a:lnTo>
                  <a:pt x="68" y="175"/>
                </a:lnTo>
                <a:lnTo>
                  <a:pt x="68" y="175"/>
                </a:lnTo>
                <a:lnTo>
                  <a:pt x="68" y="175"/>
                </a:lnTo>
                <a:lnTo>
                  <a:pt x="68" y="175"/>
                </a:lnTo>
                <a:lnTo>
                  <a:pt x="68" y="175"/>
                </a:lnTo>
                <a:lnTo>
                  <a:pt x="68" y="174"/>
                </a:lnTo>
                <a:lnTo>
                  <a:pt x="68" y="174"/>
                </a:lnTo>
                <a:lnTo>
                  <a:pt x="68" y="174"/>
                </a:lnTo>
                <a:lnTo>
                  <a:pt x="68" y="174"/>
                </a:lnTo>
                <a:lnTo>
                  <a:pt x="68" y="174"/>
                </a:lnTo>
                <a:lnTo>
                  <a:pt x="68" y="174"/>
                </a:lnTo>
                <a:lnTo>
                  <a:pt x="68" y="173"/>
                </a:lnTo>
                <a:lnTo>
                  <a:pt x="68" y="173"/>
                </a:lnTo>
                <a:lnTo>
                  <a:pt x="68" y="173"/>
                </a:lnTo>
                <a:lnTo>
                  <a:pt x="68" y="173"/>
                </a:lnTo>
                <a:lnTo>
                  <a:pt x="68" y="173"/>
                </a:lnTo>
                <a:lnTo>
                  <a:pt x="68" y="173"/>
                </a:lnTo>
                <a:lnTo>
                  <a:pt x="68" y="171"/>
                </a:lnTo>
                <a:lnTo>
                  <a:pt x="68" y="171"/>
                </a:lnTo>
                <a:lnTo>
                  <a:pt x="68" y="171"/>
                </a:lnTo>
                <a:lnTo>
                  <a:pt x="68" y="171"/>
                </a:lnTo>
                <a:lnTo>
                  <a:pt x="68" y="171"/>
                </a:lnTo>
                <a:lnTo>
                  <a:pt x="68" y="171"/>
                </a:lnTo>
                <a:lnTo>
                  <a:pt x="68" y="170"/>
                </a:lnTo>
                <a:lnTo>
                  <a:pt x="68" y="170"/>
                </a:lnTo>
                <a:lnTo>
                  <a:pt x="68" y="170"/>
                </a:lnTo>
                <a:lnTo>
                  <a:pt x="68" y="170"/>
                </a:lnTo>
                <a:lnTo>
                  <a:pt x="68" y="170"/>
                </a:lnTo>
                <a:lnTo>
                  <a:pt x="68" y="170"/>
                </a:lnTo>
                <a:lnTo>
                  <a:pt x="68" y="169"/>
                </a:lnTo>
                <a:lnTo>
                  <a:pt x="68" y="169"/>
                </a:lnTo>
                <a:lnTo>
                  <a:pt x="68" y="169"/>
                </a:lnTo>
                <a:lnTo>
                  <a:pt x="68" y="169"/>
                </a:lnTo>
                <a:lnTo>
                  <a:pt x="68" y="169"/>
                </a:lnTo>
                <a:lnTo>
                  <a:pt x="68" y="169"/>
                </a:lnTo>
                <a:lnTo>
                  <a:pt x="68" y="168"/>
                </a:lnTo>
                <a:lnTo>
                  <a:pt x="68" y="168"/>
                </a:lnTo>
                <a:lnTo>
                  <a:pt x="68" y="168"/>
                </a:lnTo>
                <a:lnTo>
                  <a:pt x="68" y="168"/>
                </a:lnTo>
                <a:lnTo>
                  <a:pt x="68" y="168"/>
                </a:lnTo>
                <a:lnTo>
                  <a:pt x="68" y="168"/>
                </a:lnTo>
                <a:lnTo>
                  <a:pt x="68" y="167"/>
                </a:lnTo>
                <a:lnTo>
                  <a:pt x="68" y="167"/>
                </a:lnTo>
                <a:lnTo>
                  <a:pt x="68" y="167"/>
                </a:lnTo>
                <a:lnTo>
                  <a:pt x="68" y="167"/>
                </a:lnTo>
                <a:lnTo>
                  <a:pt x="68" y="167"/>
                </a:lnTo>
                <a:lnTo>
                  <a:pt x="68" y="167"/>
                </a:lnTo>
                <a:lnTo>
                  <a:pt x="68" y="166"/>
                </a:lnTo>
                <a:lnTo>
                  <a:pt x="67" y="166"/>
                </a:lnTo>
                <a:lnTo>
                  <a:pt x="67" y="166"/>
                </a:lnTo>
                <a:lnTo>
                  <a:pt x="67" y="166"/>
                </a:lnTo>
                <a:lnTo>
                  <a:pt x="67" y="166"/>
                </a:lnTo>
                <a:lnTo>
                  <a:pt x="67" y="166"/>
                </a:lnTo>
                <a:lnTo>
                  <a:pt x="67" y="165"/>
                </a:lnTo>
                <a:lnTo>
                  <a:pt x="67" y="165"/>
                </a:lnTo>
                <a:lnTo>
                  <a:pt x="67" y="165"/>
                </a:lnTo>
                <a:lnTo>
                  <a:pt x="67" y="165"/>
                </a:lnTo>
                <a:lnTo>
                  <a:pt x="67" y="165"/>
                </a:lnTo>
                <a:lnTo>
                  <a:pt x="67" y="165"/>
                </a:lnTo>
                <a:lnTo>
                  <a:pt x="67" y="165"/>
                </a:lnTo>
                <a:lnTo>
                  <a:pt x="67" y="164"/>
                </a:lnTo>
                <a:lnTo>
                  <a:pt x="67" y="164"/>
                </a:lnTo>
                <a:lnTo>
                  <a:pt x="67" y="164"/>
                </a:lnTo>
                <a:lnTo>
                  <a:pt x="67" y="164"/>
                </a:lnTo>
                <a:lnTo>
                  <a:pt x="67" y="164"/>
                </a:lnTo>
                <a:lnTo>
                  <a:pt x="67" y="164"/>
                </a:lnTo>
                <a:lnTo>
                  <a:pt x="67" y="162"/>
                </a:lnTo>
                <a:lnTo>
                  <a:pt x="67" y="162"/>
                </a:lnTo>
                <a:lnTo>
                  <a:pt x="67" y="162"/>
                </a:lnTo>
                <a:lnTo>
                  <a:pt x="66" y="162"/>
                </a:lnTo>
                <a:lnTo>
                  <a:pt x="66" y="162"/>
                </a:lnTo>
                <a:lnTo>
                  <a:pt x="66" y="162"/>
                </a:lnTo>
                <a:lnTo>
                  <a:pt x="66" y="162"/>
                </a:lnTo>
                <a:lnTo>
                  <a:pt x="66" y="161"/>
                </a:lnTo>
                <a:lnTo>
                  <a:pt x="66" y="161"/>
                </a:lnTo>
                <a:lnTo>
                  <a:pt x="66" y="161"/>
                </a:lnTo>
                <a:lnTo>
                  <a:pt x="66" y="161"/>
                </a:lnTo>
                <a:lnTo>
                  <a:pt x="66" y="161"/>
                </a:lnTo>
                <a:lnTo>
                  <a:pt x="66" y="161"/>
                </a:lnTo>
                <a:lnTo>
                  <a:pt x="66" y="161"/>
                </a:lnTo>
                <a:lnTo>
                  <a:pt x="66" y="160"/>
                </a:lnTo>
                <a:lnTo>
                  <a:pt x="66" y="160"/>
                </a:lnTo>
                <a:lnTo>
                  <a:pt x="66" y="160"/>
                </a:lnTo>
                <a:lnTo>
                  <a:pt x="66" y="160"/>
                </a:lnTo>
                <a:lnTo>
                  <a:pt x="64" y="160"/>
                </a:lnTo>
                <a:lnTo>
                  <a:pt x="64" y="160"/>
                </a:lnTo>
                <a:lnTo>
                  <a:pt x="64" y="160"/>
                </a:lnTo>
                <a:lnTo>
                  <a:pt x="64" y="159"/>
                </a:lnTo>
                <a:lnTo>
                  <a:pt x="64" y="159"/>
                </a:lnTo>
                <a:lnTo>
                  <a:pt x="64" y="159"/>
                </a:lnTo>
                <a:lnTo>
                  <a:pt x="64" y="159"/>
                </a:lnTo>
                <a:lnTo>
                  <a:pt x="64" y="159"/>
                </a:lnTo>
                <a:lnTo>
                  <a:pt x="64" y="159"/>
                </a:lnTo>
                <a:lnTo>
                  <a:pt x="64" y="159"/>
                </a:lnTo>
                <a:lnTo>
                  <a:pt x="64" y="158"/>
                </a:lnTo>
                <a:lnTo>
                  <a:pt x="64" y="158"/>
                </a:lnTo>
                <a:lnTo>
                  <a:pt x="64" y="158"/>
                </a:lnTo>
                <a:lnTo>
                  <a:pt x="63" y="158"/>
                </a:lnTo>
                <a:lnTo>
                  <a:pt x="63" y="158"/>
                </a:lnTo>
                <a:lnTo>
                  <a:pt x="63" y="158"/>
                </a:lnTo>
                <a:lnTo>
                  <a:pt x="63" y="158"/>
                </a:lnTo>
                <a:lnTo>
                  <a:pt x="63" y="157"/>
                </a:lnTo>
                <a:lnTo>
                  <a:pt x="63" y="157"/>
                </a:lnTo>
                <a:lnTo>
                  <a:pt x="63" y="157"/>
                </a:lnTo>
                <a:lnTo>
                  <a:pt x="63" y="157"/>
                </a:lnTo>
                <a:lnTo>
                  <a:pt x="63" y="157"/>
                </a:lnTo>
                <a:lnTo>
                  <a:pt x="63" y="157"/>
                </a:lnTo>
                <a:lnTo>
                  <a:pt x="63" y="157"/>
                </a:lnTo>
                <a:lnTo>
                  <a:pt x="63" y="157"/>
                </a:lnTo>
                <a:lnTo>
                  <a:pt x="62" y="156"/>
                </a:lnTo>
                <a:lnTo>
                  <a:pt x="62" y="156"/>
                </a:lnTo>
                <a:lnTo>
                  <a:pt x="62" y="156"/>
                </a:lnTo>
                <a:lnTo>
                  <a:pt x="62" y="156"/>
                </a:lnTo>
                <a:lnTo>
                  <a:pt x="62" y="156"/>
                </a:lnTo>
                <a:lnTo>
                  <a:pt x="62" y="156"/>
                </a:lnTo>
                <a:lnTo>
                  <a:pt x="62" y="156"/>
                </a:lnTo>
                <a:lnTo>
                  <a:pt x="62" y="156"/>
                </a:lnTo>
                <a:lnTo>
                  <a:pt x="62" y="155"/>
                </a:lnTo>
                <a:lnTo>
                  <a:pt x="62" y="155"/>
                </a:lnTo>
                <a:lnTo>
                  <a:pt x="62" y="155"/>
                </a:lnTo>
                <a:lnTo>
                  <a:pt x="61" y="155"/>
                </a:lnTo>
                <a:lnTo>
                  <a:pt x="61" y="155"/>
                </a:lnTo>
                <a:lnTo>
                  <a:pt x="61" y="155"/>
                </a:lnTo>
                <a:lnTo>
                  <a:pt x="61" y="155"/>
                </a:lnTo>
                <a:lnTo>
                  <a:pt x="61" y="155"/>
                </a:lnTo>
                <a:lnTo>
                  <a:pt x="61" y="153"/>
                </a:lnTo>
                <a:lnTo>
                  <a:pt x="61" y="153"/>
                </a:lnTo>
                <a:lnTo>
                  <a:pt x="61" y="153"/>
                </a:lnTo>
                <a:lnTo>
                  <a:pt x="61" y="153"/>
                </a:lnTo>
                <a:lnTo>
                  <a:pt x="60" y="153"/>
                </a:lnTo>
                <a:lnTo>
                  <a:pt x="60" y="153"/>
                </a:lnTo>
                <a:lnTo>
                  <a:pt x="60" y="153"/>
                </a:lnTo>
                <a:lnTo>
                  <a:pt x="60" y="153"/>
                </a:lnTo>
                <a:lnTo>
                  <a:pt x="60" y="152"/>
                </a:lnTo>
                <a:lnTo>
                  <a:pt x="60" y="152"/>
                </a:lnTo>
                <a:lnTo>
                  <a:pt x="60" y="152"/>
                </a:lnTo>
                <a:lnTo>
                  <a:pt x="60" y="152"/>
                </a:lnTo>
                <a:lnTo>
                  <a:pt x="60" y="152"/>
                </a:lnTo>
                <a:lnTo>
                  <a:pt x="60" y="152"/>
                </a:lnTo>
                <a:lnTo>
                  <a:pt x="59" y="152"/>
                </a:lnTo>
                <a:lnTo>
                  <a:pt x="59" y="152"/>
                </a:lnTo>
                <a:lnTo>
                  <a:pt x="59" y="152"/>
                </a:lnTo>
                <a:lnTo>
                  <a:pt x="59" y="151"/>
                </a:lnTo>
                <a:lnTo>
                  <a:pt x="59" y="151"/>
                </a:lnTo>
                <a:lnTo>
                  <a:pt x="59" y="151"/>
                </a:lnTo>
                <a:lnTo>
                  <a:pt x="59" y="151"/>
                </a:lnTo>
                <a:lnTo>
                  <a:pt x="59" y="151"/>
                </a:lnTo>
                <a:lnTo>
                  <a:pt x="58" y="151"/>
                </a:lnTo>
                <a:lnTo>
                  <a:pt x="58" y="151"/>
                </a:lnTo>
                <a:lnTo>
                  <a:pt x="58" y="151"/>
                </a:lnTo>
                <a:lnTo>
                  <a:pt x="58" y="151"/>
                </a:lnTo>
                <a:lnTo>
                  <a:pt x="58" y="151"/>
                </a:lnTo>
                <a:lnTo>
                  <a:pt x="58" y="150"/>
                </a:lnTo>
                <a:lnTo>
                  <a:pt x="58" y="150"/>
                </a:lnTo>
                <a:lnTo>
                  <a:pt x="58" y="150"/>
                </a:lnTo>
                <a:lnTo>
                  <a:pt x="57" y="150"/>
                </a:lnTo>
                <a:lnTo>
                  <a:pt x="57" y="150"/>
                </a:lnTo>
                <a:lnTo>
                  <a:pt x="57" y="150"/>
                </a:lnTo>
                <a:lnTo>
                  <a:pt x="57" y="150"/>
                </a:lnTo>
                <a:lnTo>
                  <a:pt x="57" y="150"/>
                </a:lnTo>
                <a:lnTo>
                  <a:pt x="57" y="150"/>
                </a:lnTo>
                <a:lnTo>
                  <a:pt x="57" y="150"/>
                </a:lnTo>
                <a:lnTo>
                  <a:pt x="57" y="149"/>
                </a:lnTo>
                <a:lnTo>
                  <a:pt x="55" y="149"/>
                </a:lnTo>
                <a:lnTo>
                  <a:pt x="55" y="149"/>
                </a:lnTo>
                <a:lnTo>
                  <a:pt x="55" y="149"/>
                </a:lnTo>
                <a:lnTo>
                  <a:pt x="55" y="149"/>
                </a:lnTo>
                <a:lnTo>
                  <a:pt x="55" y="149"/>
                </a:lnTo>
                <a:lnTo>
                  <a:pt x="55" y="149"/>
                </a:lnTo>
                <a:lnTo>
                  <a:pt x="55" y="149"/>
                </a:lnTo>
                <a:lnTo>
                  <a:pt x="55" y="149"/>
                </a:lnTo>
                <a:lnTo>
                  <a:pt x="54" y="149"/>
                </a:lnTo>
                <a:lnTo>
                  <a:pt x="54" y="149"/>
                </a:lnTo>
                <a:lnTo>
                  <a:pt x="54" y="148"/>
                </a:lnTo>
                <a:lnTo>
                  <a:pt x="54" y="148"/>
                </a:lnTo>
                <a:lnTo>
                  <a:pt x="54" y="148"/>
                </a:lnTo>
                <a:lnTo>
                  <a:pt x="54" y="148"/>
                </a:lnTo>
                <a:lnTo>
                  <a:pt x="54" y="148"/>
                </a:lnTo>
                <a:lnTo>
                  <a:pt x="54" y="148"/>
                </a:lnTo>
                <a:lnTo>
                  <a:pt x="53" y="148"/>
                </a:lnTo>
                <a:lnTo>
                  <a:pt x="53" y="148"/>
                </a:lnTo>
                <a:lnTo>
                  <a:pt x="53" y="148"/>
                </a:lnTo>
                <a:lnTo>
                  <a:pt x="53" y="148"/>
                </a:lnTo>
                <a:lnTo>
                  <a:pt x="53" y="148"/>
                </a:lnTo>
                <a:lnTo>
                  <a:pt x="53" y="148"/>
                </a:lnTo>
                <a:lnTo>
                  <a:pt x="53" y="147"/>
                </a:lnTo>
                <a:lnTo>
                  <a:pt x="52" y="147"/>
                </a:lnTo>
                <a:lnTo>
                  <a:pt x="52" y="147"/>
                </a:lnTo>
                <a:lnTo>
                  <a:pt x="52" y="147"/>
                </a:lnTo>
                <a:lnTo>
                  <a:pt x="52" y="147"/>
                </a:lnTo>
                <a:lnTo>
                  <a:pt x="52" y="147"/>
                </a:lnTo>
                <a:lnTo>
                  <a:pt x="52" y="147"/>
                </a:lnTo>
                <a:lnTo>
                  <a:pt x="52" y="147"/>
                </a:lnTo>
                <a:lnTo>
                  <a:pt x="51" y="147"/>
                </a:lnTo>
                <a:lnTo>
                  <a:pt x="51" y="147"/>
                </a:lnTo>
                <a:lnTo>
                  <a:pt x="51" y="147"/>
                </a:lnTo>
                <a:lnTo>
                  <a:pt x="51" y="147"/>
                </a:lnTo>
                <a:lnTo>
                  <a:pt x="51" y="147"/>
                </a:lnTo>
                <a:lnTo>
                  <a:pt x="51" y="147"/>
                </a:lnTo>
                <a:lnTo>
                  <a:pt x="51" y="146"/>
                </a:lnTo>
                <a:lnTo>
                  <a:pt x="50" y="146"/>
                </a:lnTo>
                <a:lnTo>
                  <a:pt x="50" y="146"/>
                </a:lnTo>
                <a:lnTo>
                  <a:pt x="50" y="146"/>
                </a:lnTo>
                <a:lnTo>
                  <a:pt x="50" y="146"/>
                </a:lnTo>
                <a:lnTo>
                  <a:pt x="50" y="146"/>
                </a:lnTo>
                <a:lnTo>
                  <a:pt x="50" y="146"/>
                </a:lnTo>
                <a:lnTo>
                  <a:pt x="50" y="146"/>
                </a:lnTo>
                <a:lnTo>
                  <a:pt x="49" y="146"/>
                </a:lnTo>
                <a:lnTo>
                  <a:pt x="49" y="146"/>
                </a:lnTo>
                <a:lnTo>
                  <a:pt x="49" y="146"/>
                </a:lnTo>
                <a:lnTo>
                  <a:pt x="49" y="146"/>
                </a:lnTo>
                <a:lnTo>
                  <a:pt x="49" y="146"/>
                </a:lnTo>
                <a:lnTo>
                  <a:pt x="49" y="146"/>
                </a:lnTo>
                <a:lnTo>
                  <a:pt x="48" y="146"/>
                </a:lnTo>
                <a:lnTo>
                  <a:pt x="48" y="146"/>
                </a:lnTo>
                <a:lnTo>
                  <a:pt x="48" y="146"/>
                </a:lnTo>
                <a:lnTo>
                  <a:pt x="48" y="144"/>
                </a:lnTo>
                <a:lnTo>
                  <a:pt x="48" y="144"/>
                </a:lnTo>
                <a:lnTo>
                  <a:pt x="48" y="144"/>
                </a:lnTo>
                <a:lnTo>
                  <a:pt x="48" y="144"/>
                </a:lnTo>
                <a:lnTo>
                  <a:pt x="46" y="144"/>
                </a:lnTo>
                <a:lnTo>
                  <a:pt x="46" y="144"/>
                </a:lnTo>
                <a:lnTo>
                  <a:pt x="46" y="144"/>
                </a:lnTo>
                <a:lnTo>
                  <a:pt x="46" y="144"/>
                </a:lnTo>
                <a:lnTo>
                  <a:pt x="46" y="144"/>
                </a:lnTo>
                <a:lnTo>
                  <a:pt x="46" y="144"/>
                </a:lnTo>
                <a:lnTo>
                  <a:pt x="45" y="144"/>
                </a:lnTo>
                <a:lnTo>
                  <a:pt x="45" y="144"/>
                </a:lnTo>
                <a:lnTo>
                  <a:pt x="45" y="144"/>
                </a:lnTo>
                <a:lnTo>
                  <a:pt x="45" y="144"/>
                </a:lnTo>
                <a:lnTo>
                  <a:pt x="45" y="144"/>
                </a:lnTo>
                <a:lnTo>
                  <a:pt x="45" y="144"/>
                </a:lnTo>
                <a:lnTo>
                  <a:pt x="44" y="144"/>
                </a:lnTo>
                <a:lnTo>
                  <a:pt x="44" y="144"/>
                </a:lnTo>
                <a:lnTo>
                  <a:pt x="44" y="144"/>
                </a:lnTo>
                <a:lnTo>
                  <a:pt x="44" y="144"/>
                </a:lnTo>
                <a:lnTo>
                  <a:pt x="44" y="144"/>
                </a:lnTo>
                <a:lnTo>
                  <a:pt x="44" y="144"/>
                </a:lnTo>
                <a:lnTo>
                  <a:pt x="44" y="144"/>
                </a:lnTo>
                <a:lnTo>
                  <a:pt x="43" y="144"/>
                </a:lnTo>
                <a:lnTo>
                  <a:pt x="43" y="144"/>
                </a:lnTo>
                <a:lnTo>
                  <a:pt x="43" y="144"/>
                </a:lnTo>
                <a:lnTo>
                  <a:pt x="43" y="143"/>
                </a:lnTo>
                <a:lnTo>
                  <a:pt x="43" y="143"/>
                </a:lnTo>
                <a:lnTo>
                  <a:pt x="43" y="143"/>
                </a:lnTo>
                <a:lnTo>
                  <a:pt x="42" y="143"/>
                </a:lnTo>
                <a:lnTo>
                  <a:pt x="42" y="143"/>
                </a:lnTo>
                <a:lnTo>
                  <a:pt x="42" y="143"/>
                </a:lnTo>
                <a:lnTo>
                  <a:pt x="42" y="143"/>
                </a:lnTo>
                <a:lnTo>
                  <a:pt x="42" y="143"/>
                </a:lnTo>
                <a:lnTo>
                  <a:pt x="42" y="143"/>
                </a:lnTo>
                <a:lnTo>
                  <a:pt x="41" y="143"/>
                </a:lnTo>
                <a:lnTo>
                  <a:pt x="41" y="143"/>
                </a:lnTo>
                <a:lnTo>
                  <a:pt x="41" y="143"/>
                </a:lnTo>
                <a:lnTo>
                  <a:pt x="41" y="143"/>
                </a:lnTo>
                <a:lnTo>
                  <a:pt x="41" y="143"/>
                </a:lnTo>
                <a:lnTo>
                  <a:pt x="41" y="143"/>
                </a:lnTo>
                <a:lnTo>
                  <a:pt x="40" y="143"/>
                </a:lnTo>
                <a:lnTo>
                  <a:pt x="40" y="143"/>
                </a:lnTo>
                <a:lnTo>
                  <a:pt x="40" y="143"/>
                </a:lnTo>
                <a:lnTo>
                  <a:pt x="40" y="143"/>
                </a:lnTo>
                <a:lnTo>
                  <a:pt x="40" y="143"/>
                </a:lnTo>
                <a:lnTo>
                  <a:pt x="40" y="143"/>
                </a:lnTo>
                <a:lnTo>
                  <a:pt x="39" y="143"/>
                </a:lnTo>
                <a:lnTo>
                  <a:pt x="39" y="143"/>
                </a:lnTo>
                <a:lnTo>
                  <a:pt x="39" y="143"/>
                </a:lnTo>
                <a:lnTo>
                  <a:pt x="39" y="143"/>
                </a:lnTo>
                <a:lnTo>
                  <a:pt x="39" y="143"/>
                </a:lnTo>
                <a:lnTo>
                  <a:pt x="39" y="143"/>
                </a:lnTo>
                <a:lnTo>
                  <a:pt x="37" y="143"/>
                </a:lnTo>
                <a:lnTo>
                  <a:pt x="37" y="143"/>
                </a:lnTo>
                <a:lnTo>
                  <a:pt x="37" y="143"/>
                </a:lnTo>
                <a:lnTo>
                  <a:pt x="37" y="143"/>
                </a:lnTo>
                <a:lnTo>
                  <a:pt x="37" y="143"/>
                </a:lnTo>
                <a:lnTo>
                  <a:pt x="37" y="143"/>
                </a:lnTo>
                <a:lnTo>
                  <a:pt x="36" y="143"/>
                </a:lnTo>
                <a:lnTo>
                  <a:pt x="36" y="143"/>
                </a:lnTo>
                <a:lnTo>
                  <a:pt x="36" y="143"/>
                </a:lnTo>
                <a:lnTo>
                  <a:pt x="36" y="143"/>
                </a:lnTo>
                <a:lnTo>
                  <a:pt x="36" y="143"/>
                </a:lnTo>
                <a:lnTo>
                  <a:pt x="36" y="143"/>
                </a:lnTo>
                <a:lnTo>
                  <a:pt x="35" y="143"/>
                </a:lnTo>
                <a:lnTo>
                  <a:pt x="35" y="143"/>
                </a:lnTo>
                <a:lnTo>
                  <a:pt x="35" y="143"/>
                </a:lnTo>
                <a:lnTo>
                  <a:pt x="35" y="143"/>
                </a:lnTo>
                <a:lnTo>
                  <a:pt x="35" y="143"/>
                </a:lnTo>
                <a:lnTo>
                  <a:pt x="35" y="143"/>
                </a:lnTo>
                <a:lnTo>
                  <a:pt x="34" y="143"/>
                </a:lnTo>
                <a:lnTo>
                  <a:pt x="34" y="143"/>
                </a:lnTo>
                <a:lnTo>
                  <a:pt x="34" y="143"/>
                </a:lnTo>
                <a:lnTo>
                  <a:pt x="34" y="143"/>
                </a:lnTo>
                <a:lnTo>
                  <a:pt x="34" y="144"/>
                </a:lnTo>
                <a:lnTo>
                  <a:pt x="34" y="144"/>
                </a:lnTo>
                <a:lnTo>
                  <a:pt x="33" y="144"/>
                </a:lnTo>
                <a:lnTo>
                  <a:pt x="33" y="144"/>
                </a:lnTo>
                <a:lnTo>
                  <a:pt x="33" y="144"/>
                </a:lnTo>
                <a:lnTo>
                  <a:pt x="33" y="144"/>
                </a:lnTo>
                <a:lnTo>
                  <a:pt x="33" y="144"/>
                </a:lnTo>
                <a:lnTo>
                  <a:pt x="33" y="144"/>
                </a:lnTo>
                <a:lnTo>
                  <a:pt x="32" y="144"/>
                </a:lnTo>
                <a:lnTo>
                  <a:pt x="32" y="144"/>
                </a:lnTo>
                <a:lnTo>
                  <a:pt x="32" y="144"/>
                </a:lnTo>
                <a:lnTo>
                  <a:pt x="32" y="144"/>
                </a:lnTo>
                <a:lnTo>
                  <a:pt x="32" y="144"/>
                </a:lnTo>
                <a:lnTo>
                  <a:pt x="32" y="144"/>
                </a:lnTo>
                <a:lnTo>
                  <a:pt x="31" y="144"/>
                </a:lnTo>
                <a:lnTo>
                  <a:pt x="31" y="144"/>
                </a:lnTo>
                <a:lnTo>
                  <a:pt x="31" y="144"/>
                </a:lnTo>
                <a:lnTo>
                  <a:pt x="31" y="144"/>
                </a:lnTo>
                <a:lnTo>
                  <a:pt x="31" y="144"/>
                </a:lnTo>
                <a:lnTo>
                  <a:pt x="31" y="144"/>
                </a:lnTo>
                <a:lnTo>
                  <a:pt x="31" y="144"/>
                </a:lnTo>
                <a:lnTo>
                  <a:pt x="30" y="144"/>
                </a:lnTo>
                <a:lnTo>
                  <a:pt x="30" y="144"/>
                </a:lnTo>
                <a:lnTo>
                  <a:pt x="30" y="144"/>
                </a:lnTo>
                <a:lnTo>
                  <a:pt x="30" y="144"/>
                </a:lnTo>
                <a:lnTo>
                  <a:pt x="30" y="144"/>
                </a:lnTo>
                <a:lnTo>
                  <a:pt x="30" y="146"/>
                </a:lnTo>
                <a:lnTo>
                  <a:pt x="28" y="146"/>
                </a:lnTo>
                <a:lnTo>
                  <a:pt x="28" y="146"/>
                </a:lnTo>
                <a:lnTo>
                  <a:pt x="28" y="146"/>
                </a:lnTo>
                <a:lnTo>
                  <a:pt x="28" y="146"/>
                </a:lnTo>
                <a:lnTo>
                  <a:pt x="28" y="146"/>
                </a:lnTo>
                <a:lnTo>
                  <a:pt x="28" y="146"/>
                </a:lnTo>
                <a:lnTo>
                  <a:pt x="28" y="146"/>
                </a:lnTo>
                <a:lnTo>
                  <a:pt x="27" y="146"/>
                </a:lnTo>
                <a:lnTo>
                  <a:pt x="27" y="146"/>
                </a:lnTo>
                <a:lnTo>
                  <a:pt x="27" y="146"/>
                </a:lnTo>
                <a:lnTo>
                  <a:pt x="27" y="146"/>
                </a:lnTo>
                <a:lnTo>
                  <a:pt x="27" y="146"/>
                </a:lnTo>
                <a:lnTo>
                  <a:pt x="27" y="146"/>
                </a:lnTo>
                <a:lnTo>
                  <a:pt x="26" y="146"/>
                </a:lnTo>
                <a:lnTo>
                  <a:pt x="26" y="146"/>
                </a:lnTo>
                <a:lnTo>
                  <a:pt x="26" y="146"/>
                </a:lnTo>
                <a:lnTo>
                  <a:pt x="26" y="147"/>
                </a:lnTo>
                <a:lnTo>
                  <a:pt x="26" y="147"/>
                </a:lnTo>
                <a:lnTo>
                  <a:pt x="26" y="147"/>
                </a:lnTo>
                <a:lnTo>
                  <a:pt x="26" y="147"/>
                </a:lnTo>
                <a:lnTo>
                  <a:pt x="25" y="147"/>
                </a:lnTo>
                <a:lnTo>
                  <a:pt x="25" y="147"/>
                </a:lnTo>
                <a:lnTo>
                  <a:pt x="25" y="147"/>
                </a:lnTo>
                <a:lnTo>
                  <a:pt x="25" y="147"/>
                </a:lnTo>
                <a:lnTo>
                  <a:pt x="25" y="147"/>
                </a:lnTo>
                <a:lnTo>
                  <a:pt x="25" y="147"/>
                </a:lnTo>
                <a:lnTo>
                  <a:pt x="25" y="147"/>
                </a:lnTo>
                <a:lnTo>
                  <a:pt x="24" y="147"/>
                </a:lnTo>
                <a:lnTo>
                  <a:pt x="24" y="147"/>
                </a:lnTo>
                <a:lnTo>
                  <a:pt x="24" y="147"/>
                </a:lnTo>
                <a:lnTo>
                  <a:pt x="24" y="148"/>
                </a:lnTo>
                <a:lnTo>
                  <a:pt x="24" y="148"/>
                </a:lnTo>
                <a:lnTo>
                  <a:pt x="24" y="148"/>
                </a:lnTo>
                <a:lnTo>
                  <a:pt x="24" y="148"/>
                </a:lnTo>
                <a:lnTo>
                  <a:pt x="24" y="148"/>
                </a:lnTo>
                <a:lnTo>
                  <a:pt x="23" y="148"/>
                </a:lnTo>
                <a:lnTo>
                  <a:pt x="23" y="148"/>
                </a:lnTo>
                <a:lnTo>
                  <a:pt x="23" y="148"/>
                </a:lnTo>
                <a:lnTo>
                  <a:pt x="23" y="148"/>
                </a:lnTo>
                <a:lnTo>
                  <a:pt x="23" y="148"/>
                </a:lnTo>
                <a:lnTo>
                  <a:pt x="23" y="148"/>
                </a:lnTo>
                <a:lnTo>
                  <a:pt x="23" y="148"/>
                </a:lnTo>
                <a:lnTo>
                  <a:pt x="22" y="149"/>
                </a:lnTo>
                <a:lnTo>
                  <a:pt x="22" y="149"/>
                </a:lnTo>
                <a:lnTo>
                  <a:pt x="22" y="149"/>
                </a:lnTo>
                <a:lnTo>
                  <a:pt x="22" y="149"/>
                </a:lnTo>
                <a:lnTo>
                  <a:pt x="22" y="149"/>
                </a:lnTo>
                <a:lnTo>
                  <a:pt x="22" y="149"/>
                </a:lnTo>
                <a:lnTo>
                  <a:pt x="22" y="149"/>
                </a:lnTo>
                <a:lnTo>
                  <a:pt x="22" y="149"/>
                </a:lnTo>
                <a:lnTo>
                  <a:pt x="21" y="149"/>
                </a:lnTo>
                <a:lnTo>
                  <a:pt x="21" y="149"/>
                </a:lnTo>
                <a:lnTo>
                  <a:pt x="21" y="149"/>
                </a:lnTo>
                <a:lnTo>
                  <a:pt x="21" y="150"/>
                </a:lnTo>
                <a:lnTo>
                  <a:pt x="21" y="150"/>
                </a:lnTo>
                <a:lnTo>
                  <a:pt x="21" y="150"/>
                </a:lnTo>
                <a:lnTo>
                  <a:pt x="21" y="150"/>
                </a:lnTo>
                <a:lnTo>
                  <a:pt x="19" y="150"/>
                </a:lnTo>
                <a:lnTo>
                  <a:pt x="19" y="150"/>
                </a:lnTo>
                <a:lnTo>
                  <a:pt x="19" y="150"/>
                </a:lnTo>
                <a:lnTo>
                  <a:pt x="19" y="150"/>
                </a:lnTo>
                <a:lnTo>
                  <a:pt x="19" y="150"/>
                </a:lnTo>
                <a:lnTo>
                  <a:pt x="19" y="150"/>
                </a:lnTo>
                <a:lnTo>
                  <a:pt x="19" y="151"/>
                </a:lnTo>
                <a:lnTo>
                  <a:pt x="19" y="151"/>
                </a:lnTo>
                <a:lnTo>
                  <a:pt x="19" y="151"/>
                </a:lnTo>
                <a:lnTo>
                  <a:pt x="18" y="151"/>
                </a:lnTo>
                <a:lnTo>
                  <a:pt x="18" y="151"/>
                </a:lnTo>
                <a:lnTo>
                  <a:pt x="18" y="151"/>
                </a:lnTo>
                <a:lnTo>
                  <a:pt x="18" y="151"/>
                </a:lnTo>
                <a:lnTo>
                  <a:pt x="18" y="151"/>
                </a:lnTo>
                <a:lnTo>
                  <a:pt x="18" y="151"/>
                </a:lnTo>
                <a:lnTo>
                  <a:pt x="18" y="151"/>
                </a:lnTo>
                <a:lnTo>
                  <a:pt x="18" y="152"/>
                </a:lnTo>
                <a:lnTo>
                  <a:pt x="17" y="152"/>
                </a:lnTo>
                <a:lnTo>
                  <a:pt x="17" y="152"/>
                </a:lnTo>
                <a:lnTo>
                  <a:pt x="17" y="152"/>
                </a:lnTo>
                <a:lnTo>
                  <a:pt x="17" y="152"/>
                </a:lnTo>
                <a:lnTo>
                  <a:pt x="17" y="152"/>
                </a:lnTo>
                <a:lnTo>
                  <a:pt x="17" y="152"/>
                </a:lnTo>
                <a:lnTo>
                  <a:pt x="17" y="152"/>
                </a:lnTo>
                <a:lnTo>
                  <a:pt x="17" y="152"/>
                </a:lnTo>
                <a:lnTo>
                  <a:pt x="17" y="153"/>
                </a:lnTo>
                <a:lnTo>
                  <a:pt x="16" y="153"/>
                </a:lnTo>
                <a:lnTo>
                  <a:pt x="16" y="153"/>
                </a:lnTo>
                <a:lnTo>
                  <a:pt x="16" y="153"/>
                </a:lnTo>
                <a:lnTo>
                  <a:pt x="16" y="153"/>
                </a:lnTo>
                <a:lnTo>
                  <a:pt x="16" y="153"/>
                </a:lnTo>
                <a:lnTo>
                  <a:pt x="16" y="153"/>
                </a:lnTo>
                <a:lnTo>
                  <a:pt x="16" y="153"/>
                </a:lnTo>
                <a:lnTo>
                  <a:pt x="16" y="155"/>
                </a:lnTo>
                <a:lnTo>
                  <a:pt x="16" y="155"/>
                </a:lnTo>
                <a:lnTo>
                  <a:pt x="16" y="155"/>
                </a:lnTo>
                <a:lnTo>
                  <a:pt x="15" y="155"/>
                </a:lnTo>
                <a:lnTo>
                  <a:pt x="15" y="155"/>
                </a:lnTo>
                <a:lnTo>
                  <a:pt x="15" y="155"/>
                </a:lnTo>
                <a:lnTo>
                  <a:pt x="15" y="155"/>
                </a:lnTo>
                <a:lnTo>
                  <a:pt x="15" y="155"/>
                </a:lnTo>
                <a:lnTo>
                  <a:pt x="15" y="156"/>
                </a:lnTo>
                <a:lnTo>
                  <a:pt x="15" y="156"/>
                </a:lnTo>
                <a:lnTo>
                  <a:pt x="15" y="156"/>
                </a:lnTo>
                <a:lnTo>
                  <a:pt x="15" y="156"/>
                </a:lnTo>
                <a:lnTo>
                  <a:pt x="15" y="156"/>
                </a:lnTo>
                <a:lnTo>
                  <a:pt x="14" y="156"/>
                </a:lnTo>
                <a:lnTo>
                  <a:pt x="14" y="156"/>
                </a:lnTo>
                <a:lnTo>
                  <a:pt x="14" y="156"/>
                </a:lnTo>
                <a:lnTo>
                  <a:pt x="14" y="157"/>
                </a:lnTo>
                <a:lnTo>
                  <a:pt x="14" y="157"/>
                </a:lnTo>
                <a:lnTo>
                  <a:pt x="14" y="157"/>
                </a:lnTo>
                <a:lnTo>
                  <a:pt x="14" y="157"/>
                </a:lnTo>
                <a:lnTo>
                  <a:pt x="14" y="157"/>
                </a:lnTo>
                <a:lnTo>
                  <a:pt x="14" y="157"/>
                </a:lnTo>
                <a:lnTo>
                  <a:pt x="14" y="157"/>
                </a:lnTo>
                <a:lnTo>
                  <a:pt x="14" y="157"/>
                </a:lnTo>
                <a:lnTo>
                  <a:pt x="13" y="158"/>
                </a:lnTo>
                <a:lnTo>
                  <a:pt x="13" y="158"/>
                </a:lnTo>
                <a:lnTo>
                  <a:pt x="13" y="158"/>
                </a:lnTo>
                <a:lnTo>
                  <a:pt x="13" y="158"/>
                </a:lnTo>
                <a:lnTo>
                  <a:pt x="13" y="158"/>
                </a:lnTo>
                <a:lnTo>
                  <a:pt x="13" y="158"/>
                </a:lnTo>
                <a:lnTo>
                  <a:pt x="13" y="158"/>
                </a:lnTo>
                <a:lnTo>
                  <a:pt x="13" y="159"/>
                </a:lnTo>
                <a:lnTo>
                  <a:pt x="13" y="159"/>
                </a:lnTo>
                <a:lnTo>
                  <a:pt x="13" y="159"/>
                </a:lnTo>
                <a:lnTo>
                  <a:pt x="13" y="159"/>
                </a:lnTo>
                <a:lnTo>
                  <a:pt x="13" y="159"/>
                </a:lnTo>
                <a:lnTo>
                  <a:pt x="13" y="159"/>
                </a:lnTo>
                <a:lnTo>
                  <a:pt x="12" y="159"/>
                </a:lnTo>
                <a:lnTo>
                  <a:pt x="12" y="160"/>
                </a:lnTo>
                <a:lnTo>
                  <a:pt x="12" y="160"/>
                </a:lnTo>
                <a:lnTo>
                  <a:pt x="12" y="160"/>
                </a:lnTo>
                <a:lnTo>
                  <a:pt x="12" y="160"/>
                </a:lnTo>
                <a:lnTo>
                  <a:pt x="12" y="160"/>
                </a:lnTo>
                <a:lnTo>
                  <a:pt x="12" y="160"/>
                </a:lnTo>
                <a:lnTo>
                  <a:pt x="12" y="160"/>
                </a:lnTo>
                <a:lnTo>
                  <a:pt x="12" y="161"/>
                </a:lnTo>
                <a:lnTo>
                  <a:pt x="12" y="161"/>
                </a:lnTo>
                <a:lnTo>
                  <a:pt x="12" y="161"/>
                </a:lnTo>
                <a:lnTo>
                  <a:pt x="12" y="161"/>
                </a:lnTo>
                <a:lnTo>
                  <a:pt x="12" y="161"/>
                </a:lnTo>
                <a:lnTo>
                  <a:pt x="12" y="161"/>
                </a:lnTo>
                <a:lnTo>
                  <a:pt x="12" y="161"/>
                </a:lnTo>
                <a:lnTo>
                  <a:pt x="10" y="162"/>
                </a:lnTo>
                <a:lnTo>
                  <a:pt x="10" y="162"/>
                </a:lnTo>
                <a:lnTo>
                  <a:pt x="10" y="162"/>
                </a:lnTo>
                <a:lnTo>
                  <a:pt x="10" y="162"/>
                </a:lnTo>
                <a:lnTo>
                  <a:pt x="10" y="162"/>
                </a:lnTo>
                <a:lnTo>
                  <a:pt x="10" y="162"/>
                </a:lnTo>
                <a:lnTo>
                  <a:pt x="10" y="162"/>
                </a:lnTo>
                <a:lnTo>
                  <a:pt x="10" y="164"/>
                </a:lnTo>
                <a:lnTo>
                  <a:pt x="10" y="164"/>
                </a:lnTo>
                <a:lnTo>
                  <a:pt x="10" y="164"/>
                </a:lnTo>
                <a:lnTo>
                  <a:pt x="10" y="164"/>
                </a:lnTo>
                <a:lnTo>
                  <a:pt x="10" y="164"/>
                </a:lnTo>
                <a:lnTo>
                  <a:pt x="10" y="164"/>
                </a:lnTo>
                <a:lnTo>
                  <a:pt x="10" y="165"/>
                </a:lnTo>
                <a:lnTo>
                  <a:pt x="10" y="165"/>
                </a:lnTo>
                <a:lnTo>
                  <a:pt x="10" y="165"/>
                </a:lnTo>
                <a:lnTo>
                  <a:pt x="10" y="165"/>
                </a:lnTo>
                <a:lnTo>
                  <a:pt x="10" y="165"/>
                </a:lnTo>
                <a:lnTo>
                  <a:pt x="10" y="165"/>
                </a:lnTo>
                <a:lnTo>
                  <a:pt x="9" y="165"/>
                </a:lnTo>
                <a:lnTo>
                  <a:pt x="9" y="166"/>
                </a:lnTo>
                <a:lnTo>
                  <a:pt x="9" y="166"/>
                </a:lnTo>
                <a:lnTo>
                  <a:pt x="9" y="166"/>
                </a:lnTo>
                <a:lnTo>
                  <a:pt x="9" y="166"/>
                </a:lnTo>
                <a:lnTo>
                  <a:pt x="9" y="166"/>
                </a:lnTo>
                <a:lnTo>
                  <a:pt x="9" y="166"/>
                </a:lnTo>
                <a:lnTo>
                  <a:pt x="9" y="167"/>
                </a:lnTo>
                <a:lnTo>
                  <a:pt x="9" y="167"/>
                </a:lnTo>
                <a:lnTo>
                  <a:pt x="9" y="167"/>
                </a:lnTo>
                <a:lnTo>
                  <a:pt x="9" y="167"/>
                </a:lnTo>
                <a:lnTo>
                  <a:pt x="9" y="167"/>
                </a:lnTo>
                <a:lnTo>
                  <a:pt x="9" y="167"/>
                </a:lnTo>
                <a:lnTo>
                  <a:pt x="9" y="168"/>
                </a:lnTo>
                <a:lnTo>
                  <a:pt x="9" y="168"/>
                </a:lnTo>
                <a:lnTo>
                  <a:pt x="9" y="168"/>
                </a:lnTo>
                <a:lnTo>
                  <a:pt x="9" y="168"/>
                </a:lnTo>
                <a:lnTo>
                  <a:pt x="9" y="168"/>
                </a:lnTo>
                <a:lnTo>
                  <a:pt x="9" y="168"/>
                </a:lnTo>
                <a:lnTo>
                  <a:pt x="9" y="169"/>
                </a:lnTo>
                <a:lnTo>
                  <a:pt x="9" y="169"/>
                </a:lnTo>
                <a:lnTo>
                  <a:pt x="9" y="169"/>
                </a:lnTo>
                <a:lnTo>
                  <a:pt x="9" y="169"/>
                </a:lnTo>
                <a:lnTo>
                  <a:pt x="9" y="169"/>
                </a:lnTo>
                <a:lnTo>
                  <a:pt x="9" y="169"/>
                </a:lnTo>
                <a:lnTo>
                  <a:pt x="9" y="170"/>
                </a:lnTo>
                <a:lnTo>
                  <a:pt x="9" y="170"/>
                </a:lnTo>
                <a:lnTo>
                  <a:pt x="9" y="170"/>
                </a:lnTo>
                <a:lnTo>
                  <a:pt x="9" y="170"/>
                </a:lnTo>
                <a:lnTo>
                  <a:pt x="9" y="170"/>
                </a:lnTo>
                <a:lnTo>
                  <a:pt x="9" y="170"/>
                </a:lnTo>
                <a:lnTo>
                  <a:pt x="9" y="171"/>
                </a:lnTo>
                <a:lnTo>
                  <a:pt x="9" y="171"/>
                </a:lnTo>
                <a:lnTo>
                  <a:pt x="9" y="171"/>
                </a:lnTo>
                <a:lnTo>
                  <a:pt x="9" y="171"/>
                </a:lnTo>
                <a:lnTo>
                  <a:pt x="9" y="171"/>
                </a:lnTo>
                <a:lnTo>
                  <a:pt x="9" y="171"/>
                </a:lnTo>
                <a:lnTo>
                  <a:pt x="9" y="173"/>
                </a:lnTo>
                <a:lnTo>
                  <a:pt x="9" y="173"/>
                </a:lnTo>
                <a:lnTo>
                  <a:pt x="9" y="173"/>
                </a:lnTo>
                <a:lnTo>
                  <a:pt x="9" y="173"/>
                </a:lnTo>
                <a:lnTo>
                  <a:pt x="9" y="173"/>
                </a:lnTo>
                <a:lnTo>
                  <a:pt x="9" y="173"/>
                </a:lnTo>
                <a:lnTo>
                  <a:pt x="9" y="174"/>
                </a:lnTo>
                <a:lnTo>
                  <a:pt x="9" y="174"/>
                </a:lnTo>
                <a:lnTo>
                  <a:pt x="9" y="174"/>
                </a:lnTo>
                <a:lnTo>
                  <a:pt x="9" y="174"/>
                </a:lnTo>
                <a:lnTo>
                  <a:pt x="9" y="174"/>
                </a:lnTo>
                <a:lnTo>
                  <a:pt x="9" y="174"/>
                </a:lnTo>
                <a:lnTo>
                  <a:pt x="9" y="175"/>
                </a:lnTo>
                <a:lnTo>
                  <a:pt x="9" y="175"/>
                </a:lnTo>
                <a:lnTo>
                  <a:pt x="9" y="175"/>
                </a:lnTo>
                <a:lnTo>
                  <a:pt x="9" y="175"/>
                </a:lnTo>
                <a:lnTo>
                  <a:pt x="9" y="175"/>
                </a:lnTo>
                <a:lnTo>
                  <a:pt x="9" y="175"/>
                </a:lnTo>
                <a:lnTo>
                  <a:pt x="9" y="176"/>
                </a:lnTo>
                <a:lnTo>
                  <a:pt x="9" y="176"/>
                </a:lnTo>
                <a:lnTo>
                  <a:pt x="9" y="176"/>
                </a:lnTo>
                <a:lnTo>
                  <a:pt x="9" y="176"/>
                </a:lnTo>
                <a:lnTo>
                  <a:pt x="9" y="176"/>
                </a:lnTo>
                <a:lnTo>
                  <a:pt x="9" y="176"/>
                </a:lnTo>
                <a:lnTo>
                  <a:pt x="9" y="177"/>
                </a:lnTo>
                <a:lnTo>
                  <a:pt x="9" y="177"/>
                </a:lnTo>
                <a:lnTo>
                  <a:pt x="9" y="177"/>
                </a:lnTo>
                <a:lnTo>
                  <a:pt x="9" y="177"/>
                </a:lnTo>
                <a:lnTo>
                  <a:pt x="9" y="177"/>
                </a:lnTo>
                <a:lnTo>
                  <a:pt x="9" y="177"/>
                </a:lnTo>
                <a:lnTo>
                  <a:pt x="9" y="178"/>
                </a:lnTo>
                <a:lnTo>
                  <a:pt x="9" y="178"/>
                </a:lnTo>
                <a:lnTo>
                  <a:pt x="9" y="178"/>
                </a:lnTo>
                <a:lnTo>
                  <a:pt x="9" y="178"/>
                </a:lnTo>
                <a:lnTo>
                  <a:pt x="9" y="178"/>
                </a:lnTo>
                <a:lnTo>
                  <a:pt x="9" y="178"/>
                </a:lnTo>
                <a:lnTo>
                  <a:pt x="9" y="179"/>
                </a:lnTo>
                <a:lnTo>
                  <a:pt x="9" y="179"/>
                </a:lnTo>
                <a:lnTo>
                  <a:pt x="9" y="179"/>
                </a:lnTo>
                <a:lnTo>
                  <a:pt x="9" y="179"/>
                </a:lnTo>
                <a:lnTo>
                  <a:pt x="9" y="179"/>
                </a:lnTo>
                <a:lnTo>
                  <a:pt x="9" y="179"/>
                </a:lnTo>
                <a:lnTo>
                  <a:pt x="9" y="179"/>
                </a:lnTo>
                <a:lnTo>
                  <a:pt x="9" y="181"/>
                </a:lnTo>
                <a:lnTo>
                  <a:pt x="9" y="181"/>
                </a:lnTo>
                <a:lnTo>
                  <a:pt x="9" y="181"/>
                </a:lnTo>
                <a:lnTo>
                  <a:pt x="9" y="181"/>
                </a:lnTo>
                <a:lnTo>
                  <a:pt x="9" y="181"/>
                </a:lnTo>
                <a:lnTo>
                  <a:pt x="9" y="181"/>
                </a:lnTo>
                <a:lnTo>
                  <a:pt x="9" y="182"/>
                </a:lnTo>
                <a:lnTo>
                  <a:pt x="10" y="182"/>
                </a:lnTo>
                <a:lnTo>
                  <a:pt x="10" y="182"/>
                </a:lnTo>
                <a:lnTo>
                  <a:pt x="10" y="182"/>
                </a:lnTo>
                <a:lnTo>
                  <a:pt x="10" y="182"/>
                </a:lnTo>
                <a:lnTo>
                  <a:pt x="10" y="182"/>
                </a:lnTo>
                <a:lnTo>
                  <a:pt x="10" y="183"/>
                </a:lnTo>
                <a:lnTo>
                  <a:pt x="10" y="183"/>
                </a:lnTo>
                <a:lnTo>
                  <a:pt x="10" y="183"/>
                </a:lnTo>
                <a:lnTo>
                  <a:pt x="10" y="183"/>
                </a:lnTo>
                <a:lnTo>
                  <a:pt x="10" y="183"/>
                </a:lnTo>
                <a:lnTo>
                  <a:pt x="10" y="183"/>
                </a:lnTo>
                <a:lnTo>
                  <a:pt x="10" y="183"/>
                </a:lnTo>
                <a:lnTo>
                  <a:pt x="10" y="184"/>
                </a:lnTo>
                <a:lnTo>
                  <a:pt x="10" y="184"/>
                </a:lnTo>
                <a:lnTo>
                  <a:pt x="10" y="184"/>
                </a:lnTo>
                <a:lnTo>
                  <a:pt x="10" y="184"/>
                </a:lnTo>
                <a:lnTo>
                  <a:pt x="10" y="184"/>
                </a:lnTo>
                <a:lnTo>
                  <a:pt x="10" y="184"/>
                </a:lnTo>
                <a:lnTo>
                  <a:pt x="10" y="184"/>
                </a:lnTo>
                <a:lnTo>
                  <a:pt x="12" y="185"/>
                </a:lnTo>
                <a:lnTo>
                  <a:pt x="12" y="185"/>
                </a:lnTo>
                <a:lnTo>
                  <a:pt x="12" y="185"/>
                </a:lnTo>
                <a:lnTo>
                  <a:pt x="12" y="185"/>
                </a:lnTo>
                <a:lnTo>
                  <a:pt x="12" y="185"/>
                </a:lnTo>
                <a:lnTo>
                  <a:pt x="12" y="185"/>
                </a:lnTo>
                <a:lnTo>
                  <a:pt x="12" y="186"/>
                </a:lnTo>
                <a:lnTo>
                  <a:pt x="12" y="186"/>
                </a:lnTo>
                <a:lnTo>
                  <a:pt x="12" y="186"/>
                </a:lnTo>
                <a:lnTo>
                  <a:pt x="12" y="186"/>
                </a:lnTo>
                <a:lnTo>
                  <a:pt x="12" y="186"/>
                </a:lnTo>
                <a:lnTo>
                  <a:pt x="12" y="186"/>
                </a:lnTo>
                <a:lnTo>
                  <a:pt x="12" y="186"/>
                </a:lnTo>
                <a:lnTo>
                  <a:pt x="12" y="187"/>
                </a:lnTo>
                <a:lnTo>
                  <a:pt x="12" y="187"/>
                </a:lnTo>
                <a:lnTo>
                  <a:pt x="13" y="187"/>
                </a:lnTo>
                <a:lnTo>
                  <a:pt x="13" y="187"/>
                </a:lnTo>
                <a:lnTo>
                  <a:pt x="13" y="187"/>
                </a:lnTo>
                <a:lnTo>
                  <a:pt x="13" y="187"/>
                </a:lnTo>
                <a:lnTo>
                  <a:pt x="13" y="187"/>
                </a:lnTo>
                <a:lnTo>
                  <a:pt x="13" y="188"/>
                </a:lnTo>
                <a:lnTo>
                  <a:pt x="13" y="188"/>
                </a:lnTo>
                <a:lnTo>
                  <a:pt x="13" y="188"/>
                </a:lnTo>
                <a:lnTo>
                  <a:pt x="13" y="188"/>
                </a:lnTo>
                <a:lnTo>
                  <a:pt x="13" y="188"/>
                </a:lnTo>
                <a:lnTo>
                  <a:pt x="13" y="188"/>
                </a:lnTo>
                <a:lnTo>
                  <a:pt x="13" y="188"/>
                </a:lnTo>
                <a:lnTo>
                  <a:pt x="13" y="188"/>
                </a:lnTo>
                <a:lnTo>
                  <a:pt x="14" y="190"/>
                </a:lnTo>
                <a:lnTo>
                  <a:pt x="14" y="190"/>
                </a:lnTo>
                <a:lnTo>
                  <a:pt x="14" y="190"/>
                </a:lnTo>
                <a:lnTo>
                  <a:pt x="14" y="190"/>
                </a:lnTo>
                <a:lnTo>
                  <a:pt x="14" y="190"/>
                </a:lnTo>
                <a:lnTo>
                  <a:pt x="14" y="190"/>
                </a:lnTo>
                <a:lnTo>
                  <a:pt x="14" y="190"/>
                </a:lnTo>
                <a:lnTo>
                  <a:pt x="14" y="191"/>
                </a:lnTo>
                <a:lnTo>
                  <a:pt x="14" y="191"/>
                </a:lnTo>
                <a:lnTo>
                  <a:pt x="14" y="191"/>
                </a:lnTo>
                <a:lnTo>
                  <a:pt x="14" y="191"/>
                </a:lnTo>
                <a:lnTo>
                  <a:pt x="15" y="191"/>
                </a:lnTo>
                <a:lnTo>
                  <a:pt x="15" y="191"/>
                </a:lnTo>
                <a:lnTo>
                  <a:pt x="15" y="191"/>
                </a:lnTo>
                <a:lnTo>
                  <a:pt x="15" y="191"/>
                </a:lnTo>
                <a:lnTo>
                  <a:pt x="15" y="192"/>
                </a:lnTo>
                <a:lnTo>
                  <a:pt x="15" y="192"/>
                </a:lnTo>
                <a:lnTo>
                  <a:pt x="15" y="192"/>
                </a:lnTo>
                <a:lnTo>
                  <a:pt x="15" y="192"/>
                </a:lnTo>
                <a:lnTo>
                  <a:pt x="15" y="192"/>
                </a:lnTo>
                <a:lnTo>
                  <a:pt x="15" y="192"/>
                </a:lnTo>
                <a:lnTo>
                  <a:pt x="16" y="192"/>
                </a:lnTo>
                <a:lnTo>
                  <a:pt x="16" y="192"/>
                </a:lnTo>
                <a:lnTo>
                  <a:pt x="16" y="193"/>
                </a:lnTo>
                <a:lnTo>
                  <a:pt x="16" y="193"/>
                </a:lnTo>
                <a:lnTo>
                  <a:pt x="16" y="193"/>
                </a:lnTo>
                <a:lnTo>
                  <a:pt x="16" y="193"/>
                </a:lnTo>
                <a:lnTo>
                  <a:pt x="16" y="193"/>
                </a:lnTo>
                <a:lnTo>
                  <a:pt x="16" y="193"/>
                </a:lnTo>
                <a:lnTo>
                  <a:pt x="16" y="193"/>
                </a:lnTo>
                <a:lnTo>
                  <a:pt x="16" y="193"/>
                </a:lnTo>
                <a:lnTo>
                  <a:pt x="17" y="193"/>
                </a:lnTo>
                <a:lnTo>
                  <a:pt x="17" y="194"/>
                </a:lnTo>
                <a:lnTo>
                  <a:pt x="17" y="194"/>
                </a:lnTo>
                <a:lnTo>
                  <a:pt x="17" y="194"/>
                </a:lnTo>
                <a:lnTo>
                  <a:pt x="17" y="194"/>
                </a:lnTo>
                <a:lnTo>
                  <a:pt x="17" y="194"/>
                </a:lnTo>
                <a:lnTo>
                  <a:pt x="17" y="194"/>
                </a:lnTo>
                <a:lnTo>
                  <a:pt x="17" y="194"/>
                </a:lnTo>
                <a:lnTo>
                  <a:pt x="17" y="194"/>
                </a:lnTo>
                <a:lnTo>
                  <a:pt x="18" y="195"/>
                </a:lnTo>
                <a:lnTo>
                  <a:pt x="18" y="195"/>
                </a:lnTo>
                <a:lnTo>
                  <a:pt x="18" y="195"/>
                </a:lnTo>
                <a:lnTo>
                  <a:pt x="18" y="195"/>
                </a:lnTo>
                <a:lnTo>
                  <a:pt x="18" y="195"/>
                </a:lnTo>
                <a:lnTo>
                  <a:pt x="18" y="195"/>
                </a:lnTo>
                <a:lnTo>
                  <a:pt x="18" y="195"/>
                </a:lnTo>
                <a:lnTo>
                  <a:pt x="18" y="195"/>
                </a:lnTo>
                <a:lnTo>
                  <a:pt x="19" y="195"/>
                </a:lnTo>
                <a:lnTo>
                  <a:pt x="19" y="195"/>
                </a:lnTo>
                <a:lnTo>
                  <a:pt x="19" y="196"/>
                </a:lnTo>
                <a:lnTo>
                  <a:pt x="19" y="196"/>
                </a:lnTo>
                <a:lnTo>
                  <a:pt x="19" y="196"/>
                </a:lnTo>
                <a:lnTo>
                  <a:pt x="19" y="196"/>
                </a:lnTo>
                <a:lnTo>
                  <a:pt x="19" y="196"/>
                </a:lnTo>
                <a:lnTo>
                  <a:pt x="19" y="196"/>
                </a:lnTo>
                <a:lnTo>
                  <a:pt x="19" y="196"/>
                </a:lnTo>
                <a:lnTo>
                  <a:pt x="21" y="196"/>
                </a:lnTo>
                <a:lnTo>
                  <a:pt x="21" y="196"/>
                </a:lnTo>
                <a:lnTo>
                  <a:pt x="21" y="196"/>
                </a:lnTo>
                <a:lnTo>
                  <a:pt x="21" y="197"/>
                </a:lnTo>
                <a:lnTo>
                  <a:pt x="21" y="197"/>
                </a:lnTo>
                <a:lnTo>
                  <a:pt x="21" y="197"/>
                </a:lnTo>
                <a:lnTo>
                  <a:pt x="21" y="197"/>
                </a:lnTo>
                <a:lnTo>
                  <a:pt x="22" y="197"/>
                </a:lnTo>
                <a:lnTo>
                  <a:pt x="22" y="197"/>
                </a:lnTo>
                <a:lnTo>
                  <a:pt x="22" y="197"/>
                </a:lnTo>
                <a:lnTo>
                  <a:pt x="22" y="197"/>
                </a:lnTo>
                <a:lnTo>
                  <a:pt x="22" y="197"/>
                </a:lnTo>
                <a:lnTo>
                  <a:pt x="22" y="197"/>
                </a:lnTo>
                <a:lnTo>
                  <a:pt x="22" y="197"/>
                </a:lnTo>
                <a:lnTo>
                  <a:pt x="22" y="199"/>
                </a:lnTo>
                <a:lnTo>
                  <a:pt x="23" y="199"/>
                </a:lnTo>
                <a:lnTo>
                  <a:pt x="23" y="199"/>
                </a:lnTo>
                <a:lnTo>
                  <a:pt x="23" y="199"/>
                </a:lnTo>
                <a:lnTo>
                  <a:pt x="23" y="199"/>
                </a:lnTo>
                <a:lnTo>
                  <a:pt x="23" y="199"/>
                </a:lnTo>
                <a:lnTo>
                  <a:pt x="23" y="199"/>
                </a:lnTo>
                <a:lnTo>
                  <a:pt x="23" y="199"/>
                </a:lnTo>
                <a:lnTo>
                  <a:pt x="24" y="199"/>
                </a:lnTo>
                <a:lnTo>
                  <a:pt x="24" y="199"/>
                </a:lnTo>
                <a:lnTo>
                  <a:pt x="24" y="199"/>
                </a:lnTo>
                <a:lnTo>
                  <a:pt x="24" y="199"/>
                </a:lnTo>
                <a:lnTo>
                  <a:pt x="24" y="200"/>
                </a:lnTo>
                <a:lnTo>
                  <a:pt x="24" y="200"/>
                </a:lnTo>
                <a:lnTo>
                  <a:pt x="24" y="200"/>
                </a:lnTo>
                <a:lnTo>
                  <a:pt x="24" y="200"/>
                </a:lnTo>
                <a:lnTo>
                  <a:pt x="25" y="200"/>
                </a:lnTo>
                <a:lnTo>
                  <a:pt x="25" y="200"/>
                </a:lnTo>
                <a:lnTo>
                  <a:pt x="25" y="200"/>
                </a:lnTo>
                <a:lnTo>
                  <a:pt x="25" y="200"/>
                </a:lnTo>
                <a:lnTo>
                  <a:pt x="25" y="200"/>
                </a:lnTo>
                <a:lnTo>
                  <a:pt x="25" y="200"/>
                </a:lnTo>
                <a:lnTo>
                  <a:pt x="25" y="200"/>
                </a:lnTo>
                <a:lnTo>
                  <a:pt x="26" y="200"/>
                </a:lnTo>
                <a:lnTo>
                  <a:pt x="26" y="200"/>
                </a:lnTo>
                <a:lnTo>
                  <a:pt x="26" y="201"/>
                </a:lnTo>
                <a:lnTo>
                  <a:pt x="26" y="201"/>
                </a:lnTo>
                <a:lnTo>
                  <a:pt x="26" y="201"/>
                </a:lnTo>
                <a:lnTo>
                  <a:pt x="26" y="201"/>
                </a:lnTo>
                <a:lnTo>
                  <a:pt x="26" y="201"/>
                </a:lnTo>
                <a:lnTo>
                  <a:pt x="27" y="201"/>
                </a:lnTo>
                <a:lnTo>
                  <a:pt x="27" y="201"/>
                </a:lnTo>
                <a:lnTo>
                  <a:pt x="27" y="201"/>
                </a:lnTo>
                <a:lnTo>
                  <a:pt x="27" y="201"/>
                </a:lnTo>
                <a:lnTo>
                  <a:pt x="27" y="201"/>
                </a:lnTo>
                <a:lnTo>
                  <a:pt x="27" y="201"/>
                </a:lnTo>
                <a:lnTo>
                  <a:pt x="28" y="201"/>
                </a:lnTo>
                <a:lnTo>
                  <a:pt x="28" y="201"/>
                </a:lnTo>
                <a:lnTo>
                  <a:pt x="28" y="201"/>
                </a:lnTo>
                <a:lnTo>
                  <a:pt x="28" y="201"/>
                </a:lnTo>
                <a:lnTo>
                  <a:pt x="28" y="201"/>
                </a:lnTo>
                <a:lnTo>
                  <a:pt x="28" y="201"/>
                </a:lnTo>
                <a:lnTo>
                  <a:pt x="28" y="202"/>
                </a:lnTo>
                <a:lnTo>
                  <a:pt x="30" y="202"/>
                </a:lnTo>
                <a:lnTo>
                  <a:pt x="30" y="202"/>
                </a:lnTo>
                <a:lnTo>
                  <a:pt x="30" y="202"/>
                </a:lnTo>
                <a:lnTo>
                  <a:pt x="30" y="202"/>
                </a:lnTo>
                <a:lnTo>
                  <a:pt x="30" y="202"/>
                </a:lnTo>
                <a:lnTo>
                  <a:pt x="30" y="202"/>
                </a:lnTo>
                <a:lnTo>
                  <a:pt x="31" y="202"/>
                </a:lnTo>
                <a:lnTo>
                  <a:pt x="31" y="202"/>
                </a:lnTo>
                <a:lnTo>
                  <a:pt x="31" y="202"/>
                </a:lnTo>
                <a:lnTo>
                  <a:pt x="31" y="202"/>
                </a:lnTo>
                <a:lnTo>
                  <a:pt x="31" y="202"/>
                </a:lnTo>
                <a:lnTo>
                  <a:pt x="31" y="202"/>
                </a:lnTo>
                <a:lnTo>
                  <a:pt x="31" y="202"/>
                </a:lnTo>
                <a:lnTo>
                  <a:pt x="32" y="202"/>
                </a:lnTo>
                <a:lnTo>
                  <a:pt x="32" y="202"/>
                </a:lnTo>
                <a:lnTo>
                  <a:pt x="32" y="202"/>
                </a:lnTo>
                <a:lnTo>
                  <a:pt x="32" y="202"/>
                </a:lnTo>
                <a:lnTo>
                  <a:pt x="32" y="202"/>
                </a:lnTo>
                <a:lnTo>
                  <a:pt x="32" y="202"/>
                </a:lnTo>
                <a:lnTo>
                  <a:pt x="33" y="202"/>
                </a:lnTo>
                <a:lnTo>
                  <a:pt x="33" y="202"/>
                </a:lnTo>
                <a:lnTo>
                  <a:pt x="33" y="202"/>
                </a:lnTo>
                <a:lnTo>
                  <a:pt x="33" y="202"/>
                </a:lnTo>
                <a:lnTo>
                  <a:pt x="33" y="202"/>
                </a:lnTo>
                <a:lnTo>
                  <a:pt x="33" y="203"/>
                </a:lnTo>
                <a:lnTo>
                  <a:pt x="34" y="203"/>
                </a:lnTo>
                <a:lnTo>
                  <a:pt x="34" y="203"/>
                </a:lnTo>
                <a:lnTo>
                  <a:pt x="34" y="203"/>
                </a:lnTo>
                <a:lnTo>
                  <a:pt x="34" y="203"/>
                </a:lnTo>
                <a:lnTo>
                  <a:pt x="34" y="203"/>
                </a:lnTo>
                <a:lnTo>
                  <a:pt x="34" y="203"/>
                </a:lnTo>
                <a:lnTo>
                  <a:pt x="35" y="203"/>
                </a:lnTo>
                <a:lnTo>
                  <a:pt x="35" y="203"/>
                </a:lnTo>
                <a:lnTo>
                  <a:pt x="35" y="203"/>
                </a:lnTo>
                <a:lnTo>
                  <a:pt x="35" y="203"/>
                </a:lnTo>
                <a:lnTo>
                  <a:pt x="35" y="203"/>
                </a:lnTo>
                <a:lnTo>
                  <a:pt x="35" y="203"/>
                </a:lnTo>
                <a:lnTo>
                  <a:pt x="36" y="203"/>
                </a:lnTo>
                <a:lnTo>
                  <a:pt x="36" y="203"/>
                </a:lnTo>
                <a:lnTo>
                  <a:pt x="36" y="203"/>
                </a:lnTo>
                <a:lnTo>
                  <a:pt x="36" y="203"/>
                </a:lnTo>
                <a:lnTo>
                  <a:pt x="36" y="203"/>
                </a:lnTo>
                <a:lnTo>
                  <a:pt x="36" y="203"/>
                </a:lnTo>
                <a:lnTo>
                  <a:pt x="37" y="203"/>
                </a:lnTo>
                <a:lnTo>
                  <a:pt x="37" y="203"/>
                </a:lnTo>
                <a:lnTo>
                  <a:pt x="37" y="203"/>
                </a:lnTo>
                <a:lnTo>
                  <a:pt x="37" y="203"/>
                </a:lnTo>
                <a:lnTo>
                  <a:pt x="37" y="203"/>
                </a:lnTo>
                <a:lnTo>
                  <a:pt x="37" y="203"/>
                </a:lnTo>
                <a:lnTo>
                  <a:pt x="39" y="203"/>
                </a:lnTo>
                <a:lnTo>
                  <a:pt x="39" y="203"/>
                </a:lnTo>
                <a:lnTo>
                  <a:pt x="39" y="203"/>
                </a:lnTo>
                <a:lnTo>
                  <a:pt x="39" y="203"/>
                </a:lnTo>
                <a:close/>
                <a:moveTo>
                  <a:pt x="76" y="174"/>
                </a:moveTo>
                <a:lnTo>
                  <a:pt x="76" y="174"/>
                </a:lnTo>
                <a:lnTo>
                  <a:pt x="76" y="174"/>
                </a:lnTo>
                <a:lnTo>
                  <a:pt x="76" y="174"/>
                </a:lnTo>
                <a:lnTo>
                  <a:pt x="76" y="174"/>
                </a:lnTo>
                <a:lnTo>
                  <a:pt x="76" y="175"/>
                </a:lnTo>
                <a:lnTo>
                  <a:pt x="76" y="175"/>
                </a:lnTo>
                <a:lnTo>
                  <a:pt x="76" y="175"/>
                </a:lnTo>
                <a:lnTo>
                  <a:pt x="76" y="175"/>
                </a:lnTo>
                <a:lnTo>
                  <a:pt x="76" y="175"/>
                </a:lnTo>
                <a:lnTo>
                  <a:pt x="76" y="176"/>
                </a:lnTo>
                <a:lnTo>
                  <a:pt x="76" y="176"/>
                </a:lnTo>
                <a:lnTo>
                  <a:pt x="76" y="176"/>
                </a:lnTo>
                <a:lnTo>
                  <a:pt x="76" y="176"/>
                </a:lnTo>
                <a:lnTo>
                  <a:pt x="76" y="177"/>
                </a:lnTo>
                <a:lnTo>
                  <a:pt x="76" y="177"/>
                </a:lnTo>
                <a:lnTo>
                  <a:pt x="76" y="177"/>
                </a:lnTo>
                <a:lnTo>
                  <a:pt x="76" y="177"/>
                </a:lnTo>
                <a:lnTo>
                  <a:pt x="76" y="177"/>
                </a:lnTo>
                <a:lnTo>
                  <a:pt x="76" y="178"/>
                </a:lnTo>
                <a:lnTo>
                  <a:pt x="76" y="178"/>
                </a:lnTo>
                <a:lnTo>
                  <a:pt x="76" y="178"/>
                </a:lnTo>
                <a:lnTo>
                  <a:pt x="76" y="178"/>
                </a:lnTo>
                <a:lnTo>
                  <a:pt x="76" y="178"/>
                </a:lnTo>
                <a:lnTo>
                  <a:pt x="76" y="179"/>
                </a:lnTo>
                <a:lnTo>
                  <a:pt x="76" y="179"/>
                </a:lnTo>
                <a:lnTo>
                  <a:pt x="76" y="179"/>
                </a:lnTo>
                <a:lnTo>
                  <a:pt x="76" y="179"/>
                </a:lnTo>
                <a:lnTo>
                  <a:pt x="76" y="179"/>
                </a:lnTo>
                <a:lnTo>
                  <a:pt x="76" y="181"/>
                </a:lnTo>
                <a:lnTo>
                  <a:pt x="76" y="181"/>
                </a:lnTo>
                <a:lnTo>
                  <a:pt x="76" y="181"/>
                </a:lnTo>
                <a:lnTo>
                  <a:pt x="76" y="181"/>
                </a:lnTo>
                <a:lnTo>
                  <a:pt x="76" y="181"/>
                </a:lnTo>
                <a:lnTo>
                  <a:pt x="75" y="182"/>
                </a:lnTo>
                <a:lnTo>
                  <a:pt x="75" y="182"/>
                </a:lnTo>
                <a:lnTo>
                  <a:pt x="75" y="182"/>
                </a:lnTo>
                <a:lnTo>
                  <a:pt x="75" y="182"/>
                </a:lnTo>
                <a:lnTo>
                  <a:pt x="75" y="182"/>
                </a:lnTo>
                <a:lnTo>
                  <a:pt x="75" y="183"/>
                </a:lnTo>
                <a:lnTo>
                  <a:pt x="75" y="183"/>
                </a:lnTo>
                <a:lnTo>
                  <a:pt x="75" y="183"/>
                </a:lnTo>
                <a:lnTo>
                  <a:pt x="75" y="183"/>
                </a:lnTo>
                <a:lnTo>
                  <a:pt x="75" y="183"/>
                </a:lnTo>
                <a:lnTo>
                  <a:pt x="75" y="184"/>
                </a:lnTo>
                <a:lnTo>
                  <a:pt x="75" y="184"/>
                </a:lnTo>
                <a:lnTo>
                  <a:pt x="75" y="184"/>
                </a:lnTo>
                <a:lnTo>
                  <a:pt x="75" y="184"/>
                </a:lnTo>
                <a:lnTo>
                  <a:pt x="75" y="184"/>
                </a:lnTo>
                <a:lnTo>
                  <a:pt x="75" y="185"/>
                </a:lnTo>
                <a:lnTo>
                  <a:pt x="75" y="185"/>
                </a:lnTo>
                <a:lnTo>
                  <a:pt x="75" y="185"/>
                </a:lnTo>
                <a:lnTo>
                  <a:pt x="75" y="185"/>
                </a:lnTo>
                <a:lnTo>
                  <a:pt x="73" y="185"/>
                </a:lnTo>
                <a:lnTo>
                  <a:pt x="73" y="186"/>
                </a:lnTo>
                <a:lnTo>
                  <a:pt x="73" y="186"/>
                </a:lnTo>
                <a:lnTo>
                  <a:pt x="73" y="186"/>
                </a:lnTo>
                <a:lnTo>
                  <a:pt x="73" y="186"/>
                </a:lnTo>
                <a:lnTo>
                  <a:pt x="73" y="186"/>
                </a:lnTo>
                <a:lnTo>
                  <a:pt x="73" y="187"/>
                </a:lnTo>
                <a:lnTo>
                  <a:pt x="73" y="187"/>
                </a:lnTo>
                <a:lnTo>
                  <a:pt x="73" y="187"/>
                </a:lnTo>
                <a:lnTo>
                  <a:pt x="73" y="187"/>
                </a:lnTo>
                <a:lnTo>
                  <a:pt x="73" y="187"/>
                </a:lnTo>
                <a:lnTo>
                  <a:pt x="73" y="188"/>
                </a:lnTo>
                <a:lnTo>
                  <a:pt x="73" y="188"/>
                </a:lnTo>
                <a:lnTo>
                  <a:pt x="72" y="188"/>
                </a:lnTo>
                <a:lnTo>
                  <a:pt x="72" y="188"/>
                </a:lnTo>
                <a:lnTo>
                  <a:pt x="72" y="188"/>
                </a:lnTo>
                <a:lnTo>
                  <a:pt x="72" y="188"/>
                </a:lnTo>
                <a:lnTo>
                  <a:pt x="72" y="190"/>
                </a:lnTo>
                <a:lnTo>
                  <a:pt x="72" y="190"/>
                </a:lnTo>
                <a:lnTo>
                  <a:pt x="72" y="190"/>
                </a:lnTo>
                <a:lnTo>
                  <a:pt x="72" y="190"/>
                </a:lnTo>
                <a:lnTo>
                  <a:pt x="72" y="190"/>
                </a:lnTo>
                <a:lnTo>
                  <a:pt x="72" y="191"/>
                </a:lnTo>
                <a:lnTo>
                  <a:pt x="72" y="191"/>
                </a:lnTo>
                <a:lnTo>
                  <a:pt x="72" y="191"/>
                </a:lnTo>
                <a:lnTo>
                  <a:pt x="71" y="191"/>
                </a:lnTo>
                <a:lnTo>
                  <a:pt x="71" y="191"/>
                </a:lnTo>
                <a:lnTo>
                  <a:pt x="71" y="191"/>
                </a:lnTo>
                <a:lnTo>
                  <a:pt x="71" y="192"/>
                </a:lnTo>
                <a:lnTo>
                  <a:pt x="71" y="192"/>
                </a:lnTo>
                <a:lnTo>
                  <a:pt x="71" y="192"/>
                </a:lnTo>
                <a:lnTo>
                  <a:pt x="71" y="192"/>
                </a:lnTo>
                <a:lnTo>
                  <a:pt x="71" y="192"/>
                </a:lnTo>
                <a:lnTo>
                  <a:pt x="71" y="193"/>
                </a:lnTo>
                <a:lnTo>
                  <a:pt x="71" y="193"/>
                </a:lnTo>
                <a:lnTo>
                  <a:pt x="70" y="193"/>
                </a:lnTo>
                <a:lnTo>
                  <a:pt x="70" y="193"/>
                </a:lnTo>
                <a:lnTo>
                  <a:pt x="70" y="193"/>
                </a:lnTo>
                <a:lnTo>
                  <a:pt x="70" y="193"/>
                </a:lnTo>
                <a:lnTo>
                  <a:pt x="70" y="194"/>
                </a:lnTo>
                <a:lnTo>
                  <a:pt x="70" y="194"/>
                </a:lnTo>
                <a:lnTo>
                  <a:pt x="70" y="194"/>
                </a:lnTo>
                <a:lnTo>
                  <a:pt x="70" y="194"/>
                </a:lnTo>
                <a:lnTo>
                  <a:pt x="70" y="194"/>
                </a:lnTo>
                <a:lnTo>
                  <a:pt x="69" y="194"/>
                </a:lnTo>
                <a:lnTo>
                  <a:pt x="69" y="195"/>
                </a:lnTo>
                <a:lnTo>
                  <a:pt x="69" y="195"/>
                </a:lnTo>
                <a:lnTo>
                  <a:pt x="69" y="195"/>
                </a:lnTo>
                <a:lnTo>
                  <a:pt x="69" y="195"/>
                </a:lnTo>
                <a:lnTo>
                  <a:pt x="69" y="195"/>
                </a:lnTo>
                <a:lnTo>
                  <a:pt x="69" y="195"/>
                </a:lnTo>
                <a:lnTo>
                  <a:pt x="69" y="196"/>
                </a:lnTo>
                <a:lnTo>
                  <a:pt x="69" y="196"/>
                </a:lnTo>
                <a:lnTo>
                  <a:pt x="68" y="196"/>
                </a:lnTo>
                <a:lnTo>
                  <a:pt x="68" y="196"/>
                </a:lnTo>
                <a:lnTo>
                  <a:pt x="68" y="196"/>
                </a:lnTo>
                <a:lnTo>
                  <a:pt x="68" y="196"/>
                </a:lnTo>
                <a:lnTo>
                  <a:pt x="68" y="196"/>
                </a:lnTo>
                <a:lnTo>
                  <a:pt x="68" y="197"/>
                </a:lnTo>
                <a:lnTo>
                  <a:pt x="68" y="197"/>
                </a:lnTo>
                <a:lnTo>
                  <a:pt x="67" y="197"/>
                </a:lnTo>
                <a:lnTo>
                  <a:pt x="67" y="197"/>
                </a:lnTo>
                <a:lnTo>
                  <a:pt x="67" y="197"/>
                </a:lnTo>
                <a:lnTo>
                  <a:pt x="67" y="197"/>
                </a:lnTo>
                <a:lnTo>
                  <a:pt x="67" y="199"/>
                </a:lnTo>
                <a:lnTo>
                  <a:pt x="67" y="199"/>
                </a:lnTo>
                <a:lnTo>
                  <a:pt x="67" y="199"/>
                </a:lnTo>
                <a:lnTo>
                  <a:pt x="67" y="199"/>
                </a:lnTo>
                <a:lnTo>
                  <a:pt x="66" y="199"/>
                </a:lnTo>
                <a:lnTo>
                  <a:pt x="66" y="199"/>
                </a:lnTo>
                <a:lnTo>
                  <a:pt x="66" y="199"/>
                </a:lnTo>
                <a:lnTo>
                  <a:pt x="66" y="200"/>
                </a:lnTo>
                <a:lnTo>
                  <a:pt x="66" y="200"/>
                </a:lnTo>
                <a:lnTo>
                  <a:pt x="66" y="200"/>
                </a:lnTo>
                <a:lnTo>
                  <a:pt x="66" y="200"/>
                </a:lnTo>
                <a:lnTo>
                  <a:pt x="64" y="200"/>
                </a:lnTo>
                <a:lnTo>
                  <a:pt x="64" y="200"/>
                </a:lnTo>
                <a:lnTo>
                  <a:pt x="64" y="200"/>
                </a:lnTo>
                <a:lnTo>
                  <a:pt x="64" y="201"/>
                </a:lnTo>
                <a:lnTo>
                  <a:pt x="64" y="201"/>
                </a:lnTo>
                <a:lnTo>
                  <a:pt x="64" y="201"/>
                </a:lnTo>
                <a:lnTo>
                  <a:pt x="64" y="201"/>
                </a:lnTo>
                <a:lnTo>
                  <a:pt x="63" y="201"/>
                </a:lnTo>
                <a:lnTo>
                  <a:pt x="63" y="201"/>
                </a:lnTo>
                <a:lnTo>
                  <a:pt x="63" y="201"/>
                </a:lnTo>
                <a:lnTo>
                  <a:pt x="63" y="202"/>
                </a:lnTo>
                <a:lnTo>
                  <a:pt x="63" y="202"/>
                </a:lnTo>
                <a:lnTo>
                  <a:pt x="63" y="202"/>
                </a:lnTo>
                <a:lnTo>
                  <a:pt x="63" y="202"/>
                </a:lnTo>
                <a:lnTo>
                  <a:pt x="62" y="202"/>
                </a:lnTo>
                <a:lnTo>
                  <a:pt x="62" y="202"/>
                </a:lnTo>
                <a:lnTo>
                  <a:pt x="62" y="202"/>
                </a:lnTo>
                <a:lnTo>
                  <a:pt x="62" y="202"/>
                </a:lnTo>
                <a:lnTo>
                  <a:pt x="62" y="203"/>
                </a:lnTo>
                <a:lnTo>
                  <a:pt x="62" y="203"/>
                </a:lnTo>
                <a:lnTo>
                  <a:pt x="61" y="203"/>
                </a:lnTo>
                <a:lnTo>
                  <a:pt x="61" y="203"/>
                </a:lnTo>
                <a:lnTo>
                  <a:pt x="61" y="203"/>
                </a:lnTo>
                <a:lnTo>
                  <a:pt x="61" y="203"/>
                </a:lnTo>
                <a:lnTo>
                  <a:pt x="61" y="203"/>
                </a:lnTo>
                <a:lnTo>
                  <a:pt x="61" y="203"/>
                </a:lnTo>
                <a:lnTo>
                  <a:pt x="61" y="204"/>
                </a:lnTo>
                <a:lnTo>
                  <a:pt x="60" y="204"/>
                </a:lnTo>
                <a:lnTo>
                  <a:pt x="60" y="204"/>
                </a:lnTo>
                <a:lnTo>
                  <a:pt x="60" y="204"/>
                </a:lnTo>
                <a:lnTo>
                  <a:pt x="60" y="204"/>
                </a:lnTo>
                <a:lnTo>
                  <a:pt x="60" y="204"/>
                </a:lnTo>
                <a:lnTo>
                  <a:pt x="60" y="204"/>
                </a:lnTo>
                <a:lnTo>
                  <a:pt x="59" y="204"/>
                </a:lnTo>
                <a:lnTo>
                  <a:pt x="59" y="204"/>
                </a:lnTo>
                <a:lnTo>
                  <a:pt x="59" y="205"/>
                </a:lnTo>
                <a:lnTo>
                  <a:pt x="59" y="205"/>
                </a:lnTo>
                <a:lnTo>
                  <a:pt x="59" y="205"/>
                </a:lnTo>
                <a:lnTo>
                  <a:pt x="59" y="205"/>
                </a:lnTo>
                <a:lnTo>
                  <a:pt x="58" y="205"/>
                </a:lnTo>
                <a:lnTo>
                  <a:pt x="58" y="205"/>
                </a:lnTo>
                <a:lnTo>
                  <a:pt x="58" y="205"/>
                </a:lnTo>
                <a:lnTo>
                  <a:pt x="58" y="205"/>
                </a:lnTo>
                <a:lnTo>
                  <a:pt x="58" y="205"/>
                </a:lnTo>
                <a:lnTo>
                  <a:pt x="57" y="206"/>
                </a:lnTo>
                <a:lnTo>
                  <a:pt x="57" y="206"/>
                </a:lnTo>
                <a:lnTo>
                  <a:pt x="57" y="206"/>
                </a:lnTo>
                <a:lnTo>
                  <a:pt x="57" y="206"/>
                </a:lnTo>
                <a:lnTo>
                  <a:pt x="57" y="206"/>
                </a:lnTo>
                <a:lnTo>
                  <a:pt x="57" y="206"/>
                </a:lnTo>
                <a:lnTo>
                  <a:pt x="55" y="206"/>
                </a:lnTo>
                <a:lnTo>
                  <a:pt x="55" y="206"/>
                </a:lnTo>
                <a:lnTo>
                  <a:pt x="55" y="206"/>
                </a:lnTo>
                <a:lnTo>
                  <a:pt x="55" y="206"/>
                </a:lnTo>
                <a:lnTo>
                  <a:pt x="55" y="206"/>
                </a:lnTo>
                <a:lnTo>
                  <a:pt x="55" y="208"/>
                </a:lnTo>
                <a:lnTo>
                  <a:pt x="54" y="208"/>
                </a:lnTo>
                <a:lnTo>
                  <a:pt x="54" y="208"/>
                </a:lnTo>
                <a:lnTo>
                  <a:pt x="54" y="208"/>
                </a:lnTo>
                <a:lnTo>
                  <a:pt x="54" y="208"/>
                </a:lnTo>
                <a:lnTo>
                  <a:pt x="54" y="208"/>
                </a:lnTo>
                <a:lnTo>
                  <a:pt x="53" y="208"/>
                </a:lnTo>
                <a:lnTo>
                  <a:pt x="53" y="208"/>
                </a:lnTo>
                <a:lnTo>
                  <a:pt x="53" y="208"/>
                </a:lnTo>
                <a:lnTo>
                  <a:pt x="53" y="208"/>
                </a:lnTo>
                <a:lnTo>
                  <a:pt x="53" y="208"/>
                </a:lnTo>
                <a:lnTo>
                  <a:pt x="52" y="208"/>
                </a:lnTo>
                <a:lnTo>
                  <a:pt x="52" y="209"/>
                </a:lnTo>
                <a:lnTo>
                  <a:pt x="52" y="209"/>
                </a:lnTo>
                <a:lnTo>
                  <a:pt x="52" y="209"/>
                </a:lnTo>
                <a:lnTo>
                  <a:pt x="52" y="209"/>
                </a:lnTo>
                <a:lnTo>
                  <a:pt x="52" y="209"/>
                </a:lnTo>
                <a:lnTo>
                  <a:pt x="51" y="209"/>
                </a:lnTo>
                <a:lnTo>
                  <a:pt x="51" y="209"/>
                </a:lnTo>
                <a:lnTo>
                  <a:pt x="51" y="209"/>
                </a:lnTo>
                <a:lnTo>
                  <a:pt x="51" y="209"/>
                </a:lnTo>
                <a:lnTo>
                  <a:pt x="51" y="209"/>
                </a:lnTo>
                <a:lnTo>
                  <a:pt x="50" y="209"/>
                </a:lnTo>
                <a:lnTo>
                  <a:pt x="50" y="209"/>
                </a:lnTo>
                <a:lnTo>
                  <a:pt x="50" y="209"/>
                </a:lnTo>
                <a:lnTo>
                  <a:pt x="50" y="209"/>
                </a:lnTo>
                <a:lnTo>
                  <a:pt x="50" y="209"/>
                </a:lnTo>
                <a:lnTo>
                  <a:pt x="49" y="210"/>
                </a:lnTo>
                <a:lnTo>
                  <a:pt x="49" y="210"/>
                </a:lnTo>
                <a:lnTo>
                  <a:pt x="49" y="210"/>
                </a:lnTo>
                <a:lnTo>
                  <a:pt x="49" y="210"/>
                </a:lnTo>
                <a:lnTo>
                  <a:pt x="49" y="210"/>
                </a:lnTo>
                <a:lnTo>
                  <a:pt x="48" y="210"/>
                </a:lnTo>
                <a:lnTo>
                  <a:pt x="48" y="210"/>
                </a:lnTo>
                <a:lnTo>
                  <a:pt x="48" y="210"/>
                </a:lnTo>
                <a:lnTo>
                  <a:pt x="48" y="210"/>
                </a:lnTo>
                <a:lnTo>
                  <a:pt x="48" y="210"/>
                </a:lnTo>
                <a:lnTo>
                  <a:pt x="46" y="210"/>
                </a:lnTo>
                <a:lnTo>
                  <a:pt x="46" y="210"/>
                </a:lnTo>
                <a:lnTo>
                  <a:pt x="46" y="210"/>
                </a:lnTo>
                <a:lnTo>
                  <a:pt x="46" y="210"/>
                </a:lnTo>
                <a:lnTo>
                  <a:pt x="46" y="210"/>
                </a:lnTo>
                <a:lnTo>
                  <a:pt x="45" y="210"/>
                </a:lnTo>
                <a:lnTo>
                  <a:pt x="45" y="210"/>
                </a:lnTo>
                <a:lnTo>
                  <a:pt x="45" y="210"/>
                </a:lnTo>
                <a:lnTo>
                  <a:pt x="45" y="210"/>
                </a:lnTo>
                <a:lnTo>
                  <a:pt x="45" y="210"/>
                </a:lnTo>
                <a:lnTo>
                  <a:pt x="44" y="210"/>
                </a:lnTo>
                <a:lnTo>
                  <a:pt x="44" y="211"/>
                </a:lnTo>
                <a:lnTo>
                  <a:pt x="44" y="211"/>
                </a:lnTo>
                <a:lnTo>
                  <a:pt x="44" y="211"/>
                </a:lnTo>
                <a:lnTo>
                  <a:pt x="44" y="211"/>
                </a:lnTo>
                <a:lnTo>
                  <a:pt x="43" y="211"/>
                </a:lnTo>
                <a:lnTo>
                  <a:pt x="43" y="211"/>
                </a:lnTo>
                <a:lnTo>
                  <a:pt x="43" y="211"/>
                </a:lnTo>
                <a:lnTo>
                  <a:pt x="43" y="211"/>
                </a:lnTo>
                <a:lnTo>
                  <a:pt x="42" y="211"/>
                </a:lnTo>
                <a:lnTo>
                  <a:pt x="42" y="211"/>
                </a:lnTo>
                <a:lnTo>
                  <a:pt x="42" y="211"/>
                </a:lnTo>
                <a:lnTo>
                  <a:pt x="42" y="211"/>
                </a:lnTo>
                <a:lnTo>
                  <a:pt x="42" y="211"/>
                </a:lnTo>
                <a:lnTo>
                  <a:pt x="41" y="211"/>
                </a:lnTo>
                <a:lnTo>
                  <a:pt x="41" y="211"/>
                </a:lnTo>
                <a:lnTo>
                  <a:pt x="41" y="211"/>
                </a:lnTo>
                <a:lnTo>
                  <a:pt x="41" y="211"/>
                </a:lnTo>
                <a:lnTo>
                  <a:pt x="41" y="211"/>
                </a:lnTo>
                <a:lnTo>
                  <a:pt x="40" y="211"/>
                </a:lnTo>
                <a:lnTo>
                  <a:pt x="40" y="211"/>
                </a:lnTo>
                <a:lnTo>
                  <a:pt x="40" y="211"/>
                </a:lnTo>
                <a:lnTo>
                  <a:pt x="40" y="211"/>
                </a:lnTo>
                <a:lnTo>
                  <a:pt x="40" y="211"/>
                </a:lnTo>
                <a:lnTo>
                  <a:pt x="39" y="211"/>
                </a:lnTo>
                <a:lnTo>
                  <a:pt x="39" y="211"/>
                </a:lnTo>
                <a:lnTo>
                  <a:pt x="39" y="211"/>
                </a:lnTo>
                <a:lnTo>
                  <a:pt x="39" y="211"/>
                </a:lnTo>
                <a:lnTo>
                  <a:pt x="37" y="211"/>
                </a:lnTo>
                <a:lnTo>
                  <a:pt x="37" y="211"/>
                </a:lnTo>
                <a:lnTo>
                  <a:pt x="37" y="211"/>
                </a:lnTo>
                <a:lnTo>
                  <a:pt x="37" y="211"/>
                </a:lnTo>
                <a:lnTo>
                  <a:pt x="37" y="211"/>
                </a:lnTo>
                <a:lnTo>
                  <a:pt x="36" y="211"/>
                </a:lnTo>
                <a:lnTo>
                  <a:pt x="36" y="211"/>
                </a:lnTo>
                <a:lnTo>
                  <a:pt x="36" y="211"/>
                </a:lnTo>
                <a:lnTo>
                  <a:pt x="36" y="211"/>
                </a:lnTo>
                <a:lnTo>
                  <a:pt x="36" y="211"/>
                </a:lnTo>
                <a:lnTo>
                  <a:pt x="35" y="211"/>
                </a:lnTo>
                <a:lnTo>
                  <a:pt x="35" y="211"/>
                </a:lnTo>
                <a:lnTo>
                  <a:pt x="35" y="211"/>
                </a:lnTo>
                <a:lnTo>
                  <a:pt x="35" y="211"/>
                </a:lnTo>
                <a:lnTo>
                  <a:pt x="34" y="211"/>
                </a:lnTo>
                <a:lnTo>
                  <a:pt x="34" y="211"/>
                </a:lnTo>
                <a:lnTo>
                  <a:pt x="34" y="211"/>
                </a:lnTo>
                <a:lnTo>
                  <a:pt x="34" y="211"/>
                </a:lnTo>
                <a:lnTo>
                  <a:pt x="34" y="211"/>
                </a:lnTo>
                <a:lnTo>
                  <a:pt x="33" y="211"/>
                </a:lnTo>
                <a:lnTo>
                  <a:pt x="33" y="211"/>
                </a:lnTo>
                <a:lnTo>
                  <a:pt x="33" y="211"/>
                </a:lnTo>
                <a:lnTo>
                  <a:pt x="33" y="211"/>
                </a:lnTo>
                <a:lnTo>
                  <a:pt x="33" y="211"/>
                </a:lnTo>
                <a:lnTo>
                  <a:pt x="32" y="210"/>
                </a:lnTo>
                <a:lnTo>
                  <a:pt x="32" y="210"/>
                </a:lnTo>
                <a:lnTo>
                  <a:pt x="32" y="210"/>
                </a:lnTo>
                <a:lnTo>
                  <a:pt x="32" y="210"/>
                </a:lnTo>
                <a:lnTo>
                  <a:pt x="32" y="210"/>
                </a:lnTo>
                <a:lnTo>
                  <a:pt x="31" y="210"/>
                </a:lnTo>
                <a:lnTo>
                  <a:pt x="31" y="210"/>
                </a:lnTo>
                <a:lnTo>
                  <a:pt x="31" y="210"/>
                </a:lnTo>
                <a:lnTo>
                  <a:pt x="31" y="210"/>
                </a:lnTo>
                <a:lnTo>
                  <a:pt x="31" y="210"/>
                </a:lnTo>
                <a:lnTo>
                  <a:pt x="30" y="210"/>
                </a:lnTo>
                <a:lnTo>
                  <a:pt x="30" y="210"/>
                </a:lnTo>
                <a:lnTo>
                  <a:pt x="30" y="210"/>
                </a:lnTo>
                <a:lnTo>
                  <a:pt x="30" y="210"/>
                </a:lnTo>
                <a:lnTo>
                  <a:pt x="30" y="210"/>
                </a:lnTo>
                <a:lnTo>
                  <a:pt x="28" y="210"/>
                </a:lnTo>
                <a:lnTo>
                  <a:pt x="28" y="210"/>
                </a:lnTo>
                <a:lnTo>
                  <a:pt x="28" y="210"/>
                </a:lnTo>
                <a:lnTo>
                  <a:pt x="28" y="210"/>
                </a:lnTo>
                <a:lnTo>
                  <a:pt x="28" y="210"/>
                </a:lnTo>
                <a:lnTo>
                  <a:pt x="27" y="210"/>
                </a:lnTo>
                <a:lnTo>
                  <a:pt x="27" y="209"/>
                </a:lnTo>
                <a:lnTo>
                  <a:pt x="27" y="209"/>
                </a:lnTo>
                <a:lnTo>
                  <a:pt x="27" y="209"/>
                </a:lnTo>
                <a:lnTo>
                  <a:pt x="27" y="209"/>
                </a:lnTo>
                <a:lnTo>
                  <a:pt x="26" y="209"/>
                </a:lnTo>
                <a:lnTo>
                  <a:pt x="26" y="209"/>
                </a:lnTo>
                <a:lnTo>
                  <a:pt x="26" y="209"/>
                </a:lnTo>
                <a:lnTo>
                  <a:pt x="26" y="209"/>
                </a:lnTo>
                <a:lnTo>
                  <a:pt x="26" y="209"/>
                </a:lnTo>
                <a:lnTo>
                  <a:pt x="25" y="209"/>
                </a:lnTo>
                <a:lnTo>
                  <a:pt x="25" y="209"/>
                </a:lnTo>
                <a:lnTo>
                  <a:pt x="25" y="209"/>
                </a:lnTo>
                <a:lnTo>
                  <a:pt x="25" y="209"/>
                </a:lnTo>
                <a:lnTo>
                  <a:pt x="25" y="209"/>
                </a:lnTo>
                <a:lnTo>
                  <a:pt x="24" y="209"/>
                </a:lnTo>
                <a:lnTo>
                  <a:pt x="24" y="208"/>
                </a:lnTo>
                <a:lnTo>
                  <a:pt x="24" y="208"/>
                </a:lnTo>
                <a:lnTo>
                  <a:pt x="24" y="208"/>
                </a:lnTo>
                <a:lnTo>
                  <a:pt x="24" y="208"/>
                </a:lnTo>
                <a:lnTo>
                  <a:pt x="24" y="208"/>
                </a:lnTo>
                <a:lnTo>
                  <a:pt x="23" y="208"/>
                </a:lnTo>
                <a:lnTo>
                  <a:pt x="23" y="208"/>
                </a:lnTo>
                <a:lnTo>
                  <a:pt x="23" y="208"/>
                </a:lnTo>
                <a:lnTo>
                  <a:pt x="23" y="208"/>
                </a:lnTo>
                <a:lnTo>
                  <a:pt x="23" y="208"/>
                </a:lnTo>
                <a:lnTo>
                  <a:pt x="22" y="208"/>
                </a:lnTo>
                <a:lnTo>
                  <a:pt x="22" y="208"/>
                </a:lnTo>
                <a:lnTo>
                  <a:pt x="22" y="206"/>
                </a:lnTo>
                <a:lnTo>
                  <a:pt x="22" y="206"/>
                </a:lnTo>
                <a:lnTo>
                  <a:pt x="22" y="206"/>
                </a:lnTo>
                <a:lnTo>
                  <a:pt x="22" y="206"/>
                </a:lnTo>
                <a:lnTo>
                  <a:pt x="21" y="206"/>
                </a:lnTo>
                <a:lnTo>
                  <a:pt x="21" y="206"/>
                </a:lnTo>
                <a:lnTo>
                  <a:pt x="21" y="206"/>
                </a:lnTo>
                <a:lnTo>
                  <a:pt x="21" y="206"/>
                </a:lnTo>
                <a:lnTo>
                  <a:pt x="21" y="206"/>
                </a:lnTo>
                <a:lnTo>
                  <a:pt x="19" y="206"/>
                </a:lnTo>
                <a:lnTo>
                  <a:pt x="19" y="206"/>
                </a:lnTo>
                <a:lnTo>
                  <a:pt x="19" y="205"/>
                </a:lnTo>
                <a:lnTo>
                  <a:pt x="19" y="205"/>
                </a:lnTo>
                <a:lnTo>
                  <a:pt x="19" y="205"/>
                </a:lnTo>
                <a:lnTo>
                  <a:pt x="19" y="205"/>
                </a:lnTo>
                <a:lnTo>
                  <a:pt x="18" y="205"/>
                </a:lnTo>
                <a:lnTo>
                  <a:pt x="18" y="205"/>
                </a:lnTo>
                <a:lnTo>
                  <a:pt x="18" y="205"/>
                </a:lnTo>
                <a:lnTo>
                  <a:pt x="18" y="205"/>
                </a:lnTo>
                <a:lnTo>
                  <a:pt x="18" y="205"/>
                </a:lnTo>
                <a:lnTo>
                  <a:pt x="18" y="204"/>
                </a:lnTo>
                <a:lnTo>
                  <a:pt x="17" y="204"/>
                </a:lnTo>
                <a:lnTo>
                  <a:pt x="17" y="204"/>
                </a:lnTo>
                <a:lnTo>
                  <a:pt x="17" y="204"/>
                </a:lnTo>
                <a:lnTo>
                  <a:pt x="17" y="204"/>
                </a:lnTo>
                <a:lnTo>
                  <a:pt x="17" y="204"/>
                </a:lnTo>
                <a:lnTo>
                  <a:pt x="17" y="204"/>
                </a:lnTo>
                <a:lnTo>
                  <a:pt x="16" y="204"/>
                </a:lnTo>
                <a:lnTo>
                  <a:pt x="16" y="204"/>
                </a:lnTo>
                <a:lnTo>
                  <a:pt x="16" y="203"/>
                </a:lnTo>
                <a:lnTo>
                  <a:pt x="16" y="203"/>
                </a:lnTo>
                <a:lnTo>
                  <a:pt x="16" y="203"/>
                </a:lnTo>
                <a:lnTo>
                  <a:pt x="16" y="203"/>
                </a:lnTo>
                <a:lnTo>
                  <a:pt x="15" y="203"/>
                </a:lnTo>
                <a:lnTo>
                  <a:pt x="15" y="203"/>
                </a:lnTo>
                <a:lnTo>
                  <a:pt x="15" y="203"/>
                </a:lnTo>
                <a:lnTo>
                  <a:pt x="15" y="203"/>
                </a:lnTo>
                <a:lnTo>
                  <a:pt x="15" y="202"/>
                </a:lnTo>
                <a:lnTo>
                  <a:pt x="15" y="202"/>
                </a:lnTo>
                <a:lnTo>
                  <a:pt x="14" y="202"/>
                </a:lnTo>
                <a:lnTo>
                  <a:pt x="14" y="202"/>
                </a:lnTo>
                <a:lnTo>
                  <a:pt x="14" y="202"/>
                </a:lnTo>
                <a:lnTo>
                  <a:pt x="14" y="202"/>
                </a:lnTo>
                <a:lnTo>
                  <a:pt x="14" y="202"/>
                </a:lnTo>
                <a:lnTo>
                  <a:pt x="14" y="202"/>
                </a:lnTo>
                <a:lnTo>
                  <a:pt x="14" y="201"/>
                </a:lnTo>
                <a:lnTo>
                  <a:pt x="13" y="201"/>
                </a:lnTo>
                <a:lnTo>
                  <a:pt x="13" y="201"/>
                </a:lnTo>
                <a:lnTo>
                  <a:pt x="13" y="201"/>
                </a:lnTo>
                <a:lnTo>
                  <a:pt x="13" y="201"/>
                </a:lnTo>
                <a:lnTo>
                  <a:pt x="13" y="201"/>
                </a:lnTo>
                <a:lnTo>
                  <a:pt x="13" y="201"/>
                </a:lnTo>
                <a:lnTo>
                  <a:pt x="13" y="200"/>
                </a:lnTo>
                <a:lnTo>
                  <a:pt x="12" y="200"/>
                </a:lnTo>
                <a:lnTo>
                  <a:pt x="12" y="200"/>
                </a:lnTo>
                <a:lnTo>
                  <a:pt x="12" y="200"/>
                </a:lnTo>
                <a:lnTo>
                  <a:pt x="12" y="200"/>
                </a:lnTo>
                <a:lnTo>
                  <a:pt x="12" y="200"/>
                </a:lnTo>
                <a:lnTo>
                  <a:pt x="12" y="200"/>
                </a:lnTo>
                <a:lnTo>
                  <a:pt x="12" y="199"/>
                </a:lnTo>
                <a:lnTo>
                  <a:pt x="10" y="199"/>
                </a:lnTo>
                <a:lnTo>
                  <a:pt x="10" y="199"/>
                </a:lnTo>
                <a:lnTo>
                  <a:pt x="10" y="199"/>
                </a:lnTo>
                <a:lnTo>
                  <a:pt x="10" y="199"/>
                </a:lnTo>
                <a:lnTo>
                  <a:pt x="10" y="199"/>
                </a:lnTo>
                <a:lnTo>
                  <a:pt x="10" y="199"/>
                </a:lnTo>
                <a:lnTo>
                  <a:pt x="10" y="197"/>
                </a:lnTo>
                <a:lnTo>
                  <a:pt x="10" y="197"/>
                </a:lnTo>
                <a:lnTo>
                  <a:pt x="9" y="197"/>
                </a:lnTo>
                <a:lnTo>
                  <a:pt x="9" y="197"/>
                </a:lnTo>
                <a:lnTo>
                  <a:pt x="9" y="197"/>
                </a:lnTo>
                <a:lnTo>
                  <a:pt x="9" y="197"/>
                </a:lnTo>
                <a:lnTo>
                  <a:pt x="9" y="196"/>
                </a:lnTo>
                <a:lnTo>
                  <a:pt x="9" y="196"/>
                </a:lnTo>
                <a:lnTo>
                  <a:pt x="9" y="196"/>
                </a:lnTo>
                <a:lnTo>
                  <a:pt x="8" y="196"/>
                </a:lnTo>
                <a:lnTo>
                  <a:pt x="8" y="196"/>
                </a:lnTo>
                <a:lnTo>
                  <a:pt x="8" y="196"/>
                </a:lnTo>
                <a:lnTo>
                  <a:pt x="8" y="196"/>
                </a:lnTo>
                <a:lnTo>
                  <a:pt x="8" y="195"/>
                </a:lnTo>
                <a:lnTo>
                  <a:pt x="8" y="195"/>
                </a:lnTo>
                <a:lnTo>
                  <a:pt x="8" y="195"/>
                </a:lnTo>
                <a:lnTo>
                  <a:pt x="8" y="195"/>
                </a:lnTo>
                <a:lnTo>
                  <a:pt x="8" y="195"/>
                </a:lnTo>
                <a:lnTo>
                  <a:pt x="7" y="195"/>
                </a:lnTo>
                <a:lnTo>
                  <a:pt x="7" y="194"/>
                </a:lnTo>
                <a:lnTo>
                  <a:pt x="7" y="194"/>
                </a:lnTo>
                <a:lnTo>
                  <a:pt x="7" y="194"/>
                </a:lnTo>
                <a:lnTo>
                  <a:pt x="7" y="194"/>
                </a:lnTo>
                <a:lnTo>
                  <a:pt x="7" y="194"/>
                </a:lnTo>
                <a:lnTo>
                  <a:pt x="7" y="194"/>
                </a:lnTo>
                <a:lnTo>
                  <a:pt x="7" y="193"/>
                </a:lnTo>
                <a:lnTo>
                  <a:pt x="7" y="193"/>
                </a:lnTo>
                <a:lnTo>
                  <a:pt x="6" y="193"/>
                </a:lnTo>
                <a:lnTo>
                  <a:pt x="6" y="193"/>
                </a:lnTo>
                <a:lnTo>
                  <a:pt x="6" y="193"/>
                </a:lnTo>
                <a:lnTo>
                  <a:pt x="6" y="193"/>
                </a:lnTo>
                <a:lnTo>
                  <a:pt x="6" y="192"/>
                </a:lnTo>
                <a:lnTo>
                  <a:pt x="6" y="192"/>
                </a:lnTo>
                <a:lnTo>
                  <a:pt x="6" y="192"/>
                </a:lnTo>
                <a:lnTo>
                  <a:pt x="6" y="192"/>
                </a:lnTo>
                <a:lnTo>
                  <a:pt x="6" y="192"/>
                </a:lnTo>
                <a:lnTo>
                  <a:pt x="6" y="191"/>
                </a:lnTo>
                <a:lnTo>
                  <a:pt x="5" y="191"/>
                </a:lnTo>
                <a:lnTo>
                  <a:pt x="5" y="191"/>
                </a:lnTo>
                <a:lnTo>
                  <a:pt x="5" y="191"/>
                </a:lnTo>
                <a:lnTo>
                  <a:pt x="5" y="191"/>
                </a:lnTo>
                <a:lnTo>
                  <a:pt x="5" y="191"/>
                </a:lnTo>
                <a:lnTo>
                  <a:pt x="5" y="190"/>
                </a:lnTo>
                <a:lnTo>
                  <a:pt x="5" y="190"/>
                </a:lnTo>
                <a:lnTo>
                  <a:pt x="5" y="190"/>
                </a:lnTo>
                <a:lnTo>
                  <a:pt x="5" y="190"/>
                </a:lnTo>
                <a:lnTo>
                  <a:pt x="5" y="190"/>
                </a:lnTo>
                <a:lnTo>
                  <a:pt x="5" y="188"/>
                </a:lnTo>
                <a:lnTo>
                  <a:pt x="4" y="188"/>
                </a:lnTo>
                <a:lnTo>
                  <a:pt x="4" y="188"/>
                </a:lnTo>
                <a:lnTo>
                  <a:pt x="4" y="188"/>
                </a:lnTo>
                <a:lnTo>
                  <a:pt x="4" y="188"/>
                </a:lnTo>
                <a:lnTo>
                  <a:pt x="4" y="188"/>
                </a:lnTo>
                <a:lnTo>
                  <a:pt x="4" y="187"/>
                </a:lnTo>
                <a:lnTo>
                  <a:pt x="4" y="187"/>
                </a:lnTo>
                <a:lnTo>
                  <a:pt x="4" y="187"/>
                </a:lnTo>
                <a:lnTo>
                  <a:pt x="4" y="187"/>
                </a:lnTo>
                <a:lnTo>
                  <a:pt x="4" y="187"/>
                </a:lnTo>
                <a:lnTo>
                  <a:pt x="4" y="186"/>
                </a:lnTo>
                <a:lnTo>
                  <a:pt x="4" y="186"/>
                </a:lnTo>
                <a:lnTo>
                  <a:pt x="4" y="186"/>
                </a:lnTo>
                <a:lnTo>
                  <a:pt x="3" y="186"/>
                </a:lnTo>
                <a:lnTo>
                  <a:pt x="3" y="186"/>
                </a:lnTo>
                <a:lnTo>
                  <a:pt x="3" y="185"/>
                </a:lnTo>
                <a:lnTo>
                  <a:pt x="3" y="185"/>
                </a:lnTo>
                <a:lnTo>
                  <a:pt x="3" y="185"/>
                </a:lnTo>
                <a:lnTo>
                  <a:pt x="3" y="185"/>
                </a:lnTo>
                <a:lnTo>
                  <a:pt x="3" y="185"/>
                </a:lnTo>
                <a:lnTo>
                  <a:pt x="3" y="184"/>
                </a:lnTo>
                <a:lnTo>
                  <a:pt x="3" y="184"/>
                </a:lnTo>
                <a:lnTo>
                  <a:pt x="3" y="184"/>
                </a:lnTo>
                <a:lnTo>
                  <a:pt x="3" y="184"/>
                </a:lnTo>
                <a:lnTo>
                  <a:pt x="3" y="184"/>
                </a:lnTo>
                <a:lnTo>
                  <a:pt x="3" y="183"/>
                </a:lnTo>
                <a:lnTo>
                  <a:pt x="3" y="183"/>
                </a:lnTo>
                <a:lnTo>
                  <a:pt x="3" y="183"/>
                </a:lnTo>
                <a:lnTo>
                  <a:pt x="3" y="183"/>
                </a:lnTo>
                <a:lnTo>
                  <a:pt x="1" y="183"/>
                </a:lnTo>
                <a:lnTo>
                  <a:pt x="1" y="182"/>
                </a:lnTo>
                <a:lnTo>
                  <a:pt x="1" y="182"/>
                </a:lnTo>
                <a:lnTo>
                  <a:pt x="1" y="182"/>
                </a:lnTo>
                <a:lnTo>
                  <a:pt x="1" y="182"/>
                </a:lnTo>
                <a:lnTo>
                  <a:pt x="1" y="182"/>
                </a:lnTo>
                <a:lnTo>
                  <a:pt x="1" y="181"/>
                </a:lnTo>
                <a:lnTo>
                  <a:pt x="1" y="181"/>
                </a:lnTo>
                <a:lnTo>
                  <a:pt x="1" y="181"/>
                </a:lnTo>
                <a:lnTo>
                  <a:pt x="1" y="181"/>
                </a:lnTo>
                <a:lnTo>
                  <a:pt x="1" y="181"/>
                </a:lnTo>
                <a:lnTo>
                  <a:pt x="1" y="179"/>
                </a:lnTo>
                <a:lnTo>
                  <a:pt x="1" y="179"/>
                </a:lnTo>
                <a:lnTo>
                  <a:pt x="1" y="179"/>
                </a:lnTo>
                <a:lnTo>
                  <a:pt x="1" y="179"/>
                </a:lnTo>
                <a:lnTo>
                  <a:pt x="1" y="179"/>
                </a:lnTo>
                <a:lnTo>
                  <a:pt x="1" y="178"/>
                </a:lnTo>
                <a:lnTo>
                  <a:pt x="1" y="178"/>
                </a:lnTo>
                <a:lnTo>
                  <a:pt x="1" y="178"/>
                </a:lnTo>
                <a:lnTo>
                  <a:pt x="1" y="178"/>
                </a:lnTo>
                <a:lnTo>
                  <a:pt x="1" y="178"/>
                </a:lnTo>
                <a:lnTo>
                  <a:pt x="1" y="177"/>
                </a:lnTo>
                <a:lnTo>
                  <a:pt x="1" y="177"/>
                </a:lnTo>
                <a:lnTo>
                  <a:pt x="1" y="177"/>
                </a:lnTo>
                <a:lnTo>
                  <a:pt x="1" y="177"/>
                </a:lnTo>
                <a:lnTo>
                  <a:pt x="1" y="177"/>
                </a:lnTo>
                <a:lnTo>
                  <a:pt x="1" y="176"/>
                </a:lnTo>
                <a:lnTo>
                  <a:pt x="1" y="176"/>
                </a:lnTo>
                <a:lnTo>
                  <a:pt x="1" y="176"/>
                </a:lnTo>
                <a:lnTo>
                  <a:pt x="1" y="176"/>
                </a:lnTo>
                <a:lnTo>
                  <a:pt x="1" y="175"/>
                </a:lnTo>
                <a:lnTo>
                  <a:pt x="1" y="175"/>
                </a:lnTo>
                <a:lnTo>
                  <a:pt x="0" y="175"/>
                </a:lnTo>
                <a:lnTo>
                  <a:pt x="0" y="175"/>
                </a:lnTo>
                <a:lnTo>
                  <a:pt x="0" y="175"/>
                </a:lnTo>
                <a:lnTo>
                  <a:pt x="0" y="174"/>
                </a:lnTo>
                <a:lnTo>
                  <a:pt x="0" y="174"/>
                </a:lnTo>
                <a:lnTo>
                  <a:pt x="0" y="174"/>
                </a:lnTo>
                <a:lnTo>
                  <a:pt x="0" y="174"/>
                </a:lnTo>
                <a:lnTo>
                  <a:pt x="0" y="174"/>
                </a:lnTo>
                <a:lnTo>
                  <a:pt x="0" y="173"/>
                </a:lnTo>
                <a:lnTo>
                  <a:pt x="0" y="173"/>
                </a:lnTo>
                <a:lnTo>
                  <a:pt x="0" y="173"/>
                </a:lnTo>
                <a:lnTo>
                  <a:pt x="0" y="173"/>
                </a:lnTo>
                <a:lnTo>
                  <a:pt x="0" y="171"/>
                </a:lnTo>
                <a:lnTo>
                  <a:pt x="0" y="171"/>
                </a:lnTo>
                <a:lnTo>
                  <a:pt x="0" y="171"/>
                </a:lnTo>
                <a:lnTo>
                  <a:pt x="1" y="171"/>
                </a:lnTo>
                <a:lnTo>
                  <a:pt x="1" y="171"/>
                </a:lnTo>
                <a:lnTo>
                  <a:pt x="1" y="170"/>
                </a:lnTo>
                <a:lnTo>
                  <a:pt x="1" y="170"/>
                </a:lnTo>
                <a:lnTo>
                  <a:pt x="1" y="170"/>
                </a:lnTo>
                <a:lnTo>
                  <a:pt x="1" y="170"/>
                </a:lnTo>
                <a:lnTo>
                  <a:pt x="1" y="170"/>
                </a:lnTo>
                <a:lnTo>
                  <a:pt x="1" y="169"/>
                </a:lnTo>
                <a:lnTo>
                  <a:pt x="1" y="169"/>
                </a:lnTo>
                <a:lnTo>
                  <a:pt x="1" y="169"/>
                </a:lnTo>
                <a:lnTo>
                  <a:pt x="1" y="169"/>
                </a:lnTo>
                <a:lnTo>
                  <a:pt x="1" y="168"/>
                </a:lnTo>
                <a:lnTo>
                  <a:pt x="1" y="168"/>
                </a:lnTo>
                <a:lnTo>
                  <a:pt x="1" y="168"/>
                </a:lnTo>
                <a:lnTo>
                  <a:pt x="1" y="168"/>
                </a:lnTo>
                <a:lnTo>
                  <a:pt x="1" y="168"/>
                </a:lnTo>
                <a:lnTo>
                  <a:pt x="1" y="167"/>
                </a:lnTo>
                <a:lnTo>
                  <a:pt x="1" y="167"/>
                </a:lnTo>
                <a:lnTo>
                  <a:pt x="1" y="167"/>
                </a:lnTo>
                <a:lnTo>
                  <a:pt x="1" y="167"/>
                </a:lnTo>
                <a:lnTo>
                  <a:pt x="1" y="167"/>
                </a:lnTo>
                <a:lnTo>
                  <a:pt x="1" y="166"/>
                </a:lnTo>
                <a:lnTo>
                  <a:pt x="1" y="166"/>
                </a:lnTo>
                <a:lnTo>
                  <a:pt x="1" y="166"/>
                </a:lnTo>
                <a:lnTo>
                  <a:pt x="1" y="166"/>
                </a:lnTo>
                <a:lnTo>
                  <a:pt x="1" y="166"/>
                </a:lnTo>
                <a:lnTo>
                  <a:pt x="1" y="165"/>
                </a:lnTo>
                <a:lnTo>
                  <a:pt x="1" y="165"/>
                </a:lnTo>
                <a:lnTo>
                  <a:pt x="1" y="165"/>
                </a:lnTo>
                <a:lnTo>
                  <a:pt x="1" y="165"/>
                </a:lnTo>
                <a:lnTo>
                  <a:pt x="1" y="165"/>
                </a:lnTo>
                <a:lnTo>
                  <a:pt x="1" y="164"/>
                </a:lnTo>
                <a:lnTo>
                  <a:pt x="3" y="164"/>
                </a:lnTo>
                <a:lnTo>
                  <a:pt x="3" y="164"/>
                </a:lnTo>
                <a:lnTo>
                  <a:pt x="3" y="164"/>
                </a:lnTo>
                <a:lnTo>
                  <a:pt x="3" y="164"/>
                </a:lnTo>
                <a:lnTo>
                  <a:pt x="3" y="162"/>
                </a:lnTo>
                <a:lnTo>
                  <a:pt x="3" y="162"/>
                </a:lnTo>
                <a:lnTo>
                  <a:pt x="3" y="162"/>
                </a:lnTo>
                <a:lnTo>
                  <a:pt x="3" y="162"/>
                </a:lnTo>
                <a:lnTo>
                  <a:pt x="3" y="162"/>
                </a:lnTo>
                <a:lnTo>
                  <a:pt x="3" y="161"/>
                </a:lnTo>
                <a:lnTo>
                  <a:pt x="3" y="161"/>
                </a:lnTo>
                <a:lnTo>
                  <a:pt x="3" y="161"/>
                </a:lnTo>
                <a:lnTo>
                  <a:pt x="3" y="161"/>
                </a:lnTo>
                <a:lnTo>
                  <a:pt x="3" y="161"/>
                </a:lnTo>
                <a:lnTo>
                  <a:pt x="3" y="160"/>
                </a:lnTo>
                <a:lnTo>
                  <a:pt x="3" y="160"/>
                </a:lnTo>
                <a:lnTo>
                  <a:pt x="4" y="160"/>
                </a:lnTo>
                <a:lnTo>
                  <a:pt x="4" y="160"/>
                </a:lnTo>
                <a:lnTo>
                  <a:pt x="4" y="160"/>
                </a:lnTo>
                <a:lnTo>
                  <a:pt x="4" y="159"/>
                </a:lnTo>
                <a:lnTo>
                  <a:pt x="4" y="159"/>
                </a:lnTo>
                <a:lnTo>
                  <a:pt x="4" y="159"/>
                </a:lnTo>
                <a:lnTo>
                  <a:pt x="4" y="159"/>
                </a:lnTo>
                <a:lnTo>
                  <a:pt x="4" y="159"/>
                </a:lnTo>
                <a:lnTo>
                  <a:pt x="4" y="159"/>
                </a:lnTo>
                <a:lnTo>
                  <a:pt x="4" y="158"/>
                </a:lnTo>
                <a:lnTo>
                  <a:pt x="4" y="158"/>
                </a:lnTo>
                <a:lnTo>
                  <a:pt x="4" y="158"/>
                </a:lnTo>
                <a:lnTo>
                  <a:pt x="4" y="158"/>
                </a:lnTo>
                <a:lnTo>
                  <a:pt x="5" y="158"/>
                </a:lnTo>
                <a:lnTo>
                  <a:pt x="5" y="157"/>
                </a:lnTo>
                <a:lnTo>
                  <a:pt x="5" y="157"/>
                </a:lnTo>
                <a:lnTo>
                  <a:pt x="5" y="157"/>
                </a:lnTo>
                <a:lnTo>
                  <a:pt x="5" y="157"/>
                </a:lnTo>
                <a:lnTo>
                  <a:pt x="5" y="157"/>
                </a:lnTo>
                <a:lnTo>
                  <a:pt x="5" y="157"/>
                </a:lnTo>
                <a:lnTo>
                  <a:pt x="5" y="156"/>
                </a:lnTo>
                <a:lnTo>
                  <a:pt x="5" y="156"/>
                </a:lnTo>
                <a:lnTo>
                  <a:pt x="5" y="156"/>
                </a:lnTo>
                <a:lnTo>
                  <a:pt x="5" y="156"/>
                </a:lnTo>
                <a:lnTo>
                  <a:pt x="6" y="156"/>
                </a:lnTo>
                <a:lnTo>
                  <a:pt x="6" y="155"/>
                </a:lnTo>
                <a:lnTo>
                  <a:pt x="6" y="155"/>
                </a:lnTo>
                <a:lnTo>
                  <a:pt x="6" y="155"/>
                </a:lnTo>
                <a:lnTo>
                  <a:pt x="6" y="155"/>
                </a:lnTo>
                <a:lnTo>
                  <a:pt x="6" y="155"/>
                </a:lnTo>
                <a:lnTo>
                  <a:pt x="6" y="155"/>
                </a:lnTo>
                <a:lnTo>
                  <a:pt x="6" y="153"/>
                </a:lnTo>
                <a:lnTo>
                  <a:pt x="6" y="153"/>
                </a:lnTo>
                <a:lnTo>
                  <a:pt x="6" y="153"/>
                </a:lnTo>
                <a:lnTo>
                  <a:pt x="7" y="153"/>
                </a:lnTo>
                <a:lnTo>
                  <a:pt x="7" y="153"/>
                </a:lnTo>
                <a:lnTo>
                  <a:pt x="7" y="153"/>
                </a:lnTo>
                <a:lnTo>
                  <a:pt x="7" y="152"/>
                </a:lnTo>
                <a:lnTo>
                  <a:pt x="7" y="152"/>
                </a:lnTo>
                <a:lnTo>
                  <a:pt x="7" y="152"/>
                </a:lnTo>
                <a:lnTo>
                  <a:pt x="7" y="152"/>
                </a:lnTo>
                <a:lnTo>
                  <a:pt x="7" y="152"/>
                </a:lnTo>
                <a:lnTo>
                  <a:pt x="7" y="152"/>
                </a:lnTo>
                <a:lnTo>
                  <a:pt x="8" y="151"/>
                </a:lnTo>
                <a:lnTo>
                  <a:pt x="8" y="151"/>
                </a:lnTo>
                <a:lnTo>
                  <a:pt x="8" y="151"/>
                </a:lnTo>
                <a:lnTo>
                  <a:pt x="8" y="151"/>
                </a:lnTo>
                <a:lnTo>
                  <a:pt x="8" y="151"/>
                </a:lnTo>
                <a:lnTo>
                  <a:pt x="8" y="151"/>
                </a:lnTo>
                <a:lnTo>
                  <a:pt x="8" y="150"/>
                </a:lnTo>
                <a:lnTo>
                  <a:pt x="8" y="150"/>
                </a:lnTo>
                <a:lnTo>
                  <a:pt x="8" y="150"/>
                </a:lnTo>
                <a:lnTo>
                  <a:pt x="9" y="150"/>
                </a:lnTo>
                <a:lnTo>
                  <a:pt x="9" y="150"/>
                </a:lnTo>
                <a:lnTo>
                  <a:pt x="9" y="150"/>
                </a:lnTo>
                <a:lnTo>
                  <a:pt x="9" y="149"/>
                </a:lnTo>
                <a:lnTo>
                  <a:pt x="9" y="149"/>
                </a:lnTo>
                <a:lnTo>
                  <a:pt x="9" y="149"/>
                </a:lnTo>
                <a:lnTo>
                  <a:pt x="9" y="149"/>
                </a:lnTo>
                <a:lnTo>
                  <a:pt x="10" y="149"/>
                </a:lnTo>
                <a:lnTo>
                  <a:pt x="10" y="149"/>
                </a:lnTo>
                <a:lnTo>
                  <a:pt x="10" y="149"/>
                </a:lnTo>
                <a:lnTo>
                  <a:pt x="10" y="148"/>
                </a:lnTo>
                <a:lnTo>
                  <a:pt x="10" y="148"/>
                </a:lnTo>
                <a:lnTo>
                  <a:pt x="10" y="148"/>
                </a:lnTo>
                <a:lnTo>
                  <a:pt x="10" y="148"/>
                </a:lnTo>
                <a:lnTo>
                  <a:pt x="10" y="148"/>
                </a:lnTo>
                <a:lnTo>
                  <a:pt x="12" y="148"/>
                </a:lnTo>
                <a:lnTo>
                  <a:pt x="12" y="148"/>
                </a:lnTo>
                <a:lnTo>
                  <a:pt x="12" y="147"/>
                </a:lnTo>
                <a:lnTo>
                  <a:pt x="12" y="147"/>
                </a:lnTo>
                <a:lnTo>
                  <a:pt x="12" y="147"/>
                </a:lnTo>
                <a:lnTo>
                  <a:pt x="12" y="147"/>
                </a:lnTo>
                <a:lnTo>
                  <a:pt x="12" y="147"/>
                </a:lnTo>
                <a:lnTo>
                  <a:pt x="13" y="147"/>
                </a:lnTo>
                <a:lnTo>
                  <a:pt x="13" y="147"/>
                </a:lnTo>
                <a:lnTo>
                  <a:pt x="13" y="146"/>
                </a:lnTo>
                <a:lnTo>
                  <a:pt x="13" y="146"/>
                </a:lnTo>
                <a:lnTo>
                  <a:pt x="13" y="146"/>
                </a:lnTo>
                <a:lnTo>
                  <a:pt x="13" y="146"/>
                </a:lnTo>
                <a:lnTo>
                  <a:pt x="13" y="146"/>
                </a:lnTo>
                <a:lnTo>
                  <a:pt x="14" y="146"/>
                </a:lnTo>
                <a:lnTo>
                  <a:pt x="14" y="146"/>
                </a:lnTo>
                <a:lnTo>
                  <a:pt x="14" y="144"/>
                </a:lnTo>
                <a:lnTo>
                  <a:pt x="14" y="144"/>
                </a:lnTo>
                <a:lnTo>
                  <a:pt x="14" y="144"/>
                </a:lnTo>
                <a:lnTo>
                  <a:pt x="14" y="144"/>
                </a:lnTo>
                <a:lnTo>
                  <a:pt x="14" y="144"/>
                </a:lnTo>
                <a:lnTo>
                  <a:pt x="15" y="144"/>
                </a:lnTo>
                <a:lnTo>
                  <a:pt x="15" y="144"/>
                </a:lnTo>
                <a:lnTo>
                  <a:pt x="15" y="144"/>
                </a:lnTo>
                <a:lnTo>
                  <a:pt x="15" y="143"/>
                </a:lnTo>
                <a:lnTo>
                  <a:pt x="15" y="143"/>
                </a:lnTo>
                <a:lnTo>
                  <a:pt x="15" y="143"/>
                </a:lnTo>
                <a:lnTo>
                  <a:pt x="16" y="143"/>
                </a:lnTo>
                <a:lnTo>
                  <a:pt x="16" y="143"/>
                </a:lnTo>
                <a:lnTo>
                  <a:pt x="16" y="143"/>
                </a:lnTo>
                <a:lnTo>
                  <a:pt x="16" y="143"/>
                </a:lnTo>
                <a:lnTo>
                  <a:pt x="16" y="143"/>
                </a:lnTo>
                <a:lnTo>
                  <a:pt x="16" y="142"/>
                </a:lnTo>
                <a:lnTo>
                  <a:pt x="17" y="142"/>
                </a:lnTo>
                <a:lnTo>
                  <a:pt x="17" y="142"/>
                </a:lnTo>
                <a:lnTo>
                  <a:pt x="17" y="142"/>
                </a:lnTo>
                <a:lnTo>
                  <a:pt x="17" y="142"/>
                </a:lnTo>
                <a:lnTo>
                  <a:pt x="17" y="142"/>
                </a:lnTo>
                <a:lnTo>
                  <a:pt x="17" y="142"/>
                </a:lnTo>
                <a:lnTo>
                  <a:pt x="18" y="142"/>
                </a:lnTo>
                <a:lnTo>
                  <a:pt x="18" y="142"/>
                </a:lnTo>
                <a:lnTo>
                  <a:pt x="18" y="141"/>
                </a:lnTo>
                <a:lnTo>
                  <a:pt x="18" y="141"/>
                </a:lnTo>
                <a:lnTo>
                  <a:pt x="18" y="141"/>
                </a:lnTo>
                <a:lnTo>
                  <a:pt x="18" y="141"/>
                </a:lnTo>
                <a:lnTo>
                  <a:pt x="19" y="141"/>
                </a:lnTo>
                <a:lnTo>
                  <a:pt x="19" y="141"/>
                </a:lnTo>
                <a:lnTo>
                  <a:pt x="19" y="141"/>
                </a:lnTo>
                <a:lnTo>
                  <a:pt x="19" y="141"/>
                </a:lnTo>
                <a:lnTo>
                  <a:pt x="19" y="141"/>
                </a:lnTo>
                <a:lnTo>
                  <a:pt x="19" y="140"/>
                </a:lnTo>
                <a:lnTo>
                  <a:pt x="21" y="140"/>
                </a:lnTo>
                <a:lnTo>
                  <a:pt x="21" y="140"/>
                </a:lnTo>
                <a:lnTo>
                  <a:pt x="21" y="140"/>
                </a:lnTo>
                <a:lnTo>
                  <a:pt x="21" y="140"/>
                </a:lnTo>
                <a:lnTo>
                  <a:pt x="21" y="140"/>
                </a:lnTo>
                <a:lnTo>
                  <a:pt x="22" y="140"/>
                </a:lnTo>
                <a:lnTo>
                  <a:pt x="22" y="140"/>
                </a:lnTo>
                <a:lnTo>
                  <a:pt x="22" y="140"/>
                </a:lnTo>
                <a:lnTo>
                  <a:pt x="22" y="140"/>
                </a:lnTo>
                <a:lnTo>
                  <a:pt x="22" y="140"/>
                </a:lnTo>
                <a:lnTo>
                  <a:pt x="22" y="139"/>
                </a:lnTo>
                <a:lnTo>
                  <a:pt x="23" y="139"/>
                </a:lnTo>
                <a:lnTo>
                  <a:pt x="23" y="139"/>
                </a:lnTo>
                <a:lnTo>
                  <a:pt x="23" y="139"/>
                </a:lnTo>
                <a:lnTo>
                  <a:pt x="23" y="139"/>
                </a:lnTo>
                <a:lnTo>
                  <a:pt x="23" y="139"/>
                </a:lnTo>
                <a:lnTo>
                  <a:pt x="24" y="139"/>
                </a:lnTo>
                <a:lnTo>
                  <a:pt x="24" y="139"/>
                </a:lnTo>
                <a:lnTo>
                  <a:pt x="24" y="139"/>
                </a:lnTo>
                <a:lnTo>
                  <a:pt x="24" y="139"/>
                </a:lnTo>
                <a:lnTo>
                  <a:pt x="24" y="139"/>
                </a:lnTo>
                <a:lnTo>
                  <a:pt x="24" y="139"/>
                </a:lnTo>
                <a:lnTo>
                  <a:pt x="25" y="138"/>
                </a:lnTo>
                <a:lnTo>
                  <a:pt x="25" y="138"/>
                </a:lnTo>
                <a:lnTo>
                  <a:pt x="25" y="138"/>
                </a:lnTo>
                <a:lnTo>
                  <a:pt x="25" y="138"/>
                </a:lnTo>
                <a:lnTo>
                  <a:pt x="25" y="138"/>
                </a:lnTo>
                <a:lnTo>
                  <a:pt x="26" y="138"/>
                </a:lnTo>
                <a:lnTo>
                  <a:pt x="26" y="138"/>
                </a:lnTo>
                <a:lnTo>
                  <a:pt x="26" y="138"/>
                </a:lnTo>
                <a:lnTo>
                  <a:pt x="26" y="138"/>
                </a:lnTo>
                <a:lnTo>
                  <a:pt x="26" y="138"/>
                </a:lnTo>
                <a:lnTo>
                  <a:pt x="27" y="138"/>
                </a:lnTo>
                <a:lnTo>
                  <a:pt x="27" y="138"/>
                </a:lnTo>
                <a:lnTo>
                  <a:pt x="27" y="138"/>
                </a:lnTo>
                <a:lnTo>
                  <a:pt x="27" y="138"/>
                </a:lnTo>
                <a:lnTo>
                  <a:pt x="27" y="138"/>
                </a:lnTo>
                <a:lnTo>
                  <a:pt x="28" y="137"/>
                </a:lnTo>
                <a:lnTo>
                  <a:pt x="28" y="137"/>
                </a:lnTo>
                <a:lnTo>
                  <a:pt x="28" y="137"/>
                </a:lnTo>
                <a:lnTo>
                  <a:pt x="28" y="137"/>
                </a:lnTo>
                <a:lnTo>
                  <a:pt x="28" y="137"/>
                </a:lnTo>
                <a:lnTo>
                  <a:pt x="30" y="137"/>
                </a:lnTo>
                <a:lnTo>
                  <a:pt x="30" y="137"/>
                </a:lnTo>
                <a:lnTo>
                  <a:pt x="30" y="137"/>
                </a:lnTo>
                <a:lnTo>
                  <a:pt x="30" y="137"/>
                </a:lnTo>
                <a:lnTo>
                  <a:pt x="30" y="137"/>
                </a:lnTo>
                <a:lnTo>
                  <a:pt x="31" y="137"/>
                </a:lnTo>
                <a:lnTo>
                  <a:pt x="31" y="137"/>
                </a:lnTo>
                <a:lnTo>
                  <a:pt x="31" y="137"/>
                </a:lnTo>
                <a:lnTo>
                  <a:pt x="31" y="137"/>
                </a:lnTo>
                <a:lnTo>
                  <a:pt x="31" y="137"/>
                </a:lnTo>
                <a:lnTo>
                  <a:pt x="32" y="137"/>
                </a:lnTo>
                <a:lnTo>
                  <a:pt x="32" y="137"/>
                </a:lnTo>
                <a:lnTo>
                  <a:pt x="32" y="137"/>
                </a:lnTo>
                <a:lnTo>
                  <a:pt x="32" y="137"/>
                </a:lnTo>
                <a:lnTo>
                  <a:pt x="32" y="137"/>
                </a:lnTo>
                <a:lnTo>
                  <a:pt x="33" y="137"/>
                </a:lnTo>
                <a:lnTo>
                  <a:pt x="33" y="137"/>
                </a:lnTo>
                <a:lnTo>
                  <a:pt x="33" y="135"/>
                </a:lnTo>
                <a:lnTo>
                  <a:pt x="33" y="135"/>
                </a:lnTo>
                <a:lnTo>
                  <a:pt x="33" y="135"/>
                </a:lnTo>
                <a:lnTo>
                  <a:pt x="34" y="135"/>
                </a:lnTo>
                <a:lnTo>
                  <a:pt x="34" y="135"/>
                </a:lnTo>
                <a:lnTo>
                  <a:pt x="34" y="135"/>
                </a:lnTo>
                <a:lnTo>
                  <a:pt x="34" y="135"/>
                </a:lnTo>
                <a:lnTo>
                  <a:pt x="34" y="135"/>
                </a:lnTo>
                <a:lnTo>
                  <a:pt x="35" y="135"/>
                </a:lnTo>
                <a:lnTo>
                  <a:pt x="35" y="135"/>
                </a:lnTo>
                <a:lnTo>
                  <a:pt x="35" y="135"/>
                </a:lnTo>
                <a:lnTo>
                  <a:pt x="35" y="135"/>
                </a:lnTo>
                <a:lnTo>
                  <a:pt x="36" y="135"/>
                </a:lnTo>
                <a:lnTo>
                  <a:pt x="36" y="135"/>
                </a:lnTo>
                <a:lnTo>
                  <a:pt x="36" y="135"/>
                </a:lnTo>
                <a:lnTo>
                  <a:pt x="36" y="135"/>
                </a:lnTo>
                <a:lnTo>
                  <a:pt x="36" y="135"/>
                </a:lnTo>
                <a:lnTo>
                  <a:pt x="37" y="135"/>
                </a:lnTo>
                <a:lnTo>
                  <a:pt x="37" y="135"/>
                </a:lnTo>
                <a:lnTo>
                  <a:pt x="37" y="135"/>
                </a:lnTo>
                <a:lnTo>
                  <a:pt x="37" y="135"/>
                </a:lnTo>
                <a:lnTo>
                  <a:pt x="37" y="135"/>
                </a:lnTo>
                <a:lnTo>
                  <a:pt x="39" y="135"/>
                </a:lnTo>
                <a:lnTo>
                  <a:pt x="39" y="135"/>
                </a:lnTo>
                <a:lnTo>
                  <a:pt x="39" y="135"/>
                </a:lnTo>
                <a:lnTo>
                  <a:pt x="39" y="135"/>
                </a:lnTo>
                <a:lnTo>
                  <a:pt x="40" y="135"/>
                </a:lnTo>
                <a:lnTo>
                  <a:pt x="40" y="135"/>
                </a:lnTo>
                <a:lnTo>
                  <a:pt x="40" y="135"/>
                </a:lnTo>
                <a:lnTo>
                  <a:pt x="40" y="135"/>
                </a:lnTo>
                <a:lnTo>
                  <a:pt x="40" y="135"/>
                </a:lnTo>
                <a:lnTo>
                  <a:pt x="41" y="135"/>
                </a:lnTo>
                <a:lnTo>
                  <a:pt x="41" y="135"/>
                </a:lnTo>
                <a:lnTo>
                  <a:pt x="41" y="135"/>
                </a:lnTo>
                <a:lnTo>
                  <a:pt x="41" y="135"/>
                </a:lnTo>
                <a:lnTo>
                  <a:pt x="41" y="135"/>
                </a:lnTo>
                <a:lnTo>
                  <a:pt x="42" y="135"/>
                </a:lnTo>
                <a:lnTo>
                  <a:pt x="42" y="135"/>
                </a:lnTo>
                <a:lnTo>
                  <a:pt x="42" y="135"/>
                </a:lnTo>
                <a:lnTo>
                  <a:pt x="42" y="135"/>
                </a:lnTo>
                <a:lnTo>
                  <a:pt x="42" y="135"/>
                </a:lnTo>
                <a:lnTo>
                  <a:pt x="43" y="135"/>
                </a:lnTo>
                <a:lnTo>
                  <a:pt x="43" y="135"/>
                </a:lnTo>
                <a:lnTo>
                  <a:pt x="43" y="135"/>
                </a:lnTo>
                <a:lnTo>
                  <a:pt x="43" y="135"/>
                </a:lnTo>
                <a:lnTo>
                  <a:pt x="44" y="135"/>
                </a:lnTo>
                <a:lnTo>
                  <a:pt x="44" y="135"/>
                </a:lnTo>
                <a:lnTo>
                  <a:pt x="44" y="137"/>
                </a:lnTo>
                <a:lnTo>
                  <a:pt x="44" y="137"/>
                </a:lnTo>
                <a:lnTo>
                  <a:pt x="44" y="137"/>
                </a:lnTo>
                <a:lnTo>
                  <a:pt x="45" y="137"/>
                </a:lnTo>
                <a:lnTo>
                  <a:pt x="45" y="137"/>
                </a:lnTo>
                <a:lnTo>
                  <a:pt x="45" y="137"/>
                </a:lnTo>
                <a:lnTo>
                  <a:pt x="45" y="137"/>
                </a:lnTo>
                <a:lnTo>
                  <a:pt x="45" y="137"/>
                </a:lnTo>
                <a:lnTo>
                  <a:pt x="46" y="137"/>
                </a:lnTo>
                <a:lnTo>
                  <a:pt x="46" y="137"/>
                </a:lnTo>
                <a:lnTo>
                  <a:pt x="46" y="137"/>
                </a:lnTo>
                <a:lnTo>
                  <a:pt x="46" y="137"/>
                </a:lnTo>
                <a:lnTo>
                  <a:pt x="46" y="137"/>
                </a:lnTo>
                <a:lnTo>
                  <a:pt x="48" y="137"/>
                </a:lnTo>
                <a:lnTo>
                  <a:pt x="48" y="137"/>
                </a:lnTo>
                <a:lnTo>
                  <a:pt x="48" y="137"/>
                </a:lnTo>
                <a:lnTo>
                  <a:pt x="48" y="137"/>
                </a:lnTo>
                <a:lnTo>
                  <a:pt x="48" y="137"/>
                </a:lnTo>
                <a:lnTo>
                  <a:pt x="49" y="137"/>
                </a:lnTo>
                <a:lnTo>
                  <a:pt x="49" y="137"/>
                </a:lnTo>
                <a:lnTo>
                  <a:pt x="49" y="137"/>
                </a:lnTo>
                <a:lnTo>
                  <a:pt x="49" y="137"/>
                </a:lnTo>
                <a:lnTo>
                  <a:pt x="49" y="138"/>
                </a:lnTo>
                <a:lnTo>
                  <a:pt x="50" y="138"/>
                </a:lnTo>
                <a:lnTo>
                  <a:pt x="50" y="138"/>
                </a:lnTo>
                <a:lnTo>
                  <a:pt x="50" y="138"/>
                </a:lnTo>
                <a:lnTo>
                  <a:pt x="50" y="138"/>
                </a:lnTo>
                <a:lnTo>
                  <a:pt x="50" y="138"/>
                </a:lnTo>
                <a:lnTo>
                  <a:pt x="51" y="138"/>
                </a:lnTo>
                <a:lnTo>
                  <a:pt x="51" y="138"/>
                </a:lnTo>
                <a:lnTo>
                  <a:pt x="51" y="138"/>
                </a:lnTo>
                <a:lnTo>
                  <a:pt x="51" y="138"/>
                </a:lnTo>
                <a:lnTo>
                  <a:pt x="51" y="138"/>
                </a:lnTo>
                <a:lnTo>
                  <a:pt x="52" y="138"/>
                </a:lnTo>
                <a:lnTo>
                  <a:pt x="52" y="138"/>
                </a:lnTo>
                <a:lnTo>
                  <a:pt x="52" y="138"/>
                </a:lnTo>
                <a:lnTo>
                  <a:pt x="52" y="138"/>
                </a:lnTo>
                <a:lnTo>
                  <a:pt x="52" y="139"/>
                </a:lnTo>
                <a:lnTo>
                  <a:pt x="52" y="139"/>
                </a:lnTo>
                <a:lnTo>
                  <a:pt x="53" y="139"/>
                </a:lnTo>
                <a:lnTo>
                  <a:pt x="53" y="139"/>
                </a:lnTo>
                <a:lnTo>
                  <a:pt x="53" y="139"/>
                </a:lnTo>
                <a:lnTo>
                  <a:pt x="53" y="139"/>
                </a:lnTo>
                <a:lnTo>
                  <a:pt x="53" y="139"/>
                </a:lnTo>
                <a:lnTo>
                  <a:pt x="54" y="139"/>
                </a:lnTo>
                <a:lnTo>
                  <a:pt x="54" y="139"/>
                </a:lnTo>
                <a:lnTo>
                  <a:pt x="54" y="139"/>
                </a:lnTo>
                <a:lnTo>
                  <a:pt x="54" y="139"/>
                </a:lnTo>
                <a:lnTo>
                  <a:pt x="54" y="139"/>
                </a:lnTo>
                <a:lnTo>
                  <a:pt x="55" y="140"/>
                </a:lnTo>
                <a:lnTo>
                  <a:pt x="55" y="140"/>
                </a:lnTo>
                <a:lnTo>
                  <a:pt x="55" y="140"/>
                </a:lnTo>
                <a:lnTo>
                  <a:pt x="55" y="140"/>
                </a:lnTo>
                <a:lnTo>
                  <a:pt x="55" y="140"/>
                </a:lnTo>
                <a:lnTo>
                  <a:pt x="55" y="140"/>
                </a:lnTo>
                <a:lnTo>
                  <a:pt x="57" y="140"/>
                </a:lnTo>
                <a:lnTo>
                  <a:pt x="57" y="140"/>
                </a:lnTo>
                <a:lnTo>
                  <a:pt x="57" y="140"/>
                </a:lnTo>
                <a:lnTo>
                  <a:pt x="57" y="140"/>
                </a:lnTo>
                <a:lnTo>
                  <a:pt x="57" y="140"/>
                </a:lnTo>
                <a:lnTo>
                  <a:pt x="57" y="141"/>
                </a:lnTo>
                <a:lnTo>
                  <a:pt x="58" y="141"/>
                </a:lnTo>
                <a:lnTo>
                  <a:pt x="58" y="141"/>
                </a:lnTo>
                <a:lnTo>
                  <a:pt x="58" y="141"/>
                </a:lnTo>
                <a:lnTo>
                  <a:pt x="58" y="141"/>
                </a:lnTo>
                <a:lnTo>
                  <a:pt x="58" y="141"/>
                </a:lnTo>
                <a:lnTo>
                  <a:pt x="59" y="141"/>
                </a:lnTo>
                <a:lnTo>
                  <a:pt x="59" y="141"/>
                </a:lnTo>
                <a:lnTo>
                  <a:pt x="59" y="141"/>
                </a:lnTo>
                <a:lnTo>
                  <a:pt x="59" y="142"/>
                </a:lnTo>
                <a:lnTo>
                  <a:pt x="59" y="142"/>
                </a:lnTo>
                <a:lnTo>
                  <a:pt x="59" y="142"/>
                </a:lnTo>
                <a:lnTo>
                  <a:pt x="60" y="142"/>
                </a:lnTo>
                <a:lnTo>
                  <a:pt x="60" y="142"/>
                </a:lnTo>
                <a:lnTo>
                  <a:pt x="60" y="142"/>
                </a:lnTo>
                <a:lnTo>
                  <a:pt x="60" y="142"/>
                </a:lnTo>
                <a:lnTo>
                  <a:pt x="60" y="142"/>
                </a:lnTo>
                <a:lnTo>
                  <a:pt x="60" y="142"/>
                </a:lnTo>
                <a:lnTo>
                  <a:pt x="61" y="143"/>
                </a:lnTo>
                <a:lnTo>
                  <a:pt x="61" y="143"/>
                </a:lnTo>
                <a:lnTo>
                  <a:pt x="61" y="143"/>
                </a:lnTo>
                <a:lnTo>
                  <a:pt x="61" y="143"/>
                </a:lnTo>
                <a:lnTo>
                  <a:pt x="61" y="143"/>
                </a:lnTo>
                <a:lnTo>
                  <a:pt x="61" y="143"/>
                </a:lnTo>
                <a:lnTo>
                  <a:pt x="61" y="143"/>
                </a:lnTo>
                <a:lnTo>
                  <a:pt x="62" y="143"/>
                </a:lnTo>
                <a:lnTo>
                  <a:pt x="62" y="144"/>
                </a:lnTo>
                <a:lnTo>
                  <a:pt x="62" y="144"/>
                </a:lnTo>
                <a:lnTo>
                  <a:pt x="62" y="144"/>
                </a:lnTo>
                <a:lnTo>
                  <a:pt x="62" y="144"/>
                </a:lnTo>
                <a:lnTo>
                  <a:pt x="62" y="144"/>
                </a:lnTo>
                <a:lnTo>
                  <a:pt x="63" y="144"/>
                </a:lnTo>
                <a:lnTo>
                  <a:pt x="63" y="144"/>
                </a:lnTo>
                <a:lnTo>
                  <a:pt x="63" y="144"/>
                </a:lnTo>
                <a:lnTo>
                  <a:pt x="63" y="146"/>
                </a:lnTo>
                <a:lnTo>
                  <a:pt x="63" y="146"/>
                </a:lnTo>
                <a:lnTo>
                  <a:pt x="63" y="146"/>
                </a:lnTo>
                <a:lnTo>
                  <a:pt x="63" y="146"/>
                </a:lnTo>
                <a:lnTo>
                  <a:pt x="64" y="146"/>
                </a:lnTo>
                <a:lnTo>
                  <a:pt x="64" y="146"/>
                </a:lnTo>
                <a:lnTo>
                  <a:pt x="64" y="146"/>
                </a:lnTo>
                <a:lnTo>
                  <a:pt x="64" y="147"/>
                </a:lnTo>
                <a:lnTo>
                  <a:pt x="64" y="147"/>
                </a:lnTo>
                <a:lnTo>
                  <a:pt x="64" y="147"/>
                </a:lnTo>
                <a:lnTo>
                  <a:pt x="64" y="147"/>
                </a:lnTo>
                <a:lnTo>
                  <a:pt x="66" y="147"/>
                </a:lnTo>
                <a:lnTo>
                  <a:pt x="66" y="147"/>
                </a:lnTo>
                <a:lnTo>
                  <a:pt x="66" y="147"/>
                </a:lnTo>
                <a:lnTo>
                  <a:pt x="66" y="148"/>
                </a:lnTo>
                <a:lnTo>
                  <a:pt x="66" y="148"/>
                </a:lnTo>
                <a:lnTo>
                  <a:pt x="66" y="148"/>
                </a:lnTo>
                <a:lnTo>
                  <a:pt x="66" y="148"/>
                </a:lnTo>
                <a:lnTo>
                  <a:pt x="67" y="148"/>
                </a:lnTo>
                <a:lnTo>
                  <a:pt x="67" y="148"/>
                </a:lnTo>
                <a:lnTo>
                  <a:pt x="67" y="148"/>
                </a:lnTo>
                <a:lnTo>
                  <a:pt x="67" y="149"/>
                </a:lnTo>
                <a:lnTo>
                  <a:pt x="67" y="149"/>
                </a:lnTo>
                <a:lnTo>
                  <a:pt x="67" y="149"/>
                </a:lnTo>
                <a:lnTo>
                  <a:pt x="67" y="149"/>
                </a:lnTo>
                <a:lnTo>
                  <a:pt x="67" y="149"/>
                </a:lnTo>
                <a:lnTo>
                  <a:pt x="68" y="149"/>
                </a:lnTo>
                <a:lnTo>
                  <a:pt x="68" y="149"/>
                </a:lnTo>
                <a:lnTo>
                  <a:pt x="68" y="150"/>
                </a:lnTo>
                <a:lnTo>
                  <a:pt x="68" y="150"/>
                </a:lnTo>
                <a:lnTo>
                  <a:pt x="68" y="150"/>
                </a:lnTo>
                <a:lnTo>
                  <a:pt x="68" y="150"/>
                </a:lnTo>
                <a:lnTo>
                  <a:pt x="68" y="150"/>
                </a:lnTo>
                <a:lnTo>
                  <a:pt x="68" y="150"/>
                </a:lnTo>
                <a:lnTo>
                  <a:pt x="69" y="151"/>
                </a:lnTo>
                <a:lnTo>
                  <a:pt x="69" y="151"/>
                </a:lnTo>
                <a:lnTo>
                  <a:pt x="69" y="151"/>
                </a:lnTo>
                <a:lnTo>
                  <a:pt x="69" y="151"/>
                </a:lnTo>
                <a:lnTo>
                  <a:pt x="69" y="151"/>
                </a:lnTo>
                <a:lnTo>
                  <a:pt x="69" y="151"/>
                </a:lnTo>
                <a:lnTo>
                  <a:pt x="69" y="152"/>
                </a:lnTo>
                <a:lnTo>
                  <a:pt x="69" y="152"/>
                </a:lnTo>
                <a:lnTo>
                  <a:pt x="70" y="152"/>
                </a:lnTo>
                <a:lnTo>
                  <a:pt x="70" y="152"/>
                </a:lnTo>
                <a:lnTo>
                  <a:pt x="70" y="152"/>
                </a:lnTo>
                <a:lnTo>
                  <a:pt x="70" y="152"/>
                </a:lnTo>
                <a:lnTo>
                  <a:pt x="70" y="153"/>
                </a:lnTo>
                <a:lnTo>
                  <a:pt x="70" y="153"/>
                </a:lnTo>
                <a:lnTo>
                  <a:pt x="70" y="153"/>
                </a:lnTo>
                <a:lnTo>
                  <a:pt x="70" y="153"/>
                </a:lnTo>
                <a:lnTo>
                  <a:pt x="70" y="153"/>
                </a:lnTo>
                <a:lnTo>
                  <a:pt x="71" y="153"/>
                </a:lnTo>
                <a:lnTo>
                  <a:pt x="71" y="155"/>
                </a:lnTo>
                <a:lnTo>
                  <a:pt x="71" y="155"/>
                </a:lnTo>
                <a:lnTo>
                  <a:pt x="71" y="155"/>
                </a:lnTo>
                <a:lnTo>
                  <a:pt x="71" y="155"/>
                </a:lnTo>
                <a:lnTo>
                  <a:pt x="71" y="155"/>
                </a:lnTo>
                <a:lnTo>
                  <a:pt x="71" y="155"/>
                </a:lnTo>
                <a:lnTo>
                  <a:pt x="71" y="156"/>
                </a:lnTo>
                <a:lnTo>
                  <a:pt x="71" y="156"/>
                </a:lnTo>
                <a:lnTo>
                  <a:pt x="71" y="156"/>
                </a:lnTo>
                <a:lnTo>
                  <a:pt x="72" y="156"/>
                </a:lnTo>
                <a:lnTo>
                  <a:pt x="72" y="156"/>
                </a:lnTo>
                <a:lnTo>
                  <a:pt x="72" y="157"/>
                </a:lnTo>
                <a:lnTo>
                  <a:pt x="72" y="157"/>
                </a:lnTo>
                <a:lnTo>
                  <a:pt x="72" y="157"/>
                </a:lnTo>
                <a:lnTo>
                  <a:pt x="72" y="157"/>
                </a:lnTo>
                <a:lnTo>
                  <a:pt x="72" y="157"/>
                </a:lnTo>
                <a:lnTo>
                  <a:pt x="72" y="157"/>
                </a:lnTo>
                <a:lnTo>
                  <a:pt x="72" y="158"/>
                </a:lnTo>
                <a:lnTo>
                  <a:pt x="72" y="158"/>
                </a:lnTo>
                <a:lnTo>
                  <a:pt x="72" y="158"/>
                </a:lnTo>
                <a:lnTo>
                  <a:pt x="72" y="158"/>
                </a:lnTo>
                <a:lnTo>
                  <a:pt x="73" y="158"/>
                </a:lnTo>
                <a:lnTo>
                  <a:pt x="73" y="159"/>
                </a:lnTo>
                <a:lnTo>
                  <a:pt x="73" y="159"/>
                </a:lnTo>
                <a:lnTo>
                  <a:pt x="73" y="159"/>
                </a:lnTo>
                <a:lnTo>
                  <a:pt x="73" y="159"/>
                </a:lnTo>
                <a:lnTo>
                  <a:pt x="73" y="159"/>
                </a:lnTo>
                <a:lnTo>
                  <a:pt x="73" y="159"/>
                </a:lnTo>
                <a:lnTo>
                  <a:pt x="73" y="160"/>
                </a:lnTo>
                <a:lnTo>
                  <a:pt x="73" y="160"/>
                </a:lnTo>
                <a:lnTo>
                  <a:pt x="73" y="160"/>
                </a:lnTo>
                <a:lnTo>
                  <a:pt x="73" y="160"/>
                </a:lnTo>
                <a:lnTo>
                  <a:pt x="73" y="160"/>
                </a:lnTo>
                <a:lnTo>
                  <a:pt x="73" y="161"/>
                </a:lnTo>
                <a:lnTo>
                  <a:pt x="75" y="161"/>
                </a:lnTo>
                <a:lnTo>
                  <a:pt x="75" y="161"/>
                </a:lnTo>
                <a:lnTo>
                  <a:pt x="75" y="161"/>
                </a:lnTo>
                <a:lnTo>
                  <a:pt x="75" y="161"/>
                </a:lnTo>
                <a:lnTo>
                  <a:pt x="75" y="162"/>
                </a:lnTo>
                <a:lnTo>
                  <a:pt x="75" y="162"/>
                </a:lnTo>
                <a:lnTo>
                  <a:pt x="75" y="162"/>
                </a:lnTo>
                <a:lnTo>
                  <a:pt x="75" y="162"/>
                </a:lnTo>
                <a:lnTo>
                  <a:pt x="75" y="162"/>
                </a:lnTo>
                <a:lnTo>
                  <a:pt x="75" y="164"/>
                </a:lnTo>
                <a:lnTo>
                  <a:pt x="75" y="164"/>
                </a:lnTo>
                <a:lnTo>
                  <a:pt x="75" y="164"/>
                </a:lnTo>
                <a:lnTo>
                  <a:pt x="75" y="164"/>
                </a:lnTo>
                <a:lnTo>
                  <a:pt x="75" y="164"/>
                </a:lnTo>
                <a:lnTo>
                  <a:pt x="75" y="165"/>
                </a:lnTo>
                <a:lnTo>
                  <a:pt x="75" y="165"/>
                </a:lnTo>
                <a:lnTo>
                  <a:pt x="75" y="165"/>
                </a:lnTo>
                <a:lnTo>
                  <a:pt x="75" y="165"/>
                </a:lnTo>
                <a:lnTo>
                  <a:pt x="75" y="165"/>
                </a:lnTo>
                <a:lnTo>
                  <a:pt x="76" y="166"/>
                </a:lnTo>
                <a:lnTo>
                  <a:pt x="76" y="166"/>
                </a:lnTo>
                <a:lnTo>
                  <a:pt x="76" y="166"/>
                </a:lnTo>
                <a:lnTo>
                  <a:pt x="76" y="166"/>
                </a:lnTo>
                <a:lnTo>
                  <a:pt x="76" y="166"/>
                </a:lnTo>
                <a:lnTo>
                  <a:pt x="76" y="167"/>
                </a:lnTo>
                <a:lnTo>
                  <a:pt x="76" y="167"/>
                </a:lnTo>
                <a:lnTo>
                  <a:pt x="76" y="167"/>
                </a:lnTo>
                <a:lnTo>
                  <a:pt x="76" y="167"/>
                </a:lnTo>
                <a:lnTo>
                  <a:pt x="76" y="167"/>
                </a:lnTo>
                <a:lnTo>
                  <a:pt x="76" y="168"/>
                </a:lnTo>
                <a:lnTo>
                  <a:pt x="76" y="168"/>
                </a:lnTo>
                <a:lnTo>
                  <a:pt x="76" y="168"/>
                </a:lnTo>
                <a:lnTo>
                  <a:pt x="76" y="168"/>
                </a:lnTo>
                <a:lnTo>
                  <a:pt x="76" y="168"/>
                </a:lnTo>
                <a:lnTo>
                  <a:pt x="76" y="169"/>
                </a:lnTo>
                <a:lnTo>
                  <a:pt x="76" y="169"/>
                </a:lnTo>
                <a:lnTo>
                  <a:pt x="76" y="169"/>
                </a:lnTo>
                <a:lnTo>
                  <a:pt x="76" y="169"/>
                </a:lnTo>
                <a:lnTo>
                  <a:pt x="76" y="170"/>
                </a:lnTo>
                <a:lnTo>
                  <a:pt x="76" y="170"/>
                </a:lnTo>
                <a:lnTo>
                  <a:pt x="76" y="170"/>
                </a:lnTo>
                <a:lnTo>
                  <a:pt x="76" y="170"/>
                </a:lnTo>
                <a:lnTo>
                  <a:pt x="76" y="170"/>
                </a:lnTo>
                <a:lnTo>
                  <a:pt x="76" y="171"/>
                </a:lnTo>
                <a:lnTo>
                  <a:pt x="76" y="171"/>
                </a:lnTo>
                <a:lnTo>
                  <a:pt x="76" y="171"/>
                </a:lnTo>
                <a:lnTo>
                  <a:pt x="76" y="171"/>
                </a:lnTo>
                <a:lnTo>
                  <a:pt x="76" y="171"/>
                </a:lnTo>
                <a:lnTo>
                  <a:pt x="76" y="173"/>
                </a:lnTo>
                <a:lnTo>
                  <a:pt x="76" y="173"/>
                </a:lnTo>
                <a:lnTo>
                  <a:pt x="76" y="173"/>
                </a:lnTo>
                <a:lnTo>
                  <a:pt x="76" y="173"/>
                </a:lnTo>
                <a:lnTo>
                  <a:pt x="76" y="174"/>
                </a:lnTo>
                <a:lnTo>
                  <a:pt x="76" y="174"/>
                </a:lnTo>
                <a:close/>
                <a:moveTo>
                  <a:pt x="79" y="177"/>
                </a:moveTo>
                <a:lnTo>
                  <a:pt x="79" y="169"/>
                </a:lnTo>
                <a:lnTo>
                  <a:pt x="95" y="169"/>
                </a:lnTo>
                <a:lnTo>
                  <a:pt x="95" y="177"/>
                </a:lnTo>
                <a:lnTo>
                  <a:pt x="79" y="177"/>
                </a:lnTo>
                <a:lnTo>
                  <a:pt x="79" y="177"/>
                </a:lnTo>
                <a:close/>
                <a:moveTo>
                  <a:pt x="126" y="177"/>
                </a:moveTo>
                <a:lnTo>
                  <a:pt x="126" y="169"/>
                </a:lnTo>
                <a:lnTo>
                  <a:pt x="142" y="169"/>
                </a:lnTo>
                <a:lnTo>
                  <a:pt x="142" y="177"/>
                </a:lnTo>
                <a:lnTo>
                  <a:pt x="126" y="177"/>
                </a:lnTo>
                <a:lnTo>
                  <a:pt x="126" y="177"/>
                </a:lnTo>
                <a:close/>
                <a:moveTo>
                  <a:pt x="173" y="177"/>
                </a:moveTo>
                <a:lnTo>
                  <a:pt x="173" y="169"/>
                </a:lnTo>
                <a:lnTo>
                  <a:pt x="188" y="169"/>
                </a:lnTo>
                <a:lnTo>
                  <a:pt x="188" y="177"/>
                </a:lnTo>
                <a:lnTo>
                  <a:pt x="173" y="177"/>
                </a:lnTo>
                <a:lnTo>
                  <a:pt x="173" y="177"/>
                </a:lnTo>
                <a:close/>
                <a:moveTo>
                  <a:pt x="220" y="177"/>
                </a:moveTo>
                <a:lnTo>
                  <a:pt x="220" y="169"/>
                </a:lnTo>
                <a:lnTo>
                  <a:pt x="236" y="169"/>
                </a:lnTo>
                <a:lnTo>
                  <a:pt x="236" y="177"/>
                </a:lnTo>
                <a:lnTo>
                  <a:pt x="220" y="177"/>
                </a:lnTo>
                <a:lnTo>
                  <a:pt x="220" y="177"/>
                </a:lnTo>
                <a:close/>
                <a:moveTo>
                  <a:pt x="267" y="177"/>
                </a:moveTo>
                <a:lnTo>
                  <a:pt x="267" y="169"/>
                </a:lnTo>
                <a:lnTo>
                  <a:pt x="283" y="169"/>
                </a:lnTo>
                <a:lnTo>
                  <a:pt x="283" y="177"/>
                </a:lnTo>
                <a:lnTo>
                  <a:pt x="267" y="177"/>
                </a:lnTo>
                <a:lnTo>
                  <a:pt x="267" y="177"/>
                </a:lnTo>
                <a:close/>
                <a:moveTo>
                  <a:pt x="314" y="177"/>
                </a:moveTo>
                <a:lnTo>
                  <a:pt x="314" y="169"/>
                </a:lnTo>
                <a:lnTo>
                  <a:pt x="330" y="169"/>
                </a:lnTo>
                <a:lnTo>
                  <a:pt x="330" y="177"/>
                </a:lnTo>
                <a:lnTo>
                  <a:pt x="314" y="177"/>
                </a:lnTo>
                <a:lnTo>
                  <a:pt x="314" y="177"/>
                </a:lnTo>
                <a:close/>
                <a:moveTo>
                  <a:pt x="362" y="177"/>
                </a:moveTo>
                <a:lnTo>
                  <a:pt x="362" y="169"/>
                </a:lnTo>
                <a:lnTo>
                  <a:pt x="377" y="169"/>
                </a:lnTo>
                <a:lnTo>
                  <a:pt x="377" y="177"/>
                </a:lnTo>
                <a:lnTo>
                  <a:pt x="362" y="177"/>
                </a:lnTo>
                <a:lnTo>
                  <a:pt x="362" y="177"/>
                </a:lnTo>
                <a:close/>
                <a:moveTo>
                  <a:pt x="409" y="177"/>
                </a:moveTo>
                <a:lnTo>
                  <a:pt x="409" y="169"/>
                </a:lnTo>
                <a:lnTo>
                  <a:pt x="425" y="169"/>
                </a:lnTo>
                <a:lnTo>
                  <a:pt x="425" y="177"/>
                </a:lnTo>
                <a:lnTo>
                  <a:pt x="409" y="177"/>
                </a:lnTo>
                <a:lnTo>
                  <a:pt x="409" y="177"/>
                </a:lnTo>
                <a:close/>
                <a:moveTo>
                  <a:pt x="456" y="177"/>
                </a:moveTo>
                <a:lnTo>
                  <a:pt x="456" y="169"/>
                </a:lnTo>
                <a:lnTo>
                  <a:pt x="472" y="169"/>
                </a:lnTo>
                <a:lnTo>
                  <a:pt x="472" y="177"/>
                </a:lnTo>
                <a:lnTo>
                  <a:pt x="456" y="177"/>
                </a:lnTo>
                <a:lnTo>
                  <a:pt x="456" y="177"/>
                </a:lnTo>
                <a:close/>
                <a:moveTo>
                  <a:pt x="502" y="177"/>
                </a:moveTo>
                <a:lnTo>
                  <a:pt x="502" y="169"/>
                </a:lnTo>
                <a:lnTo>
                  <a:pt x="510" y="169"/>
                </a:lnTo>
                <a:lnTo>
                  <a:pt x="510" y="169"/>
                </a:lnTo>
                <a:lnTo>
                  <a:pt x="511" y="169"/>
                </a:lnTo>
                <a:lnTo>
                  <a:pt x="519" y="171"/>
                </a:lnTo>
                <a:lnTo>
                  <a:pt x="518" y="178"/>
                </a:lnTo>
                <a:lnTo>
                  <a:pt x="510" y="177"/>
                </a:lnTo>
                <a:lnTo>
                  <a:pt x="502" y="177"/>
                </a:lnTo>
                <a:lnTo>
                  <a:pt x="502" y="177"/>
                </a:lnTo>
                <a:close/>
                <a:moveTo>
                  <a:pt x="534" y="158"/>
                </a:moveTo>
                <a:lnTo>
                  <a:pt x="526" y="158"/>
                </a:lnTo>
                <a:lnTo>
                  <a:pt x="526" y="142"/>
                </a:lnTo>
                <a:lnTo>
                  <a:pt x="534" y="142"/>
                </a:lnTo>
                <a:lnTo>
                  <a:pt x="534" y="158"/>
                </a:lnTo>
                <a:lnTo>
                  <a:pt x="534" y="158"/>
                </a:lnTo>
                <a:close/>
                <a:moveTo>
                  <a:pt x="534" y="111"/>
                </a:moveTo>
                <a:lnTo>
                  <a:pt x="526" y="111"/>
                </a:lnTo>
                <a:lnTo>
                  <a:pt x="526" y="95"/>
                </a:lnTo>
                <a:lnTo>
                  <a:pt x="534" y="95"/>
                </a:lnTo>
                <a:lnTo>
                  <a:pt x="534" y="111"/>
                </a:lnTo>
                <a:lnTo>
                  <a:pt x="534" y="111"/>
                </a:lnTo>
                <a:close/>
                <a:moveTo>
                  <a:pt x="534" y="63"/>
                </a:moveTo>
                <a:lnTo>
                  <a:pt x="526" y="63"/>
                </a:lnTo>
                <a:lnTo>
                  <a:pt x="526" y="48"/>
                </a:lnTo>
                <a:lnTo>
                  <a:pt x="534" y="48"/>
                </a:lnTo>
                <a:lnTo>
                  <a:pt x="534" y="63"/>
                </a:lnTo>
                <a:close/>
              </a:path>
            </a:pathLst>
          </a:custGeom>
          <a:solidFill>
            <a:srgbClr val="8497B0"/>
          </a:solidFill>
          <a:ln>
            <a:solidFill>
              <a:schemeClr val="accent3">
                <a:lumMod val="40000"/>
                <a:lumOff val="60000"/>
              </a:schemeClr>
            </a:solidFill>
          </a:ln>
        </p:spPr>
        <p:txBody>
          <a:bodyPr vert="horz" wrap="square" lIns="91440" tIns="45720" rIns="91440" bIns="45720" numCol="1" anchor="t" anchorCtr="0" compatLnSpc="1">
            <a:prstTxWarp prst="textNoShape">
              <a:avLst/>
            </a:prstTxWarp>
          </a:bodyPr>
          <a:lstStyle/>
          <a:p>
            <a:endParaRPr lang="en-US"/>
          </a:p>
        </p:txBody>
      </p:sp>
      <p:grpSp>
        <p:nvGrpSpPr>
          <p:cNvPr id="5" name="Group 4">
            <a:extLst>
              <a:ext uri="{FF2B5EF4-FFF2-40B4-BE49-F238E27FC236}">
                <a16:creationId xmlns:a16="http://schemas.microsoft.com/office/drawing/2014/main" id="{1217B37F-FDE2-4F0B-B028-5A08229530D8}"/>
              </a:ext>
            </a:extLst>
          </p:cNvPr>
          <p:cNvGrpSpPr/>
          <p:nvPr/>
        </p:nvGrpSpPr>
        <p:grpSpPr>
          <a:xfrm>
            <a:off x="184596" y="1360825"/>
            <a:ext cx="3793600" cy="4503169"/>
            <a:chOff x="162685" y="1360825"/>
            <a:chExt cx="3793600" cy="4503169"/>
          </a:xfrm>
        </p:grpSpPr>
        <p:sp>
          <p:nvSpPr>
            <p:cNvPr id="139" name="TextBox 138">
              <a:extLst>
                <a:ext uri="{FF2B5EF4-FFF2-40B4-BE49-F238E27FC236}">
                  <a16:creationId xmlns:a16="http://schemas.microsoft.com/office/drawing/2014/main" id="{19EA79C5-E7C0-424F-92A5-677D573C3559}"/>
                </a:ext>
              </a:extLst>
            </p:cNvPr>
            <p:cNvSpPr txBox="1"/>
            <p:nvPr/>
          </p:nvSpPr>
          <p:spPr>
            <a:xfrm>
              <a:off x="790575" y="5648550"/>
              <a:ext cx="2132956" cy="215444"/>
            </a:xfrm>
            <a:prstGeom prst="rect">
              <a:avLst/>
            </a:prstGeom>
            <a:noFill/>
          </p:spPr>
          <p:txBody>
            <a:bodyPr wrap="square" lIns="0" tIns="0" rIns="0" bIns="0" rtlCol="0" anchor="ctr">
              <a:spAutoFit/>
            </a:bodyPr>
            <a:lstStyle/>
            <a:p>
              <a:r>
                <a:rPr lang="uz-Cyrl-UZ" sz="1400" kern="1200" dirty="0">
                  <a:solidFill>
                    <a:schemeClr val="dk1"/>
                  </a:solidFill>
                  <a:effectLst/>
                  <a:latin typeface="+mn-lt"/>
                  <a:ea typeface="+mn-ea"/>
                  <a:cs typeface="+mn-cs"/>
                </a:rPr>
                <a:t>Академик </a:t>
              </a:r>
              <a:r>
                <a:rPr lang="uz-Cyrl-UZ" sz="1400" kern="1200" dirty="0" smtClean="0">
                  <a:solidFill>
                    <a:schemeClr val="dk1"/>
                  </a:solidFill>
                  <a:effectLst/>
                  <a:latin typeface="+mn-lt"/>
                  <a:ea typeface="+mn-ea"/>
                  <a:cs typeface="+mn-cs"/>
                </a:rPr>
                <a:t>ўзлаштириш</a:t>
              </a:r>
              <a:r>
                <a:rPr lang="uz-Cyrl-UZ" sz="1400" dirty="0">
                  <a:solidFill>
                    <a:schemeClr val="dk1"/>
                  </a:solidFill>
                </a:rPr>
                <a:t>и</a:t>
              </a:r>
              <a:r>
                <a:rPr lang="uz-Cyrl-UZ" sz="1400" kern="1200" dirty="0" smtClean="0">
                  <a:solidFill>
                    <a:schemeClr val="dk1"/>
                  </a:solidFill>
                  <a:effectLst/>
                  <a:latin typeface="+mn-lt"/>
                  <a:ea typeface="+mn-ea"/>
                  <a:cs typeface="+mn-cs"/>
                </a:rPr>
                <a:t> </a:t>
              </a:r>
              <a:endParaRPr lang="ru-RU" sz="1400" dirty="0"/>
            </a:p>
          </p:txBody>
        </p:sp>
        <p:sp>
          <p:nvSpPr>
            <p:cNvPr id="140" name="TextBox 139">
              <a:extLst>
                <a:ext uri="{FF2B5EF4-FFF2-40B4-BE49-F238E27FC236}">
                  <a16:creationId xmlns:a16="http://schemas.microsoft.com/office/drawing/2014/main" id="{94515BC9-141E-41C8-AFB1-85B48AD59FD3}"/>
                </a:ext>
              </a:extLst>
            </p:cNvPr>
            <p:cNvSpPr txBox="1"/>
            <p:nvPr/>
          </p:nvSpPr>
          <p:spPr>
            <a:xfrm>
              <a:off x="162685" y="3890854"/>
              <a:ext cx="2349282" cy="646331"/>
            </a:xfrm>
            <a:prstGeom prst="rect">
              <a:avLst/>
            </a:prstGeom>
            <a:noFill/>
          </p:spPr>
          <p:txBody>
            <a:bodyPr wrap="square" lIns="0" tIns="0" rIns="0" bIns="0" rtlCol="0" anchor="ctr">
              <a:spAutoFit/>
            </a:bodyPr>
            <a:lstStyle/>
            <a:p>
              <a:pPr algn="ctr"/>
              <a:r>
                <a:rPr lang="ru-RU" sz="1400" dirty="0" err="1" smtClean="0"/>
                <a:t>Талабаларнинг</a:t>
              </a:r>
              <a:r>
                <a:rPr lang="ru-RU" sz="1400" dirty="0" smtClean="0"/>
                <a:t> “</a:t>
              </a:r>
              <a:r>
                <a:rPr lang="ru-RU" sz="1400" dirty="0" err="1" smtClean="0"/>
                <a:t>Маърифат</a:t>
              </a:r>
              <a:r>
                <a:rPr lang="ru-RU" sz="1400" dirty="0" smtClean="0"/>
                <a:t> </a:t>
              </a:r>
              <a:r>
                <a:rPr lang="ru-RU" sz="1400" dirty="0" err="1" smtClean="0"/>
                <a:t>дарслари</a:t>
              </a:r>
              <a:r>
                <a:rPr lang="en-US" sz="1400" dirty="0" smtClean="0"/>
                <a:t>”</a:t>
              </a:r>
              <a:r>
                <a:rPr lang="ru-RU" sz="1400" dirty="0" smtClean="0"/>
                <a:t> </a:t>
              </a:r>
              <a:r>
                <a:rPr lang="ru-RU" sz="1400" dirty="0" err="1" smtClean="0"/>
                <a:t>даги</a:t>
              </a:r>
              <a:r>
                <a:rPr lang="ru-RU" sz="1400" dirty="0" smtClean="0"/>
                <a:t> </a:t>
              </a:r>
              <a:r>
                <a:rPr lang="ru-RU" sz="1400" dirty="0" err="1" smtClean="0"/>
                <a:t>фаол</a:t>
              </a:r>
              <a:r>
                <a:rPr lang="ru-RU" sz="1400" dirty="0" smtClean="0"/>
                <a:t> </a:t>
              </a:r>
              <a:r>
                <a:rPr lang="ru-RU" sz="1400" dirty="0" err="1" smtClean="0"/>
                <a:t>иштироки</a:t>
              </a:r>
              <a:endParaRPr lang="ru-RU" sz="1400" dirty="0"/>
            </a:p>
          </p:txBody>
        </p:sp>
        <p:sp>
          <p:nvSpPr>
            <p:cNvPr id="141" name="TextBox 140">
              <a:extLst>
                <a:ext uri="{FF2B5EF4-FFF2-40B4-BE49-F238E27FC236}">
                  <a16:creationId xmlns:a16="http://schemas.microsoft.com/office/drawing/2014/main" id="{05F0B10D-B6D6-4B5C-98A9-DBCE1D832139}"/>
                </a:ext>
              </a:extLst>
            </p:cNvPr>
            <p:cNvSpPr txBox="1"/>
            <p:nvPr/>
          </p:nvSpPr>
          <p:spPr>
            <a:xfrm>
              <a:off x="219389" y="2440906"/>
              <a:ext cx="2616032" cy="646331"/>
            </a:xfrm>
            <a:prstGeom prst="rect">
              <a:avLst/>
            </a:prstGeom>
            <a:noFill/>
          </p:spPr>
          <p:txBody>
            <a:bodyPr wrap="square" lIns="0" tIns="0" rIns="0" bIns="0" rtlCol="0" anchor="ctr">
              <a:spAutoFit/>
            </a:bodyPr>
            <a:lstStyle/>
            <a:p>
              <a:pPr algn="ctr"/>
              <a:r>
                <a:rPr lang="ru-RU" sz="1400" dirty="0" err="1"/>
                <a:t>ОТМнинг</a:t>
              </a:r>
              <a:r>
                <a:rPr lang="ru-RU" sz="1400" dirty="0"/>
                <a:t> </a:t>
              </a:r>
              <a:r>
                <a:rPr lang="ru-RU" sz="1400" dirty="0" err="1"/>
                <a:t>ички</a:t>
              </a:r>
              <a:r>
                <a:rPr lang="ru-RU" sz="1400" dirty="0"/>
                <a:t> </a:t>
              </a:r>
              <a:r>
                <a:rPr lang="ru-RU" sz="1400" dirty="0" err="1"/>
                <a:t>тартиб</a:t>
              </a:r>
              <a:r>
                <a:rPr lang="ru-RU" sz="1400" dirty="0"/>
                <a:t> </a:t>
              </a:r>
              <a:r>
                <a:rPr lang="ru-RU" sz="1400" dirty="0" err="1"/>
                <a:t>қоидалари</a:t>
              </a:r>
              <a:r>
                <a:rPr lang="ru-RU" sz="1400" dirty="0"/>
                <a:t> </a:t>
              </a:r>
              <a:r>
                <a:rPr lang="ru-RU" sz="1400" dirty="0" err="1"/>
                <a:t>ва</a:t>
              </a:r>
              <a:r>
                <a:rPr lang="ru-RU" sz="1400" dirty="0"/>
                <a:t> </a:t>
              </a:r>
              <a:r>
                <a:rPr lang="ru-RU" sz="1400" dirty="0" err="1"/>
                <a:t>Ахлоқ-одоб</a:t>
              </a:r>
              <a:r>
                <a:rPr lang="ru-RU" sz="1400" dirty="0"/>
                <a:t> </a:t>
              </a:r>
              <a:r>
                <a:rPr lang="ru-RU" sz="1400" dirty="0" err="1"/>
                <a:t>кодексига</a:t>
              </a:r>
              <a:r>
                <a:rPr lang="ru-RU" sz="1400" dirty="0"/>
                <a:t> </a:t>
              </a:r>
              <a:r>
                <a:rPr lang="ru-RU" sz="1400" dirty="0" err="1"/>
                <a:t>қатъий</a:t>
              </a:r>
              <a:r>
                <a:rPr lang="ru-RU" sz="1400" dirty="0"/>
                <a:t> </a:t>
              </a:r>
              <a:r>
                <a:rPr lang="ru-RU" sz="1400" dirty="0" err="1"/>
                <a:t>риоя</a:t>
              </a:r>
              <a:r>
                <a:rPr lang="ru-RU" sz="1400" dirty="0"/>
                <a:t> </a:t>
              </a:r>
              <a:r>
                <a:rPr lang="ru-RU" sz="1400" dirty="0" err="1"/>
                <a:t>этиши</a:t>
              </a:r>
              <a:endParaRPr lang="ru-RU" sz="1400" dirty="0"/>
            </a:p>
          </p:txBody>
        </p:sp>
        <p:sp>
          <p:nvSpPr>
            <p:cNvPr id="142" name="TextBox 141">
              <a:extLst>
                <a:ext uri="{FF2B5EF4-FFF2-40B4-BE49-F238E27FC236}">
                  <a16:creationId xmlns:a16="http://schemas.microsoft.com/office/drawing/2014/main" id="{C177A938-A005-49D4-87F5-8904A8551E9D}"/>
                </a:ext>
              </a:extLst>
            </p:cNvPr>
            <p:cNvSpPr txBox="1"/>
            <p:nvPr/>
          </p:nvSpPr>
          <p:spPr>
            <a:xfrm>
              <a:off x="1019489" y="1360825"/>
              <a:ext cx="2936796" cy="276999"/>
            </a:xfrm>
            <a:prstGeom prst="rect">
              <a:avLst/>
            </a:prstGeom>
            <a:noFill/>
          </p:spPr>
          <p:txBody>
            <a:bodyPr wrap="square" lIns="0" tIns="0" rIns="0" bIns="0" rtlCol="0" anchor="ctr">
              <a:spAutoFit/>
            </a:bodyPr>
            <a:lstStyle/>
            <a:p>
              <a:r>
                <a:rPr lang="uz-Cyrl-UZ" dirty="0"/>
                <a:t>Китобхонлик маданияти</a:t>
              </a:r>
              <a:endParaRPr lang="ru-RU" sz="1400" dirty="0"/>
            </a:p>
          </p:txBody>
        </p:sp>
      </p:grpSp>
      <p:grpSp>
        <p:nvGrpSpPr>
          <p:cNvPr id="143" name="Group 142">
            <a:extLst>
              <a:ext uri="{FF2B5EF4-FFF2-40B4-BE49-F238E27FC236}">
                <a16:creationId xmlns:a16="http://schemas.microsoft.com/office/drawing/2014/main" id="{1E47F1A0-F46F-4AF9-8500-FFA91B327082}"/>
              </a:ext>
            </a:extLst>
          </p:cNvPr>
          <p:cNvGrpSpPr/>
          <p:nvPr/>
        </p:nvGrpSpPr>
        <p:grpSpPr>
          <a:xfrm flipH="1">
            <a:off x="5179702" y="791995"/>
            <a:ext cx="6955513" cy="5287444"/>
            <a:chOff x="379011" y="791995"/>
            <a:chExt cx="6611375" cy="5287444"/>
          </a:xfrm>
        </p:grpSpPr>
        <p:sp>
          <p:nvSpPr>
            <p:cNvPr id="144" name="TextBox 143">
              <a:extLst>
                <a:ext uri="{FF2B5EF4-FFF2-40B4-BE49-F238E27FC236}">
                  <a16:creationId xmlns:a16="http://schemas.microsoft.com/office/drawing/2014/main" id="{E1EBE70E-1C48-4838-842C-184244A1C963}"/>
                </a:ext>
              </a:extLst>
            </p:cNvPr>
            <p:cNvSpPr txBox="1"/>
            <p:nvPr/>
          </p:nvSpPr>
          <p:spPr>
            <a:xfrm>
              <a:off x="635367" y="5433108"/>
              <a:ext cx="2288167" cy="646331"/>
            </a:xfrm>
            <a:prstGeom prst="rect">
              <a:avLst/>
            </a:prstGeom>
            <a:noFill/>
          </p:spPr>
          <p:txBody>
            <a:bodyPr wrap="square" lIns="0" tIns="0" rIns="0" bIns="0" rtlCol="0" anchor="ctr">
              <a:spAutoFit/>
            </a:bodyPr>
            <a:lstStyle/>
            <a:p>
              <a:pPr algn="ctr"/>
              <a:r>
                <a:rPr lang="ru-RU" sz="1400" b="1" dirty="0" err="1" smtClean="0"/>
                <a:t>Маънавий-маърифий</a:t>
              </a:r>
              <a:r>
                <a:rPr lang="ru-RU" sz="1400" b="1" dirty="0" smtClean="0"/>
                <a:t> </a:t>
              </a:r>
              <a:r>
                <a:rPr lang="ru-RU" sz="1400" b="1" dirty="0" err="1" smtClean="0"/>
                <a:t>соҳага</a:t>
              </a:r>
              <a:r>
                <a:rPr lang="ru-RU" sz="1400" b="1" dirty="0" smtClean="0"/>
                <a:t> </a:t>
              </a:r>
              <a:r>
                <a:rPr lang="ru-RU" sz="1400" b="1" dirty="0" err="1" smtClean="0"/>
                <a:t>оид</a:t>
              </a:r>
              <a:r>
                <a:rPr lang="ru-RU" sz="1400" b="1" dirty="0" smtClean="0"/>
                <a:t> </a:t>
              </a:r>
              <a:r>
                <a:rPr lang="ru-RU" sz="1400" b="1" dirty="0" err="1" smtClean="0"/>
                <a:t>бошқа</a:t>
              </a:r>
              <a:r>
                <a:rPr lang="ru-RU" sz="1400" b="1" dirty="0" smtClean="0"/>
                <a:t> </a:t>
              </a:r>
              <a:r>
                <a:rPr lang="ru-RU" sz="1400" b="1" dirty="0" err="1" smtClean="0"/>
                <a:t>йўналишлардаги</a:t>
              </a:r>
              <a:r>
                <a:rPr lang="ru-RU" sz="1400" b="1" dirty="0" smtClean="0"/>
                <a:t> </a:t>
              </a:r>
              <a:r>
                <a:rPr lang="ru-RU" sz="1400" b="1" dirty="0" err="1" smtClean="0"/>
                <a:t>фаоллиги</a:t>
              </a:r>
              <a:endParaRPr lang="en-US" sz="1400" b="1" dirty="0"/>
            </a:p>
          </p:txBody>
        </p:sp>
        <p:sp>
          <p:nvSpPr>
            <p:cNvPr id="145" name="TextBox 144">
              <a:extLst>
                <a:ext uri="{FF2B5EF4-FFF2-40B4-BE49-F238E27FC236}">
                  <a16:creationId xmlns:a16="http://schemas.microsoft.com/office/drawing/2014/main" id="{758FEE6E-1510-435A-8104-6F460D51AF41}"/>
                </a:ext>
              </a:extLst>
            </p:cNvPr>
            <p:cNvSpPr txBox="1"/>
            <p:nvPr/>
          </p:nvSpPr>
          <p:spPr>
            <a:xfrm>
              <a:off x="379011" y="3890854"/>
              <a:ext cx="2132956" cy="646331"/>
            </a:xfrm>
            <a:prstGeom prst="rect">
              <a:avLst/>
            </a:prstGeom>
            <a:noFill/>
          </p:spPr>
          <p:txBody>
            <a:bodyPr wrap="square" lIns="0" tIns="0" rIns="0" bIns="0" rtlCol="0" anchor="ctr">
              <a:spAutoFit/>
            </a:bodyPr>
            <a:lstStyle/>
            <a:p>
              <a:pPr algn="r"/>
              <a:r>
                <a:rPr lang="ru-RU" sz="1400" dirty="0"/>
                <a:t>5 </a:t>
              </a:r>
              <a:r>
                <a:rPr lang="ru-RU" sz="1400" dirty="0" err="1"/>
                <a:t>ташаббус</a:t>
              </a:r>
              <a:r>
                <a:rPr lang="ru-RU" sz="1400" dirty="0"/>
                <a:t> </a:t>
              </a:r>
              <a:r>
                <a:rPr lang="ru-RU" sz="1400" dirty="0" err="1"/>
                <a:t>доирасидаги</a:t>
              </a:r>
              <a:r>
                <a:rPr lang="ru-RU" sz="1400" dirty="0"/>
                <a:t> </a:t>
              </a:r>
              <a:r>
                <a:rPr lang="ru-RU" sz="1400" dirty="0" err="1"/>
                <a:t>тўгаракларда</a:t>
              </a:r>
              <a:r>
                <a:rPr lang="ru-RU" sz="1400" dirty="0"/>
                <a:t> </a:t>
              </a:r>
              <a:r>
                <a:rPr lang="ru-RU" sz="1400" dirty="0" err="1"/>
                <a:t>фаол</a:t>
              </a:r>
              <a:r>
                <a:rPr lang="ru-RU" sz="1400" dirty="0"/>
                <a:t> </a:t>
              </a:r>
              <a:r>
                <a:rPr lang="ru-RU" sz="1400" dirty="0" err="1" smtClean="0"/>
                <a:t>иштироки</a:t>
              </a:r>
              <a:r>
                <a:rPr lang="ru-RU" sz="1400" dirty="0" smtClean="0"/>
                <a:t> </a:t>
              </a:r>
              <a:endParaRPr lang="ru-RU" sz="1400" dirty="0"/>
            </a:p>
          </p:txBody>
        </p:sp>
        <p:sp>
          <p:nvSpPr>
            <p:cNvPr id="146" name="TextBox 145">
              <a:extLst>
                <a:ext uri="{FF2B5EF4-FFF2-40B4-BE49-F238E27FC236}">
                  <a16:creationId xmlns:a16="http://schemas.microsoft.com/office/drawing/2014/main" id="{B6E1693D-A9A1-477C-A204-D7BC7E095B4D}"/>
                </a:ext>
              </a:extLst>
            </p:cNvPr>
            <p:cNvSpPr txBox="1"/>
            <p:nvPr/>
          </p:nvSpPr>
          <p:spPr>
            <a:xfrm>
              <a:off x="1261050" y="2108494"/>
              <a:ext cx="2132956" cy="430887"/>
            </a:xfrm>
            <a:prstGeom prst="rect">
              <a:avLst/>
            </a:prstGeom>
            <a:noFill/>
          </p:spPr>
          <p:txBody>
            <a:bodyPr wrap="square" lIns="0" tIns="0" rIns="0" bIns="0" rtlCol="0" anchor="ctr">
              <a:spAutoFit/>
            </a:bodyPr>
            <a:lstStyle/>
            <a:p>
              <a:pPr algn="ctr"/>
              <a:r>
                <a:rPr lang="ru-RU" sz="1400" dirty="0" err="1" smtClean="0"/>
                <a:t>Волонтёрлик</a:t>
              </a:r>
              <a:r>
                <a:rPr lang="ru-RU" sz="1400" dirty="0" smtClean="0"/>
                <a:t> </a:t>
              </a:r>
              <a:r>
                <a:rPr lang="ru-RU" sz="1400" dirty="0" err="1" smtClean="0"/>
                <a:t>ва</a:t>
              </a:r>
              <a:r>
                <a:rPr lang="ru-RU" sz="1400" dirty="0" smtClean="0"/>
                <a:t> </a:t>
              </a:r>
              <a:r>
                <a:rPr lang="ru-RU" sz="1400" dirty="0" err="1"/>
                <a:t>жамоат</a:t>
              </a:r>
              <a:r>
                <a:rPr lang="ru-RU" sz="1400" dirty="0"/>
                <a:t> </a:t>
              </a:r>
              <a:r>
                <a:rPr lang="ru-RU" sz="1400" dirty="0" err="1" smtClean="0"/>
                <a:t>ишларидаги</a:t>
              </a:r>
              <a:r>
                <a:rPr lang="ru-RU" sz="1400" dirty="0" smtClean="0"/>
                <a:t> </a:t>
              </a:r>
              <a:r>
                <a:rPr lang="ru-RU" sz="1400" dirty="0" err="1" smtClean="0"/>
                <a:t>фаоллиги</a:t>
              </a:r>
              <a:endParaRPr lang="ru-RU" sz="1400" dirty="0"/>
            </a:p>
          </p:txBody>
        </p:sp>
        <p:sp>
          <p:nvSpPr>
            <p:cNvPr id="147" name="TextBox 146">
              <a:extLst>
                <a:ext uri="{FF2B5EF4-FFF2-40B4-BE49-F238E27FC236}">
                  <a16:creationId xmlns:a16="http://schemas.microsoft.com/office/drawing/2014/main" id="{212B72D0-24C1-4165-9848-B176FF8EC217}"/>
                </a:ext>
              </a:extLst>
            </p:cNvPr>
            <p:cNvSpPr txBox="1"/>
            <p:nvPr/>
          </p:nvSpPr>
          <p:spPr>
            <a:xfrm>
              <a:off x="3215390" y="791995"/>
              <a:ext cx="3774996" cy="430887"/>
            </a:xfrm>
            <a:prstGeom prst="rect">
              <a:avLst/>
            </a:prstGeom>
            <a:noFill/>
          </p:spPr>
          <p:txBody>
            <a:bodyPr wrap="square" lIns="0" tIns="0" rIns="0" bIns="0" rtlCol="0" anchor="ctr">
              <a:spAutoFit/>
            </a:bodyPr>
            <a:lstStyle/>
            <a:p>
              <a:pPr algn="ctr"/>
              <a:r>
                <a:rPr lang="ru-RU" sz="1400" dirty="0" err="1" smtClean="0"/>
                <a:t>Талабанинг</a:t>
              </a:r>
              <a:r>
                <a:rPr lang="ru-RU" sz="1400" dirty="0" smtClean="0"/>
                <a:t> </a:t>
              </a:r>
              <a:r>
                <a:rPr lang="ru-RU" sz="1400" dirty="0" err="1" smtClean="0"/>
                <a:t>дарсларга</a:t>
              </a:r>
              <a:r>
                <a:rPr lang="ru-RU" sz="1400" dirty="0" smtClean="0"/>
                <a:t> </a:t>
              </a:r>
              <a:r>
                <a:rPr lang="ru-RU" sz="1400" dirty="0" err="1" smtClean="0"/>
                <a:t>тўлиқ</a:t>
              </a:r>
              <a:r>
                <a:rPr lang="ru-RU" sz="1400" dirty="0" smtClean="0"/>
                <a:t> </a:t>
              </a:r>
              <a:r>
                <a:rPr lang="ru-RU" sz="1400" dirty="0" err="1" smtClean="0"/>
                <a:t>ва</a:t>
              </a:r>
              <a:r>
                <a:rPr lang="ru-RU" sz="1400" dirty="0" smtClean="0"/>
                <a:t> </a:t>
              </a:r>
              <a:r>
                <a:rPr lang="ru-RU" sz="1400" dirty="0" err="1" smtClean="0"/>
                <a:t>кечикмасдан</a:t>
              </a:r>
              <a:r>
                <a:rPr lang="ru-RU" sz="1400" dirty="0" smtClean="0"/>
                <a:t> </a:t>
              </a:r>
              <a:r>
                <a:rPr lang="ru-RU" sz="1400" dirty="0" err="1" smtClean="0"/>
                <a:t>келишии</a:t>
              </a:r>
              <a:r>
                <a:rPr lang="ru-RU" sz="1400" dirty="0" smtClean="0"/>
                <a:t> </a:t>
              </a:r>
              <a:endParaRPr lang="ru-RU" sz="1400" dirty="0"/>
            </a:p>
          </p:txBody>
        </p:sp>
      </p:grpSp>
      <p:sp>
        <p:nvSpPr>
          <p:cNvPr id="148" name="Freeform 71">
            <a:extLst>
              <a:ext uri="{FF2B5EF4-FFF2-40B4-BE49-F238E27FC236}">
                <a16:creationId xmlns:a16="http://schemas.microsoft.com/office/drawing/2014/main" id="{5C53321C-0964-46E9-91E6-F44B9699E526}"/>
              </a:ext>
            </a:extLst>
          </p:cNvPr>
          <p:cNvSpPr>
            <a:spLocks/>
          </p:cNvSpPr>
          <p:nvPr/>
        </p:nvSpPr>
        <p:spPr bwMode="auto">
          <a:xfrm>
            <a:off x="3005287" y="5375276"/>
            <a:ext cx="787400" cy="787400"/>
          </a:xfrm>
          <a:custGeom>
            <a:avLst/>
            <a:gdLst>
              <a:gd name="T0" fmla="*/ 62 w 510"/>
              <a:gd name="T1" fmla="*/ 367 h 510"/>
              <a:gd name="T2" fmla="*/ 144 w 510"/>
              <a:gd name="T3" fmla="*/ 62 h 510"/>
              <a:gd name="T4" fmla="*/ 449 w 510"/>
              <a:gd name="T5" fmla="*/ 144 h 510"/>
              <a:gd name="T6" fmla="*/ 367 w 510"/>
              <a:gd name="T7" fmla="*/ 449 h 510"/>
              <a:gd name="T8" fmla="*/ 62 w 510"/>
              <a:gd name="T9" fmla="*/ 367 h 510"/>
            </a:gdLst>
            <a:ahLst/>
            <a:cxnLst>
              <a:cxn ang="0">
                <a:pos x="T0" y="T1"/>
              </a:cxn>
              <a:cxn ang="0">
                <a:pos x="T2" y="T3"/>
              </a:cxn>
              <a:cxn ang="0">
                <a:pos x="T4" y="T5"/>
              </a:cxn>
              <a:cxn ang="0">
                <a:pos x="T6" y="T7"/>
              </a:cxn>
              <a:cxn ang="0">
                <a:pos x="T8" y="T9"/>
              </a:cxn>
            </a:cxnLst>
            <a:rect l="0" t="0" r="r" b="b"/>
            <a:pathLst>
              <a:path w="510" h="510">
                <a:moveTo>
                  <a:pt x="62" y="367"/>
                </a:moveTo>
                <a:cubicBezTo>
                  <a:pt x="0" y="260"/>
                  <a:pt x="37" y="124"/>
                  <a:pt x="144" y="62"/>
                </a:cubicBezTo>
                <a:cubicBezTo>
                  <a:pt x="250" y="0"/>
                  <a:pt x="387" y="37"/>
                  <a:pt x="449" y="144"/>
                </a:cubicBezTo>
                <a:cubicBezTo>
                  <a:pt x="510" y="251"/>
                  <a:pt x="474" y="387"/>
                  <a:pt x="367" y="449"/>
                </a:cubicBezTo>
                <a:cubicBezTo>
                  <a:pt x="260" y="510"/>
                  <a:pt x="124" y="474"/>
                  <a:pt x="62" y="367"/>
                </a:cubicBezTo>
                <a:close/>
              </a:path>
            </a:pathLst>
          </a:custGeom>
          <a:noFill/>
          <a:ln w="19050">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sp>
        <p:nvSpPr>
          <p:cNvPr id="150" name="Freeform 71">
            <a:extLst>
              <a:ext uri="{FF2B5EF4-FFF2-40B4-BE49-F238E27FC236}">
                <a16:creationId xmlns:a16="http://schemas.microsoft.com/office/drawing/2014/main" id="{72B3A9DD-10D9-4758-B32F-056F698FF5EE}"/>
              </a:ext>
            </a:extLst>
          </p:cNvPr>
          <p:cNvSpPr>
            <a:spLocks/>
          </p:cNvSpPr>
          <p:nvPr/>
        </p:nvSpPr>
        <p:spPr bwMode="auto">
          <a:xfrm>
            <a:off x="2589658" y="3820319"/>
            <a:ext cx="787400" cy="787400"/>
          </a:xfrm>
          <a:custGeom>
            <a:avLst/>
            <a:gdLst>
              <a:gd name="T0" fmla="*/ 62 w 510"/>
              <a:gd name="T1" fmla="*/ 367 h 510"/>
              <a:gd name="T2" fmla="*/ 144 w 510"/>
              <a:gd name="T3" fmla="*/ 62 h 510"/>
              <a:gd name="T4" fmla="*/ 449 w 510"/>
              <a:gd name="T5" fmla="*/ 144 h 510"/>
              <a:gd name="T6" fmla="*/ 367 w 510"/>
              <a:gd name="T7" fmla="*/ 449 h 510"/>
              <a:gd name="T8" fmla="*/ 62 w 510"/>
              <a:gd name="T9" fmla="*/ 367 h 510"/>
            </a:gdLst>
            <a:ahLst/>
            <a:cxnLst>
              <a:cxn ang="0">
                <a:pos x="T0" y="T1"/>
              </a:cxn>
              <a:cxn ang="0">
                <a:pos x="T2" y="T3"/>
              </a:cxn>
              <a:cxn ang="0">
                <a:pos x="T4" y="T5"/>
              </a:cxn>
              <a:cxn ang="0">
                <a:pos x="T6" y="T7"/>
              </a:cxn>
              <a:cxn ang="0">
                <a:pos x="T8" y="T9"/>
              </a:cxn>
            </a:cxnLst>
            <a:rect l="0" t="0" r="r" b="b"/>
            <a:pathLst>
              <a:path w="510" h="510">
                <a:moveTo>
                  <a:pt x="62" y="367"/>
                </a:moveTo>
                <a:cubicBezTo>
                  <a:pt x="0" y="260"/>
                  <a:pt x="37" y="124"/>
                  <a:pt x="144" y="62"/>
                </a:cubicBezTo>
                <a:cubicBezTo>
                  <a:pt x="250" y="0"/>
                  <a:pt x="387" y="37"/>
                  <a:pt x="449" y="144"/>
                </a:cubicBezTo>
                <a:cubicBezTo>
                  <a:pt x="510" y="251"/>
                  <a:pt x="474" y="387"/>
                  <a:pt x="367" y="449"/>
                </a:cubicBezTo>
                <a:cubicBezTo>
                  <a:pt x="260" y="510"/>
                  <a:pt x="124" y="474"/>
                  <a:pt x="62" y="367"/>
                </a:cubicBezTo>
                <a:close/>
              </a:path>
            </a:pathLst>
          </a:custGeom>
          <a:noFill/>
          <a:ln w="19050">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sp>
        <p:nvSpPr>
          <p:cNvPr id="151" name="Freeform 71">
            <a:extLst>
              <a:ext uri="{FF2B5EF4-FFF2-40B4-BE49-F238E27FC236}">
                <a16:creationId xmlns:a16="http://schemas.microsoft.com/office/drawing/2014/main" id="{FBDE368E-D163-4D59-9196-7548FA85D31F}"/>
              </a:ext>
            </a:extLst>
          </p:cNvPr>
          <p:cNvSpPr>
            <a:spLocks/>
          </p:cNvSpPr>
          <p:nvPr/>
        </p:nvSpPr>
        <p:spPr bwMode="auto">
          <a:xfrm>
            <a:off x="3005287" y="2265362"/>
            <a:ext cx="787400" cy="787400"/>
          </a:xfrm>
          <a:custGeom>
            <a:avLst/>
            <a:gdLst>
              <a:gd name="T0" fmla="*/ 62 w 510"/>
              <a:gd name="T1" fmla="*/ 367 h 510"/>
              <a:gd name="T2" fmla="*/ 144 w 510"/>
              <a:gd name="T3" fmla="*/ 62 h 510"/>
              <a:gd name="T4" fmla="*/ 449 w 510"/>
              <a:gd name="T5" fmla="*/ 144 h 510"/>
              <a:gd name="T6" fmla="*/ 367 w 510"/>
              <a:gd name="T7" fmla="*/ 449 h 510"/>
              <a:gd name="T8" fmla="*/ 62 w 510"/>
              <a:gd name="T9" fmla="*/ 367 h 510"/>
            </a:gdLst>
            <a:ahLst/>
            <a:cxnLst>
              <a:cxn ang="0">
                <a:pos x="T0" y="T1"/>
              </a:cxn>
              <a:cxn ang="0">
                <a:pos x="T2" y="T3"/>
              </a:cxn>
              <a:cxn ang="0">
                <a:pos x="T4" y="T5"/>
              </a:cxn>
              <a:cxn ang="0">
                <a:pos x="T6" y="T7"/>
              </a:cxn>
              <a:cxn ang="0">
                <a:pos x="T8" y="T9"/>
              </a:cxn>
            </a:cxnLst>
            <a:rect l="0" t="0" r="r" b="b"/>
            <a:pathLst>
              <a:path w="510" h="510">
                <a:moveTo>
                  <a:pt x="62" y="367"/>
                </a:moveTo>
                <a:cubicBezTo>
                  <a:pt x="0" y="260"/>
                  <a:pt x="37" y="124"/>
                  <a:pt x="144" y="62"/>
                </a:cubicBezTo>
                <a:cubicBezTo>
                  <a:pt x="250" y="0"/>
                  <a:pt x="387" y="37"/>
                  <a:pt x="449" y="144"/>
                </a:cubicBezTo>
                <a:cubicBezTo>
                  <a:pt x="510" y="251"/>
                  <a:pt x="474" y="387"/>
                  <a:pt x="367" y="449"/>
                </a:cubicBezTo>
                <a:cubicBezTo>
                  <a:pt x="260" y="510"/>
                  <a:pt x="124" y="474"/>
                  <a:pt x="62" y="367"/>
                </a:cubicBezTo>
                <a:close/>
              </a:path>
            </a:pathLst>
          </a:custGeom>
          <a:noFill/>
          <a:ln w="19050">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sp>
        <p:nvSpPr>
          <p:cNvPr id="152" name="Freeform 71">
            <a:extLst>
              <a:ext uri="{FF2B5EF4-FFF2-40B4-BE49-F238E27FC236}">
                <a16:creationId xmlns:a16="http://schemas.microsoft.com/office/drawing/2014/main" id="{EE705A98-7154-42F5-913F-E0436714FD58}"/>
              </a:ext>
            </a:extLst>
          </p:cNvPr>
          <p:cNvSpPr>
            <a:spLocks/>
          </p:cNvSpPr>
          <p:nvPr/>
        </p:nvSpPr>
        <p:spPr bwMode="auto">
          <a:xfrm>
            <a:off x="4157315" y="1126331"/>
            <a:ext cx="787400" cy="787400"/>
          </a:xfrm>
          <a:custGeom>
            <a:avLst/>
            <a:gdLst>
              <a:gd name="T0" fmla="*/ 62 w 510"/>
              <a:gd name="T1" fmla="*/ 367 h 510"/>
              <a:gd name="T2" fmla="*/ 144 w 510"/>
              <a:gd name="T3" fmla="*/ 62 h 510"/>
              <a:gd name="T4" fmla="*/ 449 w 510"/>
              <a:gd name="T5" fmla="*/ 144 h 510"/>
              <a:gd name="T6" fmla="*/ 367 w 510"/>
              <a:gd name="T7" fmla="*/ 449 h 510"/>
              <a:gd name="T8" fmla="*/ 62 w 510"/>
              <a:gd name="T9" fmla="*/ 367 h 510"/>
            </a:gdLst>
            <a:ahLst/>
            <a:cxnLst>
              <a:cxn ang="0">
                <a:pos x="T0" y="T1"/>
              </a:cxn>
              <a:cxn ang="0">
                <a:pos x="T2" y="T3"/>
              </a:cxn>
              <a:cxn ang="0">
                <a:pos x="T4" y="T5"/>
              </a:cxn>
              <a:cxn ang="0">
                <a:pos x="T6" y="T7"/>
              </a:cxn>
              <a:cxn ang="0">
                <a:pos x="T8" y="T9"/>
              </a:cxn>
            </a:cxnLst>
            <a:rect l="0" t="0" r="r" b="b"/>
            <a:pathLst>
              <a:path w="510" h="510">
                <a:moveTo>
                  <a:pt x="62" y="367"/>
                </a:moveTo>
                <a:cubicBezTo>
                  <a:pt x="0" y="260"/>
                  <a:pt x="37" y="124"/>
                  <a:pt x="144" y="62"/>
                </a:cubicBezTo>
                <a:cubicBezTo>
                  <a:pt x="250" y="0"/>
                  <a:pt x="387" y="37"/>
                  <a:pt x="449" y="144"/>
                </a:cubicBezTo>
                <a:cubicBezTo>
                  <a:pt x="510" y="251"/>
                  <a:pt x="474" y="387"/>
                  <a:pt x="367" y="449"/>
                </a:cubicBezTo>
                <a:cubicBezTo>
                  <a:pt x="260" y="510"/>
                  <a:pt x="124" y="474"/>
                  <a:pt x="62" y="367"/>
                </a:cubicBezTo>
                <a:close/>
              </a:path>
            </a:pathLst>
          </a:custGeom>
          <a:noFill/>
          <a:ln w="19050">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sp>
        <p:nvSpPr>
          <p:cNvPr id="154" name="Freeform 71">
            <a:extLst>
              <a:ext uri="{FF2B5EF4-FFF2-40B4-BE49-F238E27FC236}">
                <a16:creationId xmlns:a16="http://schemas.microsoft.com/office/drawing/2014/main" id="{4C0FE127-8558-4C8D-AA6B-665A65C41F24}"/>
              </a:ext>
            </a:extLst>
          </p:cNvPr>
          <p:cNvSpPr>
            <a:spLocks/>
          </p:cNvSpPr>
          <p:nvPr/>
        </p:nvSpPr>
        <p:spPr bwMode="auto">
          <a:xfrm>
            <a:off x="6011960" y="1107280"/>
            <a:ext cx="787400" cy="787400"/>
          </a:xfrm>
          <a:custGeom>
            <a:avLst/>
            <a:gdLst>
              <a:gd name="T0" fmla="*/ 62 w 510"/>
              <a:gd name="T1" fmla="*/ 367 h 510"/>
              <a:gd name="T2" fmla="*/ 144 w 510"/>
              <a:gd name="T3" fmla="*/ 62 h 510"/>
              <a:gd name="T4" fmla="*/ 449 w 510"/>
              <a:gd name="T5" fmla="*/ 144 h 510"/>
              <a:gd name="T6" fmla="*/ 367 w 510"/>
              <a:gd name="T7" fmla="*/ 449 h 510"/>
              <a:gd name="T8" fmla="*/ 62 w 510"/>
              <a:gd name="T9" fmla="*/ 367 h 510"/>
            </a:gdLst>
            <a:ahLst/>
            <a:cxnLst>
              <a:cxn ang="0">
                <a:pos x="T0" y="T1"/>
              </a:cxn>
              <a:cxn ang="0">
                <a:pos x="T2" y="T3"/>
              </a:cxn>
              <a:cxn ang="0">
                <a:pos x="T4" y="T5"/>
              </a:cxn>
              <a:cxn ang="0">
                <a:pos x="T6" y="T7"/>
              </a:cxn>
              <a:cxn ang="0">
                <a:pos x="T8" y="T9"/>
              </a:cxn>
            </a:cxnLst>
            <a:rect l="0" t="0" r="r" b="b"/>
            <a:pathLst>
              <a:path w="510" h="510">
                <a:moveTo>
                  <a:pt x="62" y="367"/>
                </a:moveTo>
                <a:cubicBezTo>
                  <a:pt x="0" y="260"/>
                  <a:pt x="37" y="124"/>
                  <a:pt x="144" y="62"/>
                </a:cubicBezTo>
                <a:cubicBezTo>
                  <a:pt x="250" y="0"/>
                  <a:pt x="387" y="37"/>
                  <a:pt x="449" y="144"/>
                </a:cubicBezTo>
                <a:cubicBezTo>
                  <a:pt x="510" y="251"/>
                  <a:pt x="474" y="387"/>
                  <a:pt x="367" y="449"/>
                </a:cubicBezTo>
                <a:cubicBezTo>
                  <a:pt x="260" y="510"/>
                  <a:pt x="124" y="474"/>
                  <a:pt x="62" y="367"/>
                </a:cubicBezTo>
                <a:close/>
              </a:path>
            </a:pathLst>
          </a:custGeom>
          <a:noFill/>
          <a:ln w="19050">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sp>
        <p:nvSpPr>
          <p:cNvPr id="155" name="Freeform 71">
            <a:extLst>
              <a:ext uri="{FF2B5EF4-FFF2-40B4-BE49-F238E27FC236}">
                <a16:creationId xmlns:a16="http://schemas.microsoft.com/office/drawing/2014/main" id="{0895ED89-DCD8-470E-9739-ACF5DD2397C3}"/>
              </a:ext>
            </a:extLst>
          </p:cNvPr>
          <p:cNvSpPr>
            <a:spLocks/>
          </p:cNvSpPr>
          <p:nvPr/>
        </p:nvSpPr>
        <p:spPr bwMode="auto">
          <a:xfrm>
            <a:off x="7254527" y="1126331"/>
            <a:ext cx="787400" cy="787400"/>
          </a:xfrm>
          <a:custGeom>
            <a:avLst/>
            <a:gdLst>
              <a:gd name="T0" fmla="*/ 62 w 510"/>
              <a:gd name="T1" fmla="*/ 367 h 510"/>
              <a:gd name="T2" fmla="*/ 144 w 510"/>
              <a:gd name="T3" fmla="*/ 62 h 510"/>
              <a:gd name="T4" fmla="*/ 449 w 510"/>
              <a:gd name="T5" fmla="*/ 144 h 510"/>
              <a:gd name="T6" fmla="*/ 367 w 510"/>
              <a:gd name="T7" fmla="*/ 449 h 510"/>
              <a:gd name="T8" fmla="*/ 62 w 510"/>
              <a:gd name="T9" fmla="*/ 367 h 510"/>
            </a:gdLst>
            <a:ahLst/>
            <a:cxnLst>
              <a:cxn ang="0">
                <a:pos x="T0" y="T1"/>
              </a:cxn>
              <a:cxn ang="0">
                <a:pos x="T2" y="T3"/>
              </a:cxn>
              <a:cxn ang="0">
                <a:pos x="T4" y="T5"/>
              </a:cxn>
              <a:cxn ang="0">
                <a:pos x="T6" y="T7"/>
              </a:cxn>
              <a:cxn ang="0">
                <a:pos x="T8" y="T9"/>
              </a:cxn>
            </a:cxnLst>
            <a:rect l="0" t="0" r="r" b="b"/>
            <a:pathLst>
              <a:path w="510" h="510">
                <a:moveTo>
                  <a:pt x="62" y="367"/>
                </a:moveTo>
                <a:cubicBezTo>
                  <a:pt x="0" y="260"/>
                  <a:pt x="37" y="124"/>
                  <a:pt x="144" y="62"/>
                </a:cubicBezTo>
                <a:cubicBezTo>
                  <a:pt x="250" y="0"/>
                  <a:pt x="387" y="37"/>
                  <a:pt x="449" y="144"/>
                </a:cubicBezTo>
                <a:cubicBezTo>
                  <a:pt x="510" y="251"/>
                  <a:pt x="474" y="387"/>
                  <a:pt x="367" y="449"/>
                </a:cubicBezTo>
                <a:cubicBezTo>
                  <a:pt x="260" y="510"/>
                  <a:pt x="124" y="474"/>
                  <a:pt x="62" y="367"/>
                </a:cubicBezTo>
                <a:close/>
              </a:path>
            </a:pathLst>
          </a:custGeom>
          <a:noFill/>
          <a:ln w="19050">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sp>
        <p:nvSpPr>
          <p:cNvPr id="156" name="Freeform 71">
            <a:extLst>
              <a:ext uri="{FF2B5EF4-FFF2-40B4-BE49-F238E27FC236}">
                <a16:creationId xmlns:a16="http://schemas.microsoft.com/office/drawing/2014/main" id="{C4D39D12-DE6C-479F-9F16-4774407E1495}"/>
              </a:ext>
            </a:extLst>
          </p:cNvPr>
          <p:cNvSpPr>
            <a:spLocks/>
          </p:cNvSpPr>
          <p:nvPr/>
        </p:nvSpPr>
        <p:spPr bwMode="auto">
          <a:xfrm>
            <a:off x="8393558" y="2085523"/>
            <a:ext cx="787400" cy="787400"/>
          </a:xfrm>
          <a:custGeom>
            <a:avLst/>
            <a:gdLst>
              <a:gd name="T0" fmla="*/ 62 w 510"/>
              <a:gd name="T1" fmla="*/ 367 h 510"/>
              <a:gd name="T2" fmla="*/ 144 w 510"/>
              <a:gd name="T3" fmla="*/ 62 h 510"/>
              <a:gd name="T4" fmla="*/ 449 w 510"/>
              <a:gd name="T5" fmla="*/ 144 h 510"/>
              <a:gd name="T6" fmla="*/ 367 w 510"/>
              <a:gd name="T7" fmla="*/ 449 h 510"/>
              <a:gd name="T8" fmla="*/ 62 w 510"/>
              <a:gd name="T9" fmla="*/ 367 h 510"/>
            </a:gdLst>
            <a:ahLst/>
            <a:cxnLst>
              <a:cxn ang="0">
                <a:pos x="T0" y="T1"/>
              </a:cxn>
              <a:cxn ang="0">
                <a:pos x="T2" y="T3"/>
              </a:cxn>
              <a:cxn ang="0">
                <a:pos x="T4" y="T5"/>
              </a:cxn>
              <a:cxn ang="0">
                <a:pos x="T6" y="T7"/>
              </a:cxn>
              <a:cxn ang="0">
                <a:pos x="T8" y="T9"/>
              </a:cxn>
            </a:cxnLst>
            <a:rect l="0" t="0" r="r" b="b"/>
            <a:pathLst>
              <a:path w="510" h="510">
                <a:moveTo>
                  <a:pt x="62" y="367"/>
                </a:moveTo>
                <a:cubicBezTo>
                  <a:pt x="0" y="260"/>
                  <a:pt x="37" y="124"/>
                  <a:pt x="144" y="62"/>
                </a:cubicBezTo>
                <a:cubicBezTo>
                  <a:pt x="250" y="0"/>
                  <a:pt x="387" y="37"/>
                  <a:pt x="449" y="144"/>
                </a:cubicBezTo>
                <a:cubicBezTo>
                  <a:pt x="510" y="251"/>
                  <a:pt x="474" y="387"/>
                  <a:pt x="367" y="449"/>
                </a:cubicBezTo>
                <a:cubicBezTo>
                  <a:pt x="260" y="510"/>
                  <a:pt x="124" y="474"/>
                  <a:pt x="62" y="367"/>
                </a:cubicBezTo>
                <a:close/>
              </a:path>
            </a:pathLst>
          </a:custGeom>
          <a:noFill/>
          <a:ln w="19050">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sp>
        <p:nvSpPr>
          <p:cNvPr id="157" name="Freeform 71">
            <a:extLst>
              <a:ext uri="{FF2B5EF4-FFF2-40B4-BE49-F238E27FC236}">
                <a16:creationId xmlns:a16="http://schemas.microsoft.com/office/drawing/2014/main" id="{A541A53F-4E06-4E6E-8CFB-98C7B6EFB13F}"/>
              </a:ext>
            </a:extLst>
          </p:cNvPr>
          <p:cNvSpPr>
            <a:spLocks/>
          </p:cNvSpPr>
          <p:nvPr/>
        </p:nvSpPr>
        <p:spPr bwMode="auto">
          <a:xfrm>
            <a:off x="8814943" y="3820319"/>
            <a:ext cx="787400" cy="787400"/>
          </a:xfrm>
          <a:custGeom>
            <a:avLst/>
            <a:gdLst>
              <a:gd name="T0" fmla="*/ 62 w 510"/>
              <a:gd name="T1" fmla="*/ 367 h 510"/>
              <a:gd name="T2" fmla="*/ 144 w 510"/>
              <a:gd name="T3" fmla="*/ 62 h 510"/>
              <a:gd name="T4" fmla="*/ 449 w 510"/>
              <a:gd name="T5" fmla="*/ 144 h 510"/>
              <a:gd name="T6" fmla="*/ 367 w 510"/>
              <a:gd name="T7" fmla="*/ 449 h 510"/>
              <a:gd name="T8" fmla="*/ 62 w 510"/>
              <a:gd name="T9" fmla="*/ 367 h 510"/>
            </a:gdLst>
            <a:ahLst/>
            <a:cxnLst>
              <a:cxn ang="0">
                <a:pos x="T0" y="T1"/>
              </a:cxn>
              <a:cxn ang="0">
                <a:pos x="T2" y="T3"/>
              </a:cxn>
              <a:cxn ang="0">
                <a:pos x="T4" y="T5"/>
              </a:cxn>
              <a:cxn ang="0">
                <a:pos x="T6" y="T7"/>
              </a:cxn>
              <a:cxn ang="0">
                <a:pos x="T8" y="T9"/>
              </a:cxn>
            </a:cxnLst>
            <a:rect l="0" t="0" r="r" b="b"/>
            <a:pathLst>
              <a:path w="510" h="510">
                <a:moveTo>
                  <a:pt x="62" y="367"/>
                </a:moveTo>
                <a:cubicBezTo>
                  <a:pt x="0" y="260"/>
                  <a:pt x="37" y="124"/>
                  <a:pt x="144" y="62"/>
                </a:cubicBezTo>
                <a:cubicBezTo>
                  <a:pt x="250" y="0"/>
                  <a:pt x="387" y="37"/>
                  <a:pt x="449" y="144"/>
                </a:cubicBezTo>
                <a:cubicBezTo>
                  <a:pt x="510" y="251"/>
                  <a:pt x="474" y="387"/>
                  <a:pt x="367" y="449"/>
                </a:cubicBezTo>
                <a:cubicBezTo>
                  <a:pt x="260" y="510"/>
                  <a:pt x="124" y="474"/>
                  <a:pt x="62" y="367"/>
                </a:cubicBezTo>
                <a:close/>
              </a:path>
            </a:pathLst>
          </a:custGeom>
          <a:noFill/>
          <a:ln w="19050">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sp>
        <p:nvSpPr>
          <p:cNvPr id="158" name="Freeform 71">
            <a:extLst>
              <a:ext uri="{FF2B5EF4-FFF2-40B4-BE49-F238E27FC236}">
                <a16:creationId xmlns:a16="http://schemas.microsoft.com/office/drawing/2014/main" id="{8733CC2E-066A-4129-BF5D-F189A2240BC1}"/>
              </a:ext>
            </a:extLst>
          </p:cNvPr>
          <p:cNvSpPr>
            <a:spLocks/>
          </p:cNvSpPr>
          <p:nvPr/>
        </p:nvSpPr>
        <p:spPr bwMode="auto">
          <a:xfrm>
            <a:off x="8393558" y="5375275"/>
            <a:ext cx="787400" cy="787400"/>
          </a:xfrm>
          <a:custGeom>
            <a:avLst/>
            <a:gdLst>
              <a:gd name="T0" fmla="*/ 62 w 510"/>
              <a:gd name="T1" fmla="*/ 367 h 510"/>
              <a:gd name="T2" fmla="*/ 144 w 510"/>
              <a:gd name="T3" fmla="*/ 62 h 510"/>
              <a:gd name="T4" fmla="*/ 449 w 510"/>
              <a:gd name="T5" fmla="*/ 144 h 510"/>
              <a:gd name="T6" fmla="*/ 367 w 510"/>
              <a:gd name="T7" fmla="*/ 449 h 510"/>
              <a:gd name="T8" fmla="*/ 62 w 510"/>
              <a:gd name="T9" fmla="*/ 367 h 510"/>
            </a:gdLst>
            <a:ahLst/>
            <a:cxnLst>
              <a:cxn ang="0">
                <a:pos x="T0" y="T1"/>
              </a:cxn>
              <a:cxn ang="0">
                <a:pos x="T2" y="T3"/>
              </a:cxn>
              <a:cxn ang="0">
                <a:pos x="T4" y="T5"/>
              </a:cxn>
              <a:cxn ang="0">
                <a:pos x="T6" y="T7"/>
              </a:cxn>
              <a:cxn ang="0">
                <a:pos x="T8" y="T9"/>
              </a:cxn>
            </a:cxnLst>
            <a:rect l="0" t="0" r="r" b="b"/>
            <a:pathLst>
              <a:path w="510" h="510">
                <a:moveTo>
                  <a:pt x="62" y="367"/>
                </a:moveTo>
                <a:cubicBezTo>
                  <a:pt x="0" y="260"/>
                  <a:pt x="37" y="124"/>
                  <a:pt x="144" y="62"/>
                </a:cubicBezTo>
                <a:cubicBezTo>
                  <a:pt x="250" y="0"/>
                  <a:pt x="387" y="37"/>
                  <a:pt x="449" y="144"/>
                </a:cubicBezTo>
                <a:cubicBezTo>
                  <a:pt x="510" y="251"/>
                  <a:pt x="474" y="387"/>
                  <a:pt x="367" y="449"/>
                </a:cubicBezTo>
                <a:cubicBezTo>
                  <a:pt x="260" y="510"/>
                  <a:pt x="124" y="474"/>
                  <a:pt x="62" y="367"/>
                </a:cubicBezTo>
                <a:close/>
              </a:path>
            </a:pathLst>
          </a:custGeom>
          <a:noFill/>
          <a:ln w="19050">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sp>
        <p:nvSpPr>
          <p:cNvPr id="110" name="Прямоугольник 109">
            <a:extLst>
              <a:ext uri="{FF2B5EF4-FFF2-40B4-BE49-F238E27FC236}">
                <a16:creationId xmlns:a16="http://schemas.microsoft.com/office/drawing/2014/main" id="{1A6BAFE1-1DF0-C937-F21A-53C58DE56D79}"/>
              </a:ext>
            </a:extLst>
          </p:cNvPr>
          <p:cNvSpPr/>
          <p:nvPr/>
        </p:nvSpPr>
        <p:spPr>
          <a:xfrm>
            <a:off x="2435631" y="66289"/>
            <a:ext cx="7124244" cy="646331"/>
          </a:xfrm>
          <a:prstGeom prst="rect">
            <a:avLst/>
          </a:prstGeom>
        </p:spPr>
        <p:txBody>
          <a:bodyPr wrap="square">
            <a:spAutoFit/>
          </a:bodyPr>
          <a:lstStyle/>
          <a:p>
            <a:pPr algn="ctr"/>
            <a:r>
              <a:rPr lang="uz-Cyrl-UZ" dirty="0"/>
              <a:t>Талабалар </a:t>
            </a:r>
            <a:r>
              <a:rPr lang="uz-Cyrl-UZ" b="1" dirty="0"/>
              <a:t>“Ижтимоий фаоллик индекси”ни</a:t>
            </a:r>
            <a:r>
              <a:rPr lang="uz-Cyrl-UZ" dirty="0"/>
              <a:t> ташкил этувчи </a:t>
            </a:r>
            <a:br>
              <a:rPr lang="uz-Cyrl-UZ" dirty="0"/>
            </a:br>
            <a:r>
              <a:rPr lang="uz-Cyrl-UZ" b="1" dirty="0"/>
              <a:t>100 баллни</a:t>
            </a:r>
            <a:r>
              <a:rPr lang="uz-Cyrl-UZ" dirty="0"/>
              <a:t> қуйидаги устувор йўналишлардан йиғиши белгиланмоқда.</a:t>
            </a:r>
            <a:endParaRPr lang="ru-RU" dirty="0"/>
          </a:p>
        </p:txBody>
      </p:sp>
      <p:sp>
        <p:nvSpPr>
          <p:cNvPr id="105" name="Freeform 78">
            <a:extLst>
              <a:ext uri="{FF2B5EF4-FFF2-40B4-BE49-F238E27FC236}">
                <a16:creationId xmlns:a16="http://schemas.microsoft.com/office/drawing/2014/main" id="{7CF97531-4F2C-48DD-9D3A-8BCC77E6DA44}"/>
              </a:ext>
            </a:extLst>
          </p:cNvPr>
          <p:cNvSpPr>
            <a:spLocks noEditPoints="1"/>
          </p:cNvSpPr>
          <p:nvPr/>
        </p:nvSpPr>
        <p:spPr bwMode="auto">
          <a:xfrm>
            <a:off x="7067201" y="1900236"/>
            <a:ext cx="606774" cy="862805"/>
          </a:xfrm>
          <a:custGeom>
            <a:avLst/>
            <a:gdLst>
              <a:gd name="T0" fmla="*/ 68 w 454"/>
              <a:gd name="T1" fmla="*/ 442 h 485"/>
              <a:gd name="T2" fmla="*/ 66 w 454"/>
              <a:gd name="T3" fmla="*/ 437 h 485"/>
              <a:gd name="T4" fmla="*/ 64 w 454"/>
              <a:gd name="T5" fmla="*/ 431 h 485"/>
              <a:gd name="T6" fmla="*/ 59 w 454"/>
              <a:gd name="T7" fmla="*/ 427 h 485"/>
              <a:gd name="T8" fmla="*/ 55 w 454"/>
              <a:gd name="T9" fmla="*/ 423 h 485"/>
              <a:gd name="T10" fmla="*/ 49 w 454"/>
              <a:gd name="T11" fmla="*/ 420 h 485"/>
              <a:gd name="T12" fmla="*/ 43 w 454"/>
              <a:gd name="T13" fmla="*/ 419 h 485"/>
              <a:gd name="T14" fmla="*/ 36 w 454"/>
              <a:gd name="T15" fmla="*/ 419 h 485"/>
              <a:gd name="T16" fmla="*/ 31 w 454"/>
              <a:gd name="T17" fmla="*/ 420 h 485"/>
              <a:gd name="T18" fmla="*/ 25 w 454"/>
              <a:gd name="T19" fmla="*/ 422 h 485"/>
              <a:gd name="T20" fmla="*/ 20 w 454"/>
              <a:gd name="T21" fmla="*/ 424 h 485"/>
              <a:gd name="T22" fmla="*/ 15 w 454"/>
              <a:gd name="T23" fmla="*/ 429 h 485"/>
              <a:gd name="T24" fmla="*/ 12 w 454"/>
              <a:gd name="T25" fmla="*/ 435 h 485"/>
              <a:gd name="T26" fmla="*/ 9 w 454"/>
              <a:gd name="T27" fmla="*/ 440 h 485"/>
              <a:gd name="T28" fmla="*/ 8 w 454"/>
              <a:gd name="T29" fmla="*/ 446 h 485"/>
              <a:gd name="T30" fmla="*/ 9 w 454"/>
              <a:gd name="T31" fmla="*/ 453 h 485"/>
              <a:gd name="T32" fmla="*/ 11 w 454"/>
              <a:gd name="T33" fmla="*/ 458 h 485"/>
              <a:gd name="T34" fmla="*/ 14 w 454"/>
              <a:gd name="T35" fmla="*/ 464 h 485"/>
              <a:gd name="T36" fmla="*/ 17 w 454"/>
              <a:gd name="T37" fmla="*/ 468 h 485"/>
              <a:gd name="T38" fmla="*/ 22 w 454"/>
              <a:gd name="T39" fmla="*/ 473 h 485"/>
              <a:gd name="T40" fmla="*/ 27 w 454"/>
              <a:gd name="T41" fmla="*/ 475 h 485"/>
              <a:gd name="T42" fmla="*/ 33 w 454"/>
              <a:gd name="T43" fmla="*/ 477 h 485"/>
              <a:gd name="T44" fmla="*/ 40 w 454"/>
              <a:gd name="T45" fmla="*/ 477 h 485"/>
              <a:gd name="T46" fmla="*/ 46 w 454"/>
              <a:gd name="T47" fmla="*/ 476 h 485"/>
              <a:gd name="T48" fmla="*/ 52 w 454"/>
              <a:gd name="T49" fmla="*/ 474 h 485"/>
              <a:gd name="T50" fmla="*/ 57 w 454"/>
              <a:gd name="T51" fmla="*/ 472 h 485"/>
              <a:gd name="T52" fmla="*/ 61 w 454"/>
              <a:gd name="T53" fmla="*/ 467 h 485"/>
              <a:gd name="T54" fmla="*/ 65 w 454"/>
              <a:gd name="T55" fmla="*/ 462 h 485"/>
              <a:gd name="T56" fmla="*/ 67 w 454"/>
              <a:gd name="T57" fmla="*/ 456 h 485"/>
              <a:gd name="T58" fmla="*/ 68 w 454"/>
              <a:gd name="T59" fmla="*/ 450 h 485"/>
              <a:gd name="T60" fmla="*/ 43 w 454"/>
              <a:gd name="T61" fmla="*/ 411 h 485"/>
              <a:gd name="T62" fmla="*/ 51 w 454"/>
              <a:gd name="T63" fmla="*/ 412 h 485"/>
              <a:gd name="T64" fmla="*/ 58 w 454"/>
              <a:gd name="T65" fmla="*/ 415 h 485"/>
              <a:gd name="T66" fmla="*/ 65 w 454"/>
              <a:gd name="T67" fmla="*/ 421 h 485"/>
              <a:gd name="T68" fmla="*/ 69 w 454"/>
              <a:gd name="T69" fmla="*/ 427 h 485"/>
              <a:gd name="T70" fmla="*/ 73 w 454"/>
              <a:gd name="T71" fmla="*/ 433 h 485"/>
              <a:gd name="T72" fmla="*/ 75 w 454"/>
              <a:gd name="T73" fmla="*/ 440 h 485"/>
              <a:gd name="T74" fmla="*/ 76 w 454"/>
              <a:gd name="T75" fmla="*/ 449 h 485"/>
              <a:gd name="T76" fmla="*/ 75 w 454"/>
              <a:gd name="T77" fmla="*/ 457 h 485"/>
              <a:gd name="T78" fmla="*/ 73 w 454"/>
              <a:gd name="T79" fmla="*/ 464 h 485"/>
              <a:gd name="T80" fmla="*/ 68 w 454"/>
              <a:gd name="T81" fmla="*/ 471 h 485"/>
              <a:gd name="T82" fmla="*/ 64 w 454"/>
              <a:gd name="T83" fmla="*/ 476 h 485"/>
              <a:gd name="T84" fmla="*/ 57 w 454"/>
              <a:gd name="T85" fmla="*/ 481 h 485"/>
              <a:gd name="T86" fmla="*/ 50 w 454"/>
              <a:gd name="T87" fmla="*/ 484 h 485"/>
              <a:gd name="T88" fmla="*/ 42 w 454"/>
              <a:gd name="T89" fmla="*/ 485 h 485"/>
              <a:gd name="T90" fmla="*/ 34 w 454"/>
              <a:gd name="T91" fmla="*/ 485 h 485"/>
              <a:gd name="T92" fmla="*/ 26 w 454"/>
              <a:gd name="T93" fmla="*/ 483 h 485"/>
              <a:gd name="T94" fmla="*/ 20 w 454"/>
              <a:gd name="T95" fmla="*/ 481 h 485"/>
              <a:gd name="T96" fmla="*/ 13 w 454"/>
              <a:gd name="T97" fmla="*/ 475 h 485"/>
              <a:gd name="T98" fmla="*/ 8 w 454"/>
              <a:gd name="T99" fmla="*/ 470 h 485"/>
              <a:gd name="T100" fmla="*/ 4 w 454"/>
              <a:gd name="T101" fmla="*/ 463 h 485"/>
              <a:gd name="T102" fmla="*/ 2 w 454"/>
              <a:gd name="T103" fmla="*/ 456 h 485"/>
              <a:gd name="T104" fmla="*/ 0 w 454"/>
              <a:gd name="T105" fmla="*/ 448 h 485"/>
              <a:gd name="T106" fmla="*/ 2 w 454"/>
              <a:gd name="T107" fmla="*/ 440 h 485"/>
              <a:gd name="T108" fmla="*/ 4 w 454"/>
              <a:gd name="T109" fmla="*/ 432 h 485"/>
              <a:gd name="T110" fmla="*/ 8 w 454"/>
              <a:gd name="T111" fmla="*/ 426 h 485"/>
              <a:gd name="T112" fmla="*/ 13 w 454"/>
              <a:gd name="T113" fmla="*/ 420 h 485"/>
              <a:gd name="T114" fmla="*/ 20 w 454"/>
              <a:gd name="T115" fmla="*/ 415 h 485"/>
              <a:gd name="T116" fmla="*/ 26 w 454"/>
              <a:gd name="T117" fmla="*/ 412 h 485"/>
              <a:gd name="T118" fmla="*/ 34 w 454"/>
              <a:gd name="T119" fmla="*/ 411 h 485"/>
              <a:gd name="T120" fmla="*/ 42 w 454"/>
              <a:gd name="T121" fmla="*/ 294 h 485"/>
              <a:gd name="T122" fmla="*/ 274 w 454"/>
              <a:gd name="T123" fmla="*/ 259 h 485"/>
              <a:gd name="T124" fmla="*/ 454 w 454"/>
              <a:gd name="T125" fmla="*/ 204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4" h="485">
                <a:moveTo>
                  <a:pt x="454" y="16"/>
                </a:moveTo>
                <a:lnTo>
                  <a:pt x="447" y="16"/>
                </a:lnTo>
                <a:lnTo>
                  <a:pt x="447" y="0"/>
                </a:lnTo>
                <a:lnTo>
                  <a:pt x="454" y="0"/>
                </a:lnTo>
                <a:lnTo>
                  <a:pt x="454" y="16"/>
                </a:lnTo>
                <a:lnTo>
                  <a:pt x="454" y="16"/>
                </a:lnTo>
                <a:close/>
                <a:moveTo>
                  <a:pt x="68" y="448"/>
                </a:moveTo>
                <a:lnTo>
                  <a:pt x="68" y="448"/>
                </a:lnTo>
                <a:lnTo>
                  <a:pt x="68" y="448"/>
                </a:lnTo>
                <a:lnTo>
                  <a:pt x="68" y="447"/>
                </a:lnTo>
                <a:lnTo>
                  <a:pt x="68" y="447"/>
                </a:lnTo>
                <a:lnTo>
                  <a:pt x="68" y="447"/>
                </a:lnTo>
                <a:lnTo>
                  <a:pt x="68" y="447"/>
                </a:lnTo>
                <a:lnTo>
                  <a:pt x="68" y="447"/>
                </a:lnTo>
                <a:lnTo>
                  <a:pt x="68" y="447"/>
                </a:lnTo>
                <a:lnTo>
                  <a:pt x="68" y="446"/>
                </a:lnTo>
                <a:lnTo>
                  <a:pt x="68" y="446"/>
                </a:lnTo>
                <a:lnTo>
                  <a:pt x="68" y="446"/>
                </a:lnTo>
                <a:lnTo>
                  <a:pt x="68" y="446"/>
                </a:lnTo>
                <a:lnTo>
                  <a:pt x="68" y="446"/>
                </a:lnTo>
                <a:lnTo>
                  <a:pt x="68" y="446"/>
                </a:lnTo>
                <a:lnTo>
                  <a:pt x="68" y="445"/>
                </a:lnTo>
                <a:lnTo>
                  <a:pt x="68" y="445"/>
                </a:lnTo>
                <a:lnTo>
                  <a:pt x="68" y="445"/>
                </a:lnTo>
                <a:lnTo>
                  <a:pt x="68" y="445"/>
                </a:lnTo>
                <a:lnTo>
                  <a:pt x="68" y="445"/>
                </a:lnTo>
                <a:lnTo>
                  <a:pt x="68" y="445"/>
                </a:lnTo>
                <a:lnTo>
                  <a:pt x="68" y="444"/>
                </a:lnTo>
                <a:lnTo>
                  <a:pt x="68" y="444"/>
                </a:lnTo>
                <a:lnTo>
                  <a:pt x="68" y="444"/>
                </a:lnTo>
                <a:lnTo>
                  <a:pt x="68" y="444"/>
                </a:lnTo>
                <a:lnTo>
                  <a:pt x="68" y="444"/>
                </a:lnTo>
                <a:lnTo>
                  <a:pt x="68" y="444"/>
                </a:lnTo>
                <a:lnTo>
                  <a:pt x="68" y="442"/>
                </a:lnTo>
                <a:lnTo>
                  <a:pt x="68" y="442"/>
                </a:lnTo>
                <a:lnTo>
                  <a:pt x="68" y="442"/>
                </a:lnTo>
                <a:lnTo>
                  <a:pt x="68" y="442"/>
                </a:lnTo>
                <a:lnTo>
                  <a:pt x="68" y="442"/>
                </a:lnTo>
                <a:lnTo>
                  <a:pt x="68" y="442"/>
                </a:lnTo>
                <a:lnTo>
                  <a:pt x="67" y="441"/>
                </a:lnTo>
                <a:lnTo>
                  <a:pt x="67" y="441"/>
                </a:lnTo>
                <a:lnTo>
                  <a:pt x="67" y="441"/>
                </a:lnTo>
                <a:lnTo>
                  <a:pt x="67" y="441"/>
                </a:lnTo>
                <a:lnTo>
                  <a:pt x="67" y="441"/>
                </a:lnTo>
                <a:lnTo>
                  <a:pt x="67" y="441"/>
                </a:lnTo>
                <a:lnTo>
                  <a:pt x="67" y="440"/>
                </a:lnTo>
                <a:lnTo>
                  <a:pt x="67" y="440"/>
                </a:lnTo>
                <a:lnTo>
                  <a:pt x="67" y="440"/>
                </a:lnTo>
                <a:lnTo>
                  <a:pt x="67" y="440"/>
                </a:lnTo>
                <a:lnTo>
                  <a:pt x="67" y="440"/>
                </a:lnTo>
                <a:lnTo>
                  <a:pt x="67" y="440"/>
                </a:lnTo>
                <a:lnTo>
                  <a:pt x="67" y="440"/>
                </a:lnTo>
                <a:lnTo>
                  <a:pt x="67" y="439"/>
                </a:lnTo>
                <a:lnTo>
                  <a:pt x="67" y="439"/>
                </a:lnTo>
                <a:lnTo>
                  <a:pt x="67" y="439"/>
                </a:lnTo>
                <a:lnTo>
                  <a:pt x="67" y="439"/>
                </a:lnTo>
                <a:lnTo>
                  <a:pt x="67" y="439"/>
                </a:lnTo>
                <a:lnTo>
                  <a:pt x="67" y="439"/>
                </a:lnTo>
                <a:lnTo>
                  <a:pt x="67" y="438"/>
                </a:lnTo>
                <a:lnTo>
                  <a:pt x="67" y="438"/>
                </a:lnTo>
                <a:lnTo>
                  <a:pt x="67" y="438"/>
                </a:lnTo>
                <a:lnTo>
                  <a:pt x="67" y="438"/>
                </a:lnTo>
                <a:lnTo>
                  <a:pt x="66" y="438"/>
                </a:lnTo>
                <a:lnTo>
                  <a:pt x="66" y="438"/>
                </a:lnTo>
                <a:lnTo>
                  <a:pt x="66" y="438"/>
                </a:lnTo>
                <a:lnTo>
                  <a:pt x="66" y="437"/>
                </a:lnTo>
                <a:lnTo>
                  <a:pt x="66" y="437"/>
                </a:lnTo>
                <a:lnTo>
                  <a:pt x="66" y="437"/>
                </a:lnTo>
                <a:lnTo>
                  <a:pt x="66" y="437"/>
                </a:lnTo>
                <a:lnTo>
                  <a:pt x="66" y="437"/>
                </a:lnTo>
                <a:lnTo>
                  <a:pt x="66" y="437"/>
                </a:lnTo>
                <a:lnTo>
                  <a:pt x="66" y="437"/>
                </a:lnTo>
                <a:lnTo>
                  <a:pt x="66" y="436"/>
                </a:lnTo>
                <a:lnTo>
                  <a:pt x="66" y="436"/>
                </a:lnTo>
                <a:lnTo>
                  <a:pt x="66" y="436"/>
                </a:lnTo>
                <a:lnTo>
                  <a:pt x="66" y="436"/>
                </a:lnTo>
                <a:lnTo>
                  <a:pt x="66" y="436"/>
                </a:lnTo>
                <a:lnTo>
                  <a:pt x="66" y="436"/>
                </a:lnTo>
                <a:lnTo>
                  <a:pt x="65" y="436"/>
                </a:lnTo>
                <a:lnTo>
                  <a:pt x="65" y="435"/>
                </a:lnTo>
                <a:lnTo>
                  <a:pt x="65" y="435"/>
                </a:lnTo>
                <a:lnTo>
                  <a:pt x="65" y="435"/>
                </a:lnTo>
                <a:lnTo>
                  <a:pt x="65" y="435"/>
                </a:lnTo>
                <a:lnTo>
                  <a:pt x="65" y="435"/>
                </a:lnTo>
                <a:lnTo>
                  <a:pt x="65" y="435"/>
                </a:lnTo>
                <a:lnTo>
                  <a:pt x="65" y="435"/>
                </a:lnTo>
                <a:lnTo>
                  <a:pt x="65" y="433"/>
                </a:lnTo>
                <a:lnTo>
                  <a:pt x="65" y="433"/>
                </a:lnTo>
                <a:lnTo>
                  <a:pt x="65" y="433"/>
                </a:lnTo>
                <a:lnTo>
                  <a:pt x="65" y="433"/>
                </a:lnTo>
                <a:lnTo>
                  <a:pt x="65" y="433"/>
                </a:lnTo>
                <a:lnTo>
                  <a:pt x="64" y="433"/>
                </a:lnTo>
                <a:lnTo>
                  <a:pt x="64" y="433"/>
                </a:lnTo>
                <a:lnTo>
                  <a:pt x="64" y="432"/>
                </a:lnTo>
                <a:lnTo>
                  <a:pt x="64" y="432"/>
                </a:lnTo>
                <a:lnTo>
                  <a:pt x="64" y="432"/>
                </a:lnTo>
                <a:lnTo>
                  <a:pt x="64" y="432"/>
                </a:lnTo>
                <a:lnTo>
                  <a:pt x="64" y="432"/>
                </a:lnTo>
                <a:lnTo>
                  <a:pt x="64" y="432"/>
                </a:lnTo>
                <a:lnTo>
                  <a:pt x="64" y="432"/>
                </a:lnTo>
                <a:lnTo>
                  <a:pt x="64" y="431"/>
                </a:lnTo>
                <a:lnTo>
                  <a:pt x="64" y="431"/>
                </a:lnTo>
                <a:lnTo>
                  <a:pt x="64" y="431"/>
                </a:lnTo>
                <a:lnTo>
                  <a:pt x="62" y="431"/>
                </a:lnTo>
                <a:lnTo>
                  <a:pt x="62" y="431"/>
                </a:lnTo>
                <a:lnTo>
                  <a:pt x="62" y="431"/>
                </a:lnTo>
                <a:lnTo>
                  <a:pt x="62" y="431"/>
                </a:lnTo>
                <a:lnTo>
                  <a:pt x="62" y="431"/>
                </a:lnTo>
                <a:lnTo>
                  <a:pt x="62" y="430"/>
                </a:lnTo>
                <a:lnTo>
                  <a:pt x="62" y="430"/>
                </a:lnTo>
                <a:lnTo>
                  <a:pt x="62" y="430"/>
                </a:lnTo>
                <a:lnTo>
                  <a:pt x="62" y="430"/>
                </a:lnTo>
                <a:lnTo>
                  <a:pt x="62" y="430"/>
                </a:lnTo>
                <a:lnTo>
                  <a:pt x="62" y="430"/>
                </a:lnTo>
                <a:lnTo>
                  <a:pt x="61" y="430"/>
                </a:lnTo>
                <a:lnTo>
                  <a:pt x="61" y="430"/>
                </a:lnTo>
                <a:lnTo>
                  <a:pt x="61" y="429"/>
                </a:lnTo>
                <a:lnTo>
                  <a:pt x="61" y="429"/>
                </a:lnTo>
                <a:lnTo>
                  <a:pt x="61" y="429"/>
                </a:lnTo>
                <a:lnTo>
                  <a:pt x="61" y="429"/>
                </a:lnTo>
                <a:lnTo>
                  <a:pt x="61" y="429"/>
                </a:lnTo>
                <a:lnTo>
                  <a:pt x="61" y="429"/>
                </a:lnTo>
                <a:lnTo>
                  <a:pt x="61" y="429"/>
                </a:lnTo>
                <a:lnTo>
                  <a:pt x="61" y="429"/>
                </a:lnTo>
                <a:lnTo>
                  <a:pt x="60" y="428"/>
                </a:lnTo>
                <a:lnTo>
                  <a:pt x="60" y="428"/>
                </a:lnTo>
                <a:lnTo>
                  <a:pt x="60" y="428"/>
                </a:lnTo>
                <a:lnTo>
                  <a:pt x="60" y="428"/>
                </a:lnTo>
                <a:lnTo>
                  <a:pt x="60" y="428"/>
                </a:lnTo>
                <a:lnTo>
                  <a:pt x="60" y="428"/>
                </a:lnTo>
                <a:lnTo>
                  <a:pt x="60" y="428"/>
                </a:lnTo>
                <a:lnTo>
                  <a:pt x="60" y="428"/>
                </a:lnTo>
                <a:lnTo>
                  <a:pt x="60" y="428"/>
                </a:lnTo>
                <a:lnTo>
                  <a:pt x="59" y="427"/>
                </a:lnTo>
                <a:lnTo>
                  <a:pt x="59" y="427"/>
                </a:lnTo>
                <a:lnTo>
                  <a:pt x="59" y="427"/>
                </a:lnTo>
                <a:lnTo>
                  <a:pt x="59" y="427"/>
                </a:lnTo>
                <a:lnTo>
                  <a:pt x="59" y="427"/>
                </a:lnTo>
                <a:lnTo>
                  <a:pt x="59" y="427"/>
                </a:lnTo>
                <a:lnTo>
                  <a:pt x="59" y="427"/>
                </a:lnTo>
                <a:lnTo>
                  <a:pt x="59" y="427"/>
                </a:lnTo>
                <a:lnTo>
                  <a:pt x="59" y="427"/>
                </a:lnTo>
                <a:lnTo>
                  <a:pt x="58" y="426"/>
                </a:lnTo>
                <a:lnTo>
                  <a:pt x="58" y="426"/>
                </a:lnTo>
                <a:lnTo>
                  <a:pt x="58" y="426"/>
                </a:lnTo>
                <a:lnTo>
                  <a:pt x="58" y="426"/>
                </a:lnTo>
                <a:lnTo>
                  <a:pt x="58" y="426"/>
                </a:lnTo>
                <a:lnTo>
                  <a:pt x="58" y="426"/>
                </a:lnTo>
                <a:lnTo>
                  <a:pt x="58" y="426"/>
                </a:lnTo>
                <a:lnTo>
                  <a:pt x="58" y="426"/>
                </a:lnTo>
                <a:lnTo>
                  <a:pt x="57" y="426"/>
                </a:lnTo>
                <a:lnTo>
                  <a:pt x="57" y="424"/>
                </a:lnTo>
                <a:lnTo>
                  <a:pt x="57" y="424"/>
                </a:lnTo>
                <a:lnTo>
                  <a:pt x="57" y="424"/>
                </a:lnTo>
                <a:lnTo>
                  <a:pt x="57" y="424"/>
                </a:lnTo>
                <a:lnTo>
                  <a:pt x="57" y="424"/>
                </a:lnTo>
                <a:lnTo>
                  <a:pt x="57" y="424"/>
                </a:lnTo>
                <a:lnTo>
                  <a:pt x="57" y="424"/>
                </a:lnTo>
                <a:lnTo>
                  <a:pt x="56" y="424"/>
                </a:lnTo>
                <a:lnTo>
                  <a:pt x="56" y="424"/>
                </a:lnTo>
                <a:lnTo>
                  <a:pt x="56" y="424"/>
                </a:lnTo>
                <a:lnTo>
                  <a:pt x="56" y="424"/>
                </a:lnTo>
                <a:lnTo>
                  <a:pt x="56" y="423"/>
                </a:lnTo>
                <a:lnTo>
                  <a:pt x="56" y="423"/>
                </a:lnTo>
                <a:lnTo>
                  <a:pt x="56" y="423"/>
                </a:lnTo>
                <a:lnTo>
                  <a:pt x="56" y="423"/>
                </a:lnTo>
                <a:lnTo>
                  <a:pt x="55" y="423"/>
                </a:lnTo>
                <a:lnTo>
                  <a:pt x="55" y="423"/>
                </a:lnTo>
                <a:lnTo>
                  <a:pt x="55" y="423"/>
                </a:lnTo>
                <a:lnTo>
                  <a:pt x="55" y="423"/>
                </a:lnTo>
                <a:lnTo>
                  <a:pt x="55" y="423"/>
                </a:lnTo>
                <a:lnTo>
                  <a:pt x="55" y="423"/>
                </a:lnTo>
                <a:lnTo>
                  <a:pt x="55" y="423"/>
                </a:lnTo>
                <a:lnTo>
                  <a:pt x="53" y="422"/>
                </a:lnTo>
                <a:lnTo>
                  <a:pt x="53" y="422"/>
                </a:lnTo>
                <a:lnTo>
                  <a:pt x="53" y="422"/>
                </a:lnTo>
                <a:lnTo>
                  <a:pt x="53" y="422"/>
                </a:lnTo>
                <a:lnTo>
                  <a:pt x="53" y="422"/>
                </a:lnTo>
                <a:lnTo>
                  <a:pt x="53" y="422"/>
                </a:lnTo>
                <a:lnTo>
                  <a:pt x="53" y="422"/>
                </a:lnTo>
                <a:lnTo>
                  <a:pt x="53" y="422"/>
                </a:lnTo>
                <a:lnTo>
                  <a:pt x="52" y="422"/>
                </a:lnTo>
                <a:lnTo>
                  <a:pt x="52" y="422"/>
                </a:lnTo>
                <a:lnTo>
                  <a:pt x="52" y="422"/>
                </a:lnTo>
                <a:lnTo>
                  <a:pt x="52" y="422"/>
                </a:lnTo>
                <a:lnTo>
                  <a:pt x="52" y="422"/>
                </a:lnTo>
                <a:lnTo>
                  <a:pt x="52" y="421"/>
                </a:lnTo>
                <a:lnTo>
                  <a:pt x="52" y="421"/>
                </a:lnTo>
                <a:lnTo>
                  <a:pt x="51" y="421"/>
                </a:lnTo>
                <a:lnTo>
                  <a:pt x="51" y="421"/>
                </a:lnTo>
                <a:lnTo>
                  <a:pt x="51" y="421"/>
                </a:lnTo>
                <a:lnTo>
                  <a:pt x="51" y="421"/>
                </a:lnTo>
                <a:lnTo>
                  <a:pt x="51" y="421"/>
                </a:lnTo>
                <a:lnTo>
                  <a:pt x="51" y="421"/>
                </a:lnTo>
                <a:lnTo>
                  <a:pt x="51" y="421"/>
                </a:lnTo>
                <a:lnTo>
                  <a:pt x="50" y="421"/>
                </a:lnTo>
                <a:lnTo>
                  <a:pt x="50" y="421"/>
                </a:lnTo>
                <a:lnTo>
                  <a:pt x="50" y="421"/>
                </a:lnTo>
                <a:lnTo>
                  <a:pt x="50" y="421"/>
                </a:lnTo>
                <a:lnTo>
                  <a:pt x="50" y="421"/>
                </a:lnTo>
                <a:lnTo>
                  <a:pt x="50" y="420"/>
                </a:lnTo>
                <a:lnTo>
                  <a:pt x="49" y="420"/>
                </a:lnTo>
                <a:lnTo>
                  <a:pt x="49" y="420"/>
                </a:lnTo>
                <a:lnTo>
                  <a:pt x="49" y="420"/>
                </a:lnTo>
                <a:lnTo>
                  <a:pt x="49" y="420"/>
                </a:lnTo>
                <a:lnTo>
                  <a:pt x="49" y="420"/>
                </a:lnTo>
                <a:lnTo>
                  <a:pt x="49" y="420"/>
                </a:lnTo>
                <a:lnTo>
                  <a:pt x="49" y="420"/>
                </a:lnTo>
                <a:lnTo>
                  <a:pt x="48" y="420"/>
                </a:lnTo>
                <a:lnTo>
                  <a:pt x="48" y="420"/>
                </a:lnTo>
                <a:lnTo>
                  <a:pt x="48" y="420"/>
                </a:lnTo>
                <a:lnTo>
                  <a:pt x="48" y="420"/>
                </a:lnTo>
                <a:lnTo>
                  <a:pt x="48" y="420"/>
                </a:lnTo>
                <a:lnTo>
                  <a:pt x="48" y="420"/>
                </a:lnTo>
                <a:lnTo>
                  <a:pt x="48" y="420"/>
                </a:lnTo>
                <a:lnTo>
                  <a:pt x="47" y="420"/>
                </a:lnTo>
                <a:lnTo>
                  <a:pt x="47" y="420"/>
                </a:lnTo>
                <a:lnTo>
                  <a:pt x="47" y="420"/>
                </a:lnTo>
                <a:lnTo>
                  <a:pt x="47" y="420"/>
                </a:lnTo>
                <a:lnTo>
                  <a:pt x="47" y="420"/>
                </a:lnTo>
                <a:lnTo>
                  <a:pt x="47" y="419"/>
                </a:lnTo>
                <a:lnTo>
                  <a:pt x="46" y="419"/>
                </a:lnTo>
                <a:lnTo>
                  <a:pt x="46" y="419"/>
                </a:lnTo>
                <a:lnTo>
                  <a:pt x="46" y="419"/>
                </a:lnTo>
                <a:lnTo>
                  <a:pt x="46" y="419"/>
                </a:lnTo>
                <a:lnTo>
                  <a:pt x="46" y="419"/>
                </a:lnTo>
                <a:lnTo>
                  <a:pt x="46" y="419"/>
                </a:lnTo>
                <a:lnTo>
                  <a:pt x="44" y="419"/>
                </a:lnTo>
                <a:lnTo>
                  <a:pt x="44" y="419"/>
                </a:lnTo>
                <a:lnTo>
                  <a:pt x="44" y="419"/>
                </a:lnTo>
                <a:lnTo>
                  <a:pt x="44" y="419"/>
                </a:lnTo>
                <a:lnTo>
                  <a:pt x="44" y="419"/>
                </a:lnTo>
                <a:lnTo>
                  <a:pt x="44" y="419"/>
                </a:lnTo>
                <a:lnTo>
                  <a:pt x="44" y="419"/>
                </a:lnTo>
                <a:lnTo>
                  <a:pt x="43" y="419"/>
                </a:lnTo>
                <a:lnTo>
                  <a:pt x="43" y="419"/>
                </a:lnTo>
                <a:lnTo>
                  <a:pt x="43" y="419"/>
                </a:lnTo>
                <a:lnTo>
                  <a:pt x="43" y="419"/>
                </a:lnTo>
                <a:lnTo>
                  <a:pt x="43" y="419"/>
                </a:lnTo>
                <a:lnTo>
                  <a:pt x="43" y="419"/>
                </a:lnTo>
                <a:lnTo>
                  <a:pt x="42" y="419"/>
                </a:lnTo>
                <a:lnTo>
                  <a:pt x="42" y="419"/>
                </a:lnTo>
                <a:lnTo>
                  <a:pt x="42" y="419"/>
                </a:lnTo>
                <a:lnTo>
                  <a:pt x="42" y="419"/>
                </a:lnTo>
                <a:lnTo>
                  <a:pt x="42" y="419"/>
                </a:lnTo>
                <a:lnTo>
                  <a:pt x="42" y="419"/>
                </a:lnTo>
                <a:lnTo>
                  <a:pt x="41" y="419"/>
                </a:lnTo>
                <a:lnTo>
                  <a:pt x="41" y="419"/>
                </a:lnTo>
                <a:lnTo>
                  <a:pt x="41" y="419"/>
                </a:lnTo>
                <a:lnTo>
                  <a:pt x="41" y="419"/>
                </a:lnTo>
                <a:lnTo>
                  <a:pt x="41" y="419"/>
                </a:lnTo>
                <a:lnTo>
                  <a:pt x="41" y="419"/>
                </a:lnTo>
                <a:lnTo>
                  <a:pt x="40" y="419"/>
                </a:lnTo>
                <a:lnTo>
                  <a:pt x="40" y="419"/>
                </a:lnTo>
                <a:lnTo>
                  <a:pt x="40" y="419"/>
                </a:lnTo>
                <a:lnTo>
                  <a:pt x="40" y="419"/>
                </a:lnTo>
                <a:lnTo>
                  <a:pt x="40" y="419"/>
                </a:lnTo>
                <a:lnTo>
                  <a:pt x="40" y="419"/>
                </a:lnTo>
                <a:lnTo>
                  <a:pt x="39" y="419"/>
                </a:lnTo>
                <a:lnTo>
                  <a:pt x="39" y="419"/>
                </a:lnTo>
                <a:lnTo>
                  <a:pt x="39" y="419"/>
                </a:lnTo>
                <a:lnTo>
                  <a:pt x="39" y="419"/>
                </a:lnTo>
                <a:lnTo>
                  <a:pt x="39" y="419"/>
                </a:lnTo>
                <a:lnTo>
                  <a:pt x="39" y="419"/>
                </a:lnTo>
                <a:lnTo>
                  <a:pt x="38" y="419"/>
                </a:lnTo>
                <a:lnTo>
                  <a:pt x="38" y="419"/>
                </a:lnTo>
                <a:lnTo>
                  <a:pt x="38" y="419"/>
                </a:lnTo>
                <a:lnTo>
                  <a:pt x="38" y="419"/>
                </a:lnTo>
                <a:lnTo>
                  <a:pt x="38" y="419"/>
                </a:lnTo>
                <a:lnTo>
                  <a:pt x="36" y="419"/>
                </a:lnTo>
                <a:lnTo>
                  <a:pt x="36" y="419"/>
                </a:lnTo>
                <a:lnTo>
                  <a:pt x="36" y="419"/>
                </a:lnTo>
                <a:lnTo>
                  <a:pt x="36" y="419"/>
                </a:lnTo>
                <a:lnTo>
                  <a:pt x="36" y="419"/>
                </a:lnTo>
                <a:lnTo>
                  <a:pt x="36" y="419"/>
                </a:lnTo>
                <a:lnTo>
                  <a:pt x="35" y="419"/>
                </a:lnTo>
                <a:lnTo>
                  <a:pt x="35" y="419"/>
                </a:lnTo>
                <a:lnTo>
                  <a:pt x="35" y="419"/>
                </a:lnTo>
                <a:lnTo>
                  <a:pt x="35" y="419"/>
                </a:lnTo>
                <a:lnTo>
                  <a:pt x="35" y="419"/>
                </a:lnTo>
                <a:lnTo>
                  <a:pt x="35" y="419"/>
                </a:lnTo>
                <a:lnTo>
                  <a:pt x="34" y="419"/>
                </a:lnTo>
                <a:lnTo>
                  <a:pt x="34" y="419"/>
                </a:lnTo>
                <a:lnTo>
                  <a:pt x="34" y="419"/>
                </a:lnTo>
                <a:lnTo>
                  <a:pt x="34" y="419"/>
                </a:lnTo>
                <a:lnTo>
                  <a:pt x="34" y="419"/>
                </a:lnTo>
                <a:lnTo>
                  <a:pt x="34" y="419"/>
                </a:lnTo>
                <a:lnTo>
                  <a:pt x="34" y="419"/>
                </a:lnTo>
                <a:lnTo>
                  <a:pt x="33" y="419"/>
                </a:lnTo>
                <a:lnTo>
                  <a:pt x="33" y="419"/>
                </a:lnTo>
                <a:lnTo>
                  <a:pt x="33" y="419"/>
                </a:lnTo>
                <a:lnTo>
                  <a:pt x="33" y="419"/>
                </a:lnTo>
                <a:lnTo>
                  <a:pt x="33" y="419"/>
                </a:lnTo>
                <a:lnTo>
                  <a:pt x="33" y="419"/>
                </a:lnTo>
                <a:lnTo>
                  <a:pt x="32" y="419"/>
                </a:lnTo>
                <a:lnTo>
                  <a:pt x="32" y="419"/>
                </a:lnTo>
                <a:lnTo>
                  <a:pt x="32" y="419"/>
                </a:lnTo>
                <a:lnTo>
                  <a:pt x="32" y="419"/>
                </a:lnTo>
                <a:lnTo>
                  <a:pt x="32" y="419"/>
                </a:lnTo>
                <a:lnTo>
                  <a:pt x="32" y="419"/>
                </a:lnTo>
                <a:lnTo>
                  <a:pt x="31" y="419"/>
                </a:lnTo>
                <a:lnTo>
                  <a:pt x="31" y="419"/>
                </a:lnTo>
                <a:lnTo>
                  <a:pt x="31" y="419"/>
                </a:lnTo>
                <a:lnTo>
                  <a:pt x="31" y="419"/>
                </a:lnTo>
                <a:lnTo>
                  <a:pt x="31" y="419"/>
                </a:lnTo>
                <a:lnTo>
                  <a:pt x="31" y="420"/>
                </a:lnTo>
                <a:lnTo>
                  <a:pt x="30" y="420"/>
                </a:lnTo>
                <a:lnTo>
                  <a:pt x="30" y="420"/>
                </a:lnTo>
                <a:lnTo>
                  <a:pt x="30" y="420"/>
                </a:lnTo>
                <a:lnTo>
                  <a:pt x="30" y="420"/>
                </a:lnTo>
                <a:lnTo>
                  <a:pt x="30" y="420"/>
                </a:lnTo>
                <a:lnTo>
                  <a:pt x="30" y="420"/>
                </a:lnTo>
                <a:lnTo>
                  <a:pt x="30" y="420"/>
                </a:lnTo>
                <a:lnTo>
                  <a:pt x="29" y="420"/>
                </a:lnTo>
                <a:lnTo>
                  <a:pt x="29" y="420"/>
                </a:lnTo>
                <a:lnTo>
                  <a:pt x="29" y="420"/>
                </a:lnTo>
                <a:lnTo>
                  <a:pt x="29" y="420"/>
                </a:lnTo>
                <a:lnTo>
                  <a:pt x="29" y="420"/>
                </a:lnTo>
                <a:lnTo>
                  <a:pt x="29" y="420"/>
                </a:lnTo>
                <a:lnTo>
                  <a:pt x="27" y="420"/>
                </a:lnTo>
                <a:lnTo>
                  <a:pt x="27" y="420"/>
                </a:lnTo>
                <a:lnTo>
                  <a:pt x="27" y="420"/>
                </a:lnTo>
                <a:lnTo>
                  <a:pt x="27" y="420"/>
                </a:lnTo>
                <a:lnTo>
                  <a:pt x="27" y="420"/>
                </a:lnTo>
                <a:lnTo>
                  <a:pt x="27" y="420"/>
                </a:lnTo>
                <a:lnTo>
                  <a:pt x="27" y="421"/>
                </a:lnTo>
                <a:lnTo>
                  <a:pt x="26" y="421"/>
                </a:lnTo>
                <a:lnTo>
                  <a:pt x="26" y="421"/>
                </a:lnTo>
                <a:lnTo>
                  <a:pt x="26" y="421"/>
                </a:lnTo>
                <a:lnTo>
                  <a:pt x="26" y="421"/>
                </a:lnTo>
                <a:lnTo>
                  <a:pt x="26" y="421"/>
                </a:lnTo>
                <a:lnTo>
                  <a:pt x="26" y="421"/>
                </a:lnTo>
                <a:lnTo>
                  <a:pt x="26" y="421"/>
                </a:lnTo>
                <a:lnTo>
                  <a:pt x="25" y="421"/>
                </a:lnTo>
                <a:lnTo>
                  <a:pt x="25" y="421"/>
                </a:lnTo>
                <a:lnTo>
                  <a:pt x="25" y="421"/>
                </a:lnTo>
                <a:lnTo>
                  <a:pt x="25" y="421"/>
                </a:lnTo>
                <a:lnTo>
                  <a:pt x="25" y="421"/>
                </a:lnTo>
                <a:lnTo>
                  <a:pt x="25" y="421"/>
                </a:lnTo>
                <a:lnTo>
                  <a:pt x="25" y="422"/>
                </a:lnTo>
                <a:lnTo>
                  <a:pt x="24" y="422"/>
                </a:lnTo>
                <a:lnTo>
                  <a:pt x="24" y="422"/>
                </a:lnTo>
                <a:lnTo>
                  <a:pt x="24" y="422"/>
                </a:lnTo>
                <a:lnTo>
                  <a:pt x="24" y="422"/>
                </a:lnTo>
                <a:lnTo>
                  <a:pt x="24" y="422"/>
                </a:lnTo>
                <a:lnTo>
                  <a:pt x="24" y="422"/>
                </a:lnTo>
                <a:lnTo>
                  <a:pt x="24" y="422"/>
                </a:lnTo>
                <a:lnTo>
                  <a:pt x="23" y="422"/>
                </a:lnTo>
                <a:lnTo>
                  <a:pt x="23" y="422"/>
                </a:lnTo>
                <a:lnTo>
                  <a:pt x="23" y="422"/>
                </a:lnTo>
                <a:lnTo>
                  <a:pt x="23" y="422"/>
                </a:lnTo>
                <a:lnTo>
                  <a:pt x="23" y="422"/>
                </a:lnTo>
                <a:lnTo>
                  <a:pt x="23" y="423"/>
                </a:lnTo>
                <a:lnTo>
                  <a:pt x="23" y="423"/>
                </a:lnTo>
                <a:lnTo>
                  <a:pt x="22" y="423"/>
                </a:lnTo>
                <a:lnTo>
                  <a:pt x="22" y="423"/>
                </a:lnTo>
                <a:lnTo>
                  <a:pt x="22" y="423"/>
                </a:lnTo>
                <a:lnTo>
                  <a:pt x="22" y="423"/>
                </a:lnTo>
                <a:lnTo>
                  <a:pt x="22" y="423"/>
                </a:lnTo>
                <a:lnTo>
                  <a:pt x="22" y="423"/>
                </a:lnTo>
                <a:lnTo>
                  <a:pt x="22" y="423"/>
                </a:lnTo>
                <a:lnTo>
                  <a:pt x="22" y="423"/>
                </a:lnTo>
                <a:lnTo>
                  <a:pt x="21" y="423"/>
                </a:lnTo>
                <a:lnTo>
                  <a:pt x="21" y="424"/>
                </a:lnTo>
                <a:lnTo>
                  <a:pt x="21" y="424"/>
                </a:lnTo>
                <a:lnTo>
                  <a:pt x="21" y="424"/>
                </a:lnTo>
                <a:lnTo>
                  <a:pt x="21" y="424"/>
                </a:lnTo>
                <a:lnTo>
                  <a:pt x="21" y="424"/>
                </a:lnTo>
                <a:lnTo>
                  <a:pt x="21" y="424"/>
                </a:lnTo>
                <a:lnTo>
                  <a:pt x="21" y="424"/>
                </a:lnTo>
                <a:lnTo>
                  <a:pt x="20" y="424"/>
                </a:lnTo>
                <a:lnTo>
                  <a:pt x="20" y="424"/>
                </a:lnTo>
                <a:lnTo>
                  <a:pt x="20" y="424"/>
                </a:lnTo>
                <a:lnTo>
                  <a:pt x="20" y="424"/>
                </a:lnTo>
                <a:lnTo>
                  <a:pt x="20" y="426"/>
                </a:lnTo>
                <a:lnTo>
                  <a:pt x="20" y="426"/>
                </a:lnTo>
                <a:lnTo>
                  <a:pt x="20" y="426"/>
                </a:lnTo>
                <a:lnTo>
                  <a:pt x="20" y="426"/>
                </a:lnTo>
                <a:lnTo>
                  <a:pt x="18" y="426"/>
                </a:lnTo>
                <a:lnTo>
                  <a:pt x="18" y="426"/>
                </a:lnTo>
                <a:lnTo>
                  <a:pt x="18" y="426"/>
                </a:lnTo>
                <a:lnTo>
                  <a:pt x="18" y="426"/>
                </a:lnTo>
                <a:lnTo>
                  <a:pt x="18" y="426"/>
                </a:lnTo>
                <a:lnTo>
                  <a:pt x="18" y="427"/>
                </a:lnTo>
                <a:lnTo>
                  <a:pt x="18" y="427"/>
                </a:lnTo>
                <a:lnTo>
                  <a:pt x="18" y="427"/>
                </a:lnTo>
                <a:lnTo>
                  <a:pt x="18" y="427"/>
                </a:lnTo>
                <a:lnTo>
                  <a:pt x="17" y="427"/>
                </a:lnTo>
                <a:lnTo>
                  <a:pt x="17" y="427"/>
                </a:lnTo>
                <a:lnTo>
                  <a:pt x="17" y="427"/>
                </a:lnTo>
                <a:lnTo>
                  <a:pt x="17" y="427"/>
                </a:lnTo>
                <a:lnTo>
                  <a:pt x="17" y="427"/>
                </a:lnTo>
                <a:lnTo>
                  <a:pt x="17" y="428"/>
                </a:lnTo>
                <a:lnTo>
                  <a:pt x="17" y="428"/>
                </a:lnTo>
                <a:lnTo>
                  <a:pt x="17" y="428"/>
                </a:lnTo>
                <a:lnTo>
                  <a:pt x="17" y="428"/>
                </a:lnTo>
                <a:lnTo>
                  <a:pt x="16" y="428"/>
                </a:lnTo>
                <a:lnTo>
                  <a:pt x="16" y="428"/>
                </a:lnTo>
                <a:lnTo>
                  <a:pt x="16" y="428"/>
                </a:lnTo>
                <a:lnTo>
                  <a:pt x="16" y="428"/>
                </a:lnTo>
                <a:lnTo>
                  <a:pt x="16" y="428"/>
                </a:lnTo>
                <a:lnTo>
                  <a:pt x="16" y="429"/>
                </a:lnTo>
                <a:lnTo>
                  <a:pt x="16" y="429"/>
                </a:lnTo>
                <a:lnTo>
                  <a:pt x="16" y="429"/>
                </a:lnTo>
                <a:lnTo>
                  <a:pt x="16" y="429"/>
                </a:lnTo>
                <a:lnTo>
                  <a:pt x="15" y="429"/>
                </a:lnTo>
                <a:lnTo>
                  <a:pt x="15" y="429"/>
                </a:lnTo>
                <a:lnTo>
                  <a:pt x="15" y="429"/>
                </a:lnTo>
                <a:lnTo>
                  <a:pt x="15" y="429"/>
                </a:lnTo>
                <a:lnTo>
                  <a:pt x="15" y="430"/>
                </a:lnTo>
                <a:lnTo>
                  <a:pt x="15" y="430"/>
                </a:lnTo>
                <a:lnTo>
                  <a:pt x="15" y="430"/>
                </a:lnTo>
                <a:lnTo>
                  <a:pt x="15" y="430"/>
                </a:lnTo>
                <a:lnTo>
                  <a:pt x="15" y="430"/>
                </a:lnTo>
                <a:lnTo>
                  <a:pt x="15" y="430"/>
                </a:lnTo>
                <a:lnTo>
                  <a:pt x="14" y="430"/>
                </a:lnTo>
                <a:lnTo>
                  <a:pt x="14" y="430"/>
                </a:lnTo>
                <a:lnTo>
                  <a:pt x="14" y="431"/>
                </a:lnTo>
                <a:lnTo>
                  <a:pt x="14" y="431"/>
                </a:lnTo>
                <a:lnTo>
                  <a:pt x="14" y="431"/>
                </a:lnTo>
                <a:lnTo>
                  <a:pt x="14" y="431"/>
                </a:lnTo>
                <a:lnTo>
                  <a:pt x="14" y="431"/>
                </a:lnTo>
                <a:lnTo>
                  <a:pt x="14" y="431"/>
                </a:lnTo>
                <a:lnTo>
                  <a:pt x="14" y="431"/>
                </a:lnTo>
                <a:lnTo>
                  <a:pt x="14" y="431"/>
                </a:lnTo>
                <a:lnTo>
                  <a:pt x="14" y="432"/>
                </a:lnTo>
                <a:lnTo>
                  <a:pt x="13" y="432"/>
                </a:lnTo>
                <a:lnTo>
                  <a:pt x="13" y="432"/>
                </a:lnTo>
                <a:lnTo>
                  <a:pt x="13" y="432"/>
                </a:lnTo>
                <a:lnTo>
                  <a:pt x="13" y="432"/>
                </a:lnTo>
                <a:lnTo>
                  <a:pt x="13" y="432"/>
                </a:lnTo>
                <a:lnTo>
                  <a:pt x="13" y="432"/>
                </a:lnTo>
                <a:lnTo>
                  <a:pt x="13" y="433"/>
                </a:lnTo>
                <a:lnTo>
                  <a:pt x="13" y="433"/>
                </a:lnTo>
                <a:lnTo>
                  <a:pt x="13" y="433"/>
                </a:lnTo>
                <a:lnTo>
                  <a:pt x="13" y="433"/>
                </a:lnTo>
                <a:lnTo>
                  <a:pt x="13" y="433"/>
                </a:lnTo>
                <a:lnTo>
                  <a:pt x="13" y="433"/>
                </a:lnTo>
                <a:lnTo>
                  <a:pt x="13" y="433"/>
                </a:lnTo>
                <a:lnTo>
                  <a:pt x="12" y="435"/>
                </a:lnTo>
                <a:lnTo>
                  <a:pt x="12" y="435"/>
                </a:lnTo>
                <a:lnTo>
                  <a:pt x="12" y="435"/>
                </a:lnTo>
                <a:lnTo>
                  <a:pt x="12" y="435"/>
                </a:lnTo>
                <a:lnTo>
                  <a:pt x="12" y="435"/>
                </a:lnTo>
                <a:lnTo>
                  <a:pt x="12" y="435"/>
                </a:lnTo>
                <a:lnTo>
                  <a:pt x="12" y="435"/>
                </a:lnTo>
                <a:lnTo>
                  <a:pt x="12" y="436"/>
                </a:lnTo>
                <a:lnTo>
                  <a:pt x="12" y="436"/>
                </a:lnTo>
                <a:lnTo>
                  <a:pt x="12" y="436"/>
                </a:lnTo>
                <a:lnTo>
                  <a:pt x="12" y="436"/>
                </a:lnTo>
                <a:lnTo>
                  <a:pt x="12" y="436"/>
                </a:lnTo>
                <a:lnTo>
                  <a:pt x="12" y="436"/>
                </a:lnTo>
                <a:lnTo>
                  <a:pt x="12" y="436"/>
                </a:lnTo>
                <a:lnTo>
                  <a:pt x="11" y="437"/>
                </a:lnTo>
                <a:lnTo>
                  <a:pt x="11" y="437"/>
                </a:lnTo>
                <a:lnTo>
                  <a:pt x="11" y="437"/>
                </a:lnTo>
                <a:lnTo>
                  <a:pt x="11" y="437"/>
                </a:lnTo>
                <a:lnTo>
                  <a:pt x="11" y="437"/>
                </a:lnTo>
                <a:lnTo>
                  <a:pt x="11" y="437"/>
                </a:lnTo>
                <a:lnTo>
                  <a:pt x="11" y="437"/>
                </a:lnTo>
                <a:lnTo>
                  <a:pt x="11" y="438"/>
                </a:lnTo>
                <a:lnTo>
                  <a:pt x="11" y="438"/>
                </a:lnTo>
                <a:lnTo>
                  <a:pt x="11" y="438"/>
                </a:lnTo>
                <a:lnTo>
                  <a:pt x="11" y="438"/>
                </a:lnTo>
                <a:lnTo>
                  <a:pt x="11" y="438"/>
                </a:lnTo>
                <a:lnTo>
                  <a:pt x="11" y="438"/>
                </a:lnTo>
                <a:lnTo>
                  <a:pt x="11" y="438"/>
                </a:lnTo>
                <a:lnTo>
                  <a:pt x="11" y="439"/>
                </a:lnTo>
                <a:lnTo>
                  <a:pt x="11" y="439"/>
                </a:lnTo>
                <a:lnTo>
                  <a:pt x="11" y="439"/>
                </a:lnTo>
                <a:lnTo>
                  <a:pt x="11" y="439"/>
                </a:lnTo>
                <a:lnTo>
                  <a:pt x="9" y="439"/>
                </a:lnTo>
                <a:lnTo>
                  <a:pt x="9" y="439"/>
                </a:lnTo>
                <a:lnTo>
                  <a:pt x="9" y="440"/>
                </a:lnTo>
                <a:lnTo>
                  <a:pt x="9" y="440"/>
                </a:lnTo>
                <a:lnTo>
                  <a:pt x="9" y="440"/>
                </a:lnTo>
                <a:lnTo>
                  <a:pt x="9" y="440"/>
                </a:lnTo>
                <a:lnTo>
                  <a:pt x="9" y="440"/>
                </a:lnTo>
                <a:lnTo>
                  <a:pt x="9" y="440"/>
                </a:lnTo>
                <a:lnTo>
                  <a:pt x="9" y="440"/>
                </a:lnTo>
                <a:lnTo>
                  <a:pt x="9" y="441"/>
                </a:lnTo>
                <a:lnTo>
                  <a:pt x="9" y="441"/>
                </a:lnTo>
                <a:lnTo>
                  <a:pt x="9" y="441"/>
                </a:lnTo>
                <a:lnTo>
                  <a:pt x="9" y="441"/>
                </a:lnTo>
                <a:lnTo>
                  <a:pt x="9" y="441"/>
                </a:lnTo>
                <a:lnTo>
                  <a:pt x="9" y="441"/>
                </a:lnTo>
                <a:lnTo>
                  <a:pt x="9" y="442"/>
                </a:lnTo>
                <a:lnTo>
                  <a:pt x="9" y="442"/>
                </a:lnTo>
                <a:lnTo>
                  <a:pt x="9" y="442"/>
                </a:lnTo>
                <a:lnTo>
                  <a:pt x="9" y="442"/>
                </a:lnTo>
                <a:lnTo>
                  <a:pt x="9" y="442"/>
                </a:lnTo>
                <a:lnTo>
                  <a:pt x="9" y="442"/>
                </a:lnTo>
                <a:lnTo>
                  <a:pt x="9" y="444"/>
                </a:lnTo>
                <a:lnTo>
                  <a:pt x="9" y="444"/>
                </a:lnTo>
                <a:lnTo>
                  <a:pt x="9" y="444"/>
                </a:lnTo>
                <a:lnTo>
                  <a:pt x="9" y="444"/>
                </a:lnTo>
                <a:lnTo>
                  <a:pt x="9" y="444"/>
                </a:lnTo>
                <a:lnTo>
                  <a:pt x="9" y="444"/>
                </a:lnTo>
                <a:lnTo>
                  <a:pt x="9" y="445"/>
                </a:lnTo>
                <a:lnTo>
                  <a:pt x="9" y="445"/>
                </a:lnTo>
                <a:lnTo>
                  <a:pt x="8" y="445"/>
                </a:lnTo>
                <a:lnTo>
                  <a:pt x="8" y="445"/>
                </a:lnTo>
                <a:lnTo>
                  <a:pt x="8" y="445"/>
                </a:lnTo>
                <a:lnTo>
                  <a:pt x="8" y="445"/>
                </a:lnTo>
                <a:lnTo>
                  <a:pt x="8" y="446"/>
                </a:lnTo>
                <a:lnTo>
                  <a:pt x="8" y="446"/>
                </a:lnTo>
                <a:lnTo>
                  <a:pt x="8" y="446"/>
                </a:lnTo>
                <a:lnTo>
                  <a:pt x="8" y="446"/>
                </a:lnTo>
                <a:lnTo>
                  <a:pt x="8" y="446"/>
                </a:lnTo>
                <a:lnTo>
                  <a:pt x="8" y="446"/>
                </a:lnTo>
                <a:lnTo>
                  <a:pt x="8" y="447"/>
                </a:lnTo>
                <a:lnTo>
                  <a:pt x="8" y="447"/>
                </a:lnTo>
                <a:lnTo>
                  <a:pt x="8" y="447"/>
                </a:lnTo>
                <a:lnTo>
                  <a:pt x="8" y="447"/>
                </a:lnTo>
                <a:lnTo>
                  <a:pt x="8" y="447"/>
                </a:lnTo>
                <a:lnTo>
                  <a:pt x="8" y="447"/>
                </a:lnTo>
                <a:lnTo>
                  <a:pt x="8" y="448"/>
                </a:lnTo>
                <a:lnTo>
                  <a:pt x="8" y="448"/>
                </a:lnTo>
                <a:lnTo>
                  <a:pt x="8" y="448"/>
                </a:lnTo>
                <a:lnTo>
                  <a:pt x="8" y="448"/>
                </a:lnTo>
                <a:lnTo>
                  <a:pt x="8" y="448"/>
                </a:lnTo>
                <a:lnTo>
                  <a:pt x="8" y="448"/>
                </a:lnTo>
                <a:lnTo>
                  <a:pt x="8" y="449"/>
                </a:lnTo>
                <a:lnTo>
                  <a:pt x="8" y="449"/>
                </a:lnTo>
                <a:lnTo>
                  <a:pt x="8" y="449"/>
                </a:lnTo>
                <a:lnTo>
                  <a:pt x="8" y="449"/>
                </a:lnTo>
                <a:lnTo>
                  <a:pt x="8" y="449"/>
                </a:lnTo>
                <a:lnTo>
                  <a:pt x="8" y="449"/>
                </a:lnTo>
                <a:lnTo>
                  <a:pt x="8" y="450"/>
                </a:lnTo>
                <a:lnTo>
                  <a:pt x="8" y="450"/>
                </a:lnTo>
                <a:lnTo>
                  <a:pt x="8" y="450"/>
                </a:lnTo>
                <a:lnTo>
                  <a:pt x="8" y="450"/>
                </a:lnTo>
                <a:lnTo>
                  <a:pt x="8" y="450"/>
                </a:lnTo>
                <a:lnTo>
                  <a:pt x="8" y="450"/>
                </a:lnTo>
                <a:lnTo>
                  <a:pt x="8" y="452"/>
                </a:lnTo>
                <a:lnTo>
                  <a:pt x="8" y="452"/>
                </a:lnTo>
                <a:lnTo>
                  <a:pt x="8" y="452"/>
                </a:lnTo>
                <a:lnTo>
                  <a:pt x="9" y="452"/>
                </a:lnTo>
                <a:lnTo>
                  <a:pt x="9" y="452"/>
                </a:lnTo>
                <a:lnTo>
                  <a:pt x="9" y="452"/>
                </a:lnTo>
                <a:lnTo>
                  <a:pt x="9" y="453"/>
                </a:lnTo>
                <a:lnTo>
                  <a:pt x="9" y="453"/>
                </a:lnTo>
                <a:lnTo>
                  <a:pt x="9" y="453"/>
                </a:lnTo>
                <a:lnTo>
                  <a:pt x="9" y="453"/>
                </a:lnTo>
                <a:lnTo>
                  <a:pt x="9" y="453"/>
                </a:lnTo>
                <a:lnTo>
                  <a:pt x="9" y="453"/>
                </a:lnTo>
                <a:lnTo>
                  <a:pt x="9" y="454"/>
                </a:lnTo>
                <a:lnTo>
                  <a:pt x="9" y="454"/>
                </a:lnTo>
                <a:lnTo>
                  <a:pt x="9" y="454"/>
                </a:lnTo>
                <a:lnTo>
                  <a:pt x="9" y="454"/>
                </a:lnTo>
                <a:lnTo>
                  <a:pt x="9" y="454"/>
                </a:lnTo>
                <a:lnTo>
                  <a:pt x="9" y="454"/>
                </a:lnTo>
                <a:lnTo>
                  <a:pt x="9" y="455"/>
                </a:lnTo>
                <a:lnTo>
                  <a:pt x="9" y="455"/>
                </a:lnTo>
                <a:lnTo>
                  <a:pt x="9" y="455"/>
                </a:lnTo>
                <a:lnTo>
                  <a:pt x="9" y="455"/>
                </a:lnTo>
                <a:lnTo>
                  <a:pt x="9" y="455"/>
                </a:lnTo>
                <a:lnTo>
                  <a:pt x="9" y="455"/>
                </a:lnTo>
                <a:lnTo>
                  <a:pt x="9" y="455"/>
                </a:lnTo>
                <a:lnTo>
                  <a:pt x="9" y="456"/>
                </a:lnTo>
                <a:lnTo>
                  <a:pt x="9" y="456"/>
                </a:lnTo>
                <a:lnTo>
                  <a:pt x="9" y="456"/>
                </a:lnTo>
                <a:lnTo>
                  <a:pt x="9" y="456"/>
                </a:lnTo>
                <a:lnTo>
                  <a:pt x="9" y="456"/>
                </a:lnTo>
                <a:lnTo>
                  <a:pt x="9" y="456"/>
                </a:lnTo>
                <a:lnTo>
                  <a:pt x="9" y="457"/>
                </a:lnTo>
                <a:lnTo>
                  <a:pt x="11" y="457"/>
                </a:lnTo>
                <a:lnTo>
                  <a:pt x="11" y="457"/>
                </a:lnTo>
                <a:lnTo>
                  <a:pt x="11" y="457"/>
                </a:lnTo>
                <a:lnTo>
                  <a:pt x="11" y="457"/>
                </a:lnTo>
                <a:lnTo>
                  <a:pt x="11" y="457"/>
                </a:lnTo>
                <a:lnTo>
                  <a:pt x="11" y="457"/>
                </a:lnTo>
                <a:lnTo>
                  <a:pt x="11" y="458"/>
                </a:lnTo>
                <a:lnTo>
                  <a:pt x="11" y="458"/>
                </a:lnTo>
                <a:lnTo>
                  <a:pt x="11" y="458"/>
                </a:lnTo>
                <a:lnTo>
                  <a:pt x="11" y="458"/>
                </a:lnTo>
                <a:lnTo>
                  <a:pt x="11" y="458"/>
                </a:lnTo>
                <a:lnTo>
                  <a:pt x="11" y="458"/>
                </a:lnTo>
                <a:lnTo>
                  <a:pt x="11" y="459"/>
                </a:lnTo>
                <a:lnTo>
                  <a:pt x="11" y="459"/>
                </a:lnTo>
                <a:lnTo>
                  <a:pt x="11" y="459"/>
                </a:lnTo>
                <a:lnTo>
                  <a:pt x="11" y="459"/>
                </a:lnTo>
                <a:lnTo>
                  <a:pt x="11" y="459"/>
                </a:lnTo>
                <a:lnTo>
                  <a:pt x="11" y="459"/>
                </a:lnTo>
                <a:lnTo>
                  <a:pt x="12" y="459"/>
                </a:lnTo>
                <a:lnTo>
                  <a:pt x="12" y="461"/>
                </a:lnTo>
                <a:lnTo>
                  <a:pt x="12" y="461"/>
                </a:lnTo>
                <a:lnTo>
                  <a:pt x="12" y="461"/>
                </a:lnTo>
                <a:lnTo>
                  <a:pt x="12" y="461"/>
                </a:lnTo>
                <a:lnTo>
                  <a:pt x="12" y="461"/>
                </a:lnTo>
                <a:lnTo>
                  <a:pt x="12" y="461"/>
                </a:lnTo>
                <a:lnTo>
                  <a:pt x="12" y="461"/>
                </a:lnTo>
                <a:lnTo>
                  <a:pt x="12" y="462"/>
                </a:lnTo>
                <a:lnTo>
                  <a:pt x="12" y="462"/>
                </a:lnTo>
                <a:lnTo>
                  <a:pt x="12" y="462"/>
                </a:lnTo>
                <a:lnTo>
                  <a:pt x="12" y="462"/>
                </a:lnTo>
                <a:lnTo>
                  <a:pt x="12" y="462"/>
                </a:lnTo>
                <a:lnTo>
                  <a:pt x="12" y="462"/>
                </a:lnTo>
                <a:lnTo>
                  <a:pt x="13" y="462"/>
                </a:lnTo>
                <a:lnTo>
                  <a:pt x="13" y="463"/>
                </a:lnTo>
                <a:lnTo>
                  <a:pt x="13" y="463"/>
                </a:lnTo>
                <a:lnTo>
                  <a:pt x="13" y="463"/>
                </a:lnTo>
                <a:lnTo>
                  <a:pt x="13" y="463"/>
                </a:lnTo>
                <a:lnTo>
                  <a:pt x="13" y="463"/>
                </a:lnTo>
                <a:lnTo>
                  <a:pt x="13" y="463"/>
                </a:lnTo>
                <a:lnTo>
                  <a:pt x="13" y="463"/>
                </a:lnTo>
                <a:lnTo>
                  <a:pt x="13" y="464"/>
                </a:lnTo>
                <a:lnTo>
                  <a:pt x="13" y="464"/>
                </a:lnTo>
                <a:lnTo>
                  <a:pt x="13" y="464"/>
                </a:lnTo>
                <a:lnTo>
                  <a:pt x="13" y="464"/>
                </a:lnTo>
                <a:lnTo>
                  <a:pt x="13" y="464"/>
                </a:lnTo>
                <a:lnTo>
                  <a:pt x="14" y="464"/>
                </a:lnTo>
                <a:lnTo>
                  <a:pt x="14" y="464"/>
                </a:lnTo>
                <a:lnTo>
                  <a:pt x="14" y="464"/>
                </a:lnTo>
                <a:lnTo>
                  <a:pt x="14" y="465"/>
                </a:lnTo>
                <a:lnTo>
                  <a:pt x="14" y="465"/>
                </a:lnTo>
                <a:lnTo>
                  <a:pt x="14" y="465"/>
                </a:lnTo>
                <a:lnTo>
                  <a:pt x="14" y="465"/>
                </a:lnTo>
                <a:lnTo>
                  <a:pt x="14" y="465"/>
                </a:lnTo>
                <a:lnTo>
                  <a:pt x="14" y="465"/>
                </a:lnTo>
                <a:lnTo>
                  <a:pt x="14" y="465"/>
                </a:lnTo>
                <a:lnTo>
                  <a:pt x="14" y="466"/>
                </a:lnTo>
                <a:lnTo>
                  <a:pt x="15" y="466"/>
                </a:lnTo>
                <a:lnTo>
                  <a:pt x="15" y="466"/>
                </a:lnTo>
                <a:lnTo>
                  <a:pt x="15" y="466"/>
                </a:lnTo>
                <a:lnTo>
                  <a:pt x="15" y="466"/>
                </a:lnTo>
                <a:lnTo>
                  <a:pt x="15" y="466"/>
                </a:lnTo>
                <a:lnTo>
                  <a:pt x="15" y="466"/>
                </a:lnTo>
                <a:lnTo>
                  <a:pt x="15" y="466"/>
                </a:lnTo>
                <a:lnTo>
                  <a:pt x="15" y="467"/>
                </a:lnTo>
                <a:lnTo>
                  <a:pt x="15" y="467"/>
                </a:lnTo>
                <a:lnTo>
                  <a:pt x="15" y="467"/>
                </a:lnTo>
                <a:lnTo>
                  <a:pt x="16" y="467"/>
                </a:lnTo>
                <a:lnTo>
                  <a:pt x="16" y="467"/>
                </a:lnTo>
                <a:lnTo>
                  <a:pt x="16" y="467"/>
                </a:lnTo>
                <a:lnTo>
                  <a:pt x="16" y="467"/>
                </a:lnTo>
                <a:lnTo>
                  <a:pt x="16" y="467"/>
                </a:lnTo>
                <a:lnTo>
                  <a:pt x="16" y="468"/>
                </a:lnTo>
                <a:lnTo>
                  <a:pt x="16" y="468"/>
                </a:lnTo>
                <a:lnTo>
                  <a:pt x="16" y="468"/>
                </a:lnTo>
                <a:lnTo>
                  <a:pt x="16" y="468"/>
                </a:lnTo>
                <a:lnTo>
                  <a:pt x="17" y="468"/>
                </a:lnTo>
                <a:lnTo>
                  <a:pt x="17" y="468"/>
                </a:lnTo>
                <a:lnTo>
                  <a:pt x="17" y="468"/>
                </a:lnTo>
                <a:lnTo>
                  <a:pt x="17" y="468"/>
                </a:lnTo>
                <a:lnTo>
                  <a:pt x="17" y="468"/>
                </a:lnTo>
                <a:lnTo>
                  <a:pt x="17" y="470"/>
                </a:lnTo>
                <a:lnTo>
                  <a:pt x="17" y="470"/>
                </a:lnTo>
                <a:lnTo>
                  <a:pt x="17" y="470"/>
                </a:lnTo>
                <a:lnTo>
                  <a:pt x="17" y="470"/>
                </a:lnTo>
                <a:lnTo>
                  <a:pt x="18" y="470"/>
                </a:lnTo>
                <a:lnTo>
                  <a:pt x="18" y="470"/>
                </a:lnTo>
                <a:lnTo>
                  <a:pt x="18" y="470"/>
                </a:lnTo>
                <a:lnTo>
                  <a:pt x="18" y="470"/>
                </a:lnTo>
                <a:lnTo>
                  <a:pt x="18" y="470"/>
                </a:lnTo>
                <a:lnTo>
                  <a:pt x="18" y="471"/>
                </a:lnTo>
                <a:lnTo>
                  <a:pt x="18" y="471"/>
                </a:lnTo>
                <a:lnTo>
                  <a:pt x="18" y="471"/>
                </a:lnTo>
                <a:lnTo>
                  <a:pt x="18" y="471"/>
                </a:lnTo>
                <a:lnTo>
                  <a:pt x="20" y="471"/>
                </a:lnTo>
                <a:lnTo>
                  <a:pt x="20" y="471"/>
                </a:lnTo>
                <a:lnTo>
                  <a:pt x="20" y="471"/>
                </a:lnTo>
                <a:lnTo>
                  <a:pt x="20" y="471"/>
                </a:lnTo>
                <a:lnTo>
                  <a:pt x="20" y="471"/>
                </a:lnTo>
                <a:lnTo>
                  <a:pt x="20" y="471"/>
                </a:lnTo>
                <a:lnTo>
                  <a:pt x="20" y="472"/>
                </a:lnTo>
                <a:lnTo>
                  <a:pt x="20" y="472"/>
                </a:lnTo>
                <a:lnTo>
                  <a:pt x="21" y="472"/>
                </a:lnTo>
                <a:lnTo>
                  <a:pt x="21" y="472"/>
                </a:lnTo>
                <a:lnTo>
                  <a:pt x="21" y="472"/>
                </a:lnTo>
                <a:lnTo>
                  <a:pt x="21" y="472"/>
                </a:lnTo>
                <a:lnTo>
                  <a:pt x="21" y="472"/>
                </a:lnTo>
                <a:lnTo>
                  <a:pt x="21" y="472"/>
                </a:lnTo>
                <a:lnTo>
                  <a:pt x="21" y="472"/>
                </a:lnTo>
                <a:lnTo>
                  <a:pt x="21" y="472"/>
                </a:lnTo>
                <a:lnTo>
                  <a:pt x="22" y="472"/>
                </a:lnTo>
                <a:lnTo>
                  <a:pt x="22" y="473"/>
                </a:lnTo>
                <a:lnTo>
                  <a:pt x="22" y="473"/>
                </a:lnTo>
                <a:lnTo>
                  <a:pt x="22" y="473"/>
                </a:lnTo>
                <a:lnTo>
                  <a:pt x="22" y="473"/>
                </a:lnTo>
                <a:lnTo>
                  <a:pt x="22" y="473"/>
                </a:lnTo>
                <a:lnTo>
                  <a:pt x="22" y="473"/>
                </a:lnTo>
                <a:lnTo>
                  <a:pt x="22" y="473"/>
                </a:lnTo>
                <a:lnTo>
                  <a:pt x="23" y="473"/>
                </a:lnTo>
                <a:lnTo>
                  <a:pt x="23" y="473"/>
                </a:lnTo>
                <a:lnTo>
                  <a:pt x="23" y="473"/>
                </a:lnTo>
                <a:lnTo>
                  <a:pt x="23" y="473"/>
                </a:lnTo>
                <a:lnTo>
                  <a:pt x="23" y="474"/>
                </a:lnTo>
                <a:lnTo>
                  <a:pt x="23" y="474"/>
                </a:lnTo>
                <a:lnTo>
                  <a:pt x="23" y="474"/>
                </a:lnTo>
                <a:lnTo>
                  <a:pt x="24" y="474"/>
                </a:lnTo>
                <a:lnTo>
                  <a:pt x="24" y="474"/>
                </a:lnTo>
                <a:lnTo>
                  <a:pt x="24" y="474"/>
                </a:lnTo>
                <a:lnTo>
                  <a:pt x="24" y="474"/>
                </a:lnTo>
                <a:lnTo>
                  <a:pt x="24" y="474"/>
                </a:lnTo>
                <a:lnTo>
                  <a:pt x="24" y="474"/>
                </a:lnTo>
                <a:lnTo>
                  <a:pt x="24" y="474"/>
                </a:lnTo>
                <a:lnTo>
                  <a:pt x="25" y="474"/>
                </a:lnTo>
                <a:lnTo>
                  <a:pt x="25" y="474"/>
                </a:lnTo>
                <a:lnTo>
                  <a:pt x="25" y="474"/>
                </a:lnTo>
                <a:lnTo>
                  <a:pt x="25" y="475"/>
                </a:lnTo>
                <a:lnTo>
                  <a:pt x="25" y="475"/>
                </a:lnTo>
                <a:lnTo>
                  <a:pt x="25" y="475"/>
                </a:lnTo>
                <a:lnTo>
                  <a:pt x="25" y="475"/>
                </a:lnTo>
                <a:lnTo>
                  <a:pt x="26" y="475"/>
                </a:lnTo>
                <a:lnTo>
                  <a:pt x="26" y="475"/>
                </a:lnTo>
                <a:lnTo>
                  <a:pt x="26" y="475"/>
                </a:lnTo>
                <a:lnTo>
                  <a:pt x="26" y="475"/>
                </a:lnTo>
                <a:lnTo>
                  <a:pt x="26" y="475"/>
                </a:lnTo>
                <a:lnTo>
                  <a:pt x="26" y="475"/>
                </a:lnTo>
                <a:lnTo>
                  <a:pt x="26" y="475"/>
                </a:lnTo>
                <a:lnTo>
                  <a:pt x="27" y="475"/>
                </a:lnTo>
                <a:lnTo>
                  <a:pt x="27" y="475"/>
                </a:lnTo>
                <a:lnTo>
                  <a:pt x="27" y="475"/>
                </a:lnTo>
                <a:lnTo>
                  <a:pt x="27" y="475"/>
                </a:lnTo>
                <a:lnTo>
                  <a:pt x="27" y="476"/>
                </a:lnTo>
                <a:lnTo>
                  <a:pt x="27" y="476"/>
                </a:lnTo>
                <a:lnTo>
                  <a:pt x="27" y="476"/>
                </a:lnTo>
                <a:lnTo>
                  <a:pt x="29" y="476"/>
                </a:lnTo>
                <a:lnTo>
                  <a:pt x="29" y="476"/>
                </a:lnTo>
                <a:lnTo>
                  <a:pt x="29" y="476"/>
                </a:lnTo>
                <a:lnTo>
                  <a:pt x="29" y="476"/>
                </a:lnTo>
                <a:lnTo>
                  <a:pt x="29" y="476"/>
                </a:lnTo>
                <a:lnTo>
                  <a:pt x="29" y="476"/>
                </a:lnTo>
                <a:lnTo>
                  <a:pt x="30" y="476"/>
                </a:lnTo>
                <a:lnTo>
                  <a:pt x="30" y="476"/>
                </a:lnTo>
                <a:lnTo>
                  <a:pt x="30" y="476"/>
                </a:lnTo>
                <a:lnTo>
                  <a:pt x="30" y="476"/>
                </a:lnTo>
                <a:lnTo>
                  <a:pt x="30" y="476"/>
                </a:lnTo>
                <a:lnTo>
                  <a:pt x="30" y="476"/>
                </a:lnTo>
                <a:lnTo>
                  <a:pt x="30" y="476"/>
                </a:lnTo>
                <a:lnTo>
                  <a:pt x="31" y="476"/>
                </a:lnTo>
                <a:lnTo>
                  <a:pt x="31" y="476"/>
                </a:lnTo>
                <a:lnTo>
                  <a:pt x="31" y="476"/>
                </a:lnTo>
                <a:lnTo>
                  <a:pt x="31" y="476"/>
                </a:lnTo>
                <a:lnTo>
                  <a:pt x="31" y="476"/>
                </a:lnTo>
                <a:lnTo>
                  <a:pt x="31" y="477"/>
                </a:lnTo>
                <a:lnTo>
                  <a:pt x="32" y="477"/>
                </a:lnTo>
                <a:lnTo>
                  <a:pt x="32" y="477"/>
                </a:lnTo>
                <a:lnTo>
                  <a:pt x="32" y="477"/>
                </a:lnTo>
                <a:lnTo>
                  <a:pt x="32" y="477"/>
                </a:lnTo>
                <a:lnTo>
                  <a:pt x="32" y="477"/>
                </a:lnTo>
                <a:lnTo>
                  <a:pt x="32" y="477"/>
                </a:lnTo>
                <a:lnTo>
                  <a:pt x="33" y="477"/>
                </a:lnTo>
                <a:lnTo>
                  <a:pt x="33" y="477"/>
                </a:lnTo>
                <a:lnTo>
                  <a:pt x="33" y="477"/>
                </a:lnTo>
                <a:lnTo>
                  <a:pt x="33" y="477"/>
                </a:lnTo>
                <a:lnTo>
                  <a:pt x="33" y="477"/>
                </a:lnTo>
                <a:lnTo>
                  <a:pt x="33" y="477"/>
                </a:lnTo>
                <a:lnTo>
                  <a:pt x="34" y="477"/>
                </a:lnTo>
                <a:lnTo>
                  <a:pt x="34" y="477"/>
                </a:lnTo>
                <a:lnTo>
                  <a:pt x="34" y="477"/>
                </a:lnTo>
                <a:lnTo>
                  <a:pt x="34" y="477"/>
                </a:lnTo>
                <a:lnTo>
                  <a:pt x="34" y="477"/>
                </a:lnTo>
                <a:lnTo>
                  <a:pt x="34" y="477"/>
                </a:lnTo>
                <a:lnTo>
                  <a:pt x="34" y="477"/>
                </a:lnTo>
                <a:lnTo>
                  <a:pt x="35" y="477"/>
                </a:lnTo>
                <a:lnTo>
                  <a:pt x="35" y="477"/>
                </a:lnTo>
                <a:lnTo>
                  <a:pt x="35" y="477"/>
                </a:lnTo>
                <a:lnTo>
                  <a:pt x="35" y="477"/>
                </a:lnTo>
                <a:lnTo>
                  <a:pt x="35" y="477"/>
                </a:lnTo>
                <a:lnTo>
                  <a:pt x="35" y="477"/>
                </a:lnTo>
                <a:lnTo>
                  <a:pt x="36" y="477"/>
                </a:lnTo>
                <a:lnTo>
                  <a:pt x="36" y="477"/>
                </a:lnTo>
                <a:lnTo>
                  <a:pt x="36" y="477"/>
                </a:lnTo>
                <a:lnTo>
                  <a:pt x="36" y="477"/>
                </a:lnTo>
                <a:lnTo>
                  <a:pt x="36" y="477"/>
                </a:lnTo>
                <a:lnTo>
                  <a:pt x="36" y="477"/>
                </a:lnTo>
                <a:lnTo>
                  <a:pt x="38" y="477"/>
                </a:lnTo>
                <a:lnTo>
                  <a:pt x="38" y="477"/>
                </a:lnTo>
                <a:lnTo>
                  <a:pt x="38" y="477"/>
                </a:lnTo>
                <a:lnTo>
                  <a:pt x="38" y="477"/>
                </a:lnTo>
                <a:lnTo>
                  <a:pt x="38" y="477"/>
                </a:lnTo>
                <a:lnTo>
                  <a:pt x="39" y="477"/>
                </a:lnTo>
                <a:lnTo>
                  <a:pt x="39" y="477"/>
                </a:lnTo>
                <a:lnTo>
                  <a:pt x="39" y="477"/>
                </a:lnTo>
                <a:lnTo>
                  <a:pt x="39" y="477"/>
                </a:lnTo>
                <a:lnTo>
                  <a:pt x="39" y="477"/>
                </a:lnTo>
                <a:lnTo>
                  <a:pt x="39" y="477"/>
                </a:lnTo>
                <a:lnTo>
                  <a:pt x="40" y="477"/>
                </a:lnTo>
                <a:lnTo>
                  <a:pt x="40" y="477"/>
                </a:lnTo>
                <a:lnTo>
                  <a:pt x="40" y="477"/>
                </a:lnTo>
                <a:lnTo>
                  <a:pt x="40" y="477"/>
                </a:lnTo>
                <a:lnTo>
                  <a:pt x="40" y="477"/>
                </a:lnTo>
                <a:lnTo>
                  <a:pt x="40" y="477"/>
                </a:lnTo>
                <a:lnTo>
                  <a:pt x="41" y="477"/>
                </a:lnTo>
                <a:lnTo>
                  <a:pt x="41" y="477"/>
                </a:lnTo>
                <a:lnTo>
                  <a:pt x="41" y="477"/>
                </a:lnTo>
                <a:lnTo>
                  <a:pt x="41" y="477"/>
                </a:lnTo>
                <a:lnTo>
                  <a:pt x="41" y="477"/>
                </a:lnTo>
                <a:lnTo>
                  <a:pt x="41" y="477"/>
                </a:lnTo>
                <a:lnTo>
                  <a:pt x="42" y="477"/>
                </a:lnTo>
                <a:lnTo>
                  <a:pt x="42" y="477"/>
                </a:lnTo>
                <a:lnTo>
                  <a:pt x="42" y="477"/>
                </a:lnTo>
                <a:lnTo>
                  <a:pt x="42" y="477"/>
                </a:lnTo>
                <a:lnTo>
                  <a:pt x="42" y="477"/>
                </a:lnTo>
                <a:lnTo>
                  <a:pt x="42" y="477"/>
                </a:lnTo>
                <a:lnTo>
                  <a:pt x="43" y="477"/>
                </a:lnTo>
                <a:lnTo>
                  <a:pt x="43" y="477"/>
                </a:lnTo>
                <a:lnTo>
                  <a:pt x="43" y="477"/>
                </a:lnTo>
                <a:lnTo>
                  <a:pt x="43" y="477"/>
                </a:lnTo>
                <a:lnTo>
                  <a:pt x="43" y="477"/>
                </a:lnTo>
                <a:lnTo>
                  <a:pt x="43" y="477"/>
                </a:lnTo>
                <a:lnTo>
                  <a:pt x="44" y="477"/>
                </a:lnTo>
                <a:lnTo>
                  <a:pt x="44" y="477"/>
                </a:lnTo>
                <a:lnTo>
                  <a:pt x="44" y="477"/>
                </a:lnTo>
                <a:lnTo>
                  <a:pt x="44" y="477"/>
                </a:lnTo>
                <a:lnTo>
                  <a:pt x="44" y="477"/>
                </a:lnTo>
                <a:lnTo>
                  <a:pt x="44" y="477"/>
                </a:lnTo>
                <a:lnTo>
                  <a:pt x="44" y="477"/>
                </a:lnTo>
                <a:lnTo>
                  <a:pt x="46" y="477"/>
                </a:lnTo>
                <a:lnTo>
                  <a:pt x="46" y="477"/>
                </a:lnTo>
                <a:lnTo>
                  <a:pt x="46" y="477"/>
                </a:lnTo>
                <a:lnTo>
                  <a:pt x="46" y="476"/>
                </a:lnTo>
                <a:lnTo>
                  <a:pt x="46" y="476"/>
                </a:lnTo>
                <a:lnTo>
                  <a:pt x="46" y="476"/>
                </a:lnTo>
                <a:lnTo>
                  <a:pt x="47" y="476"/>
                </a:lnTo>
                <a:lnTo>
                  <a:pt x="47" y="476"/>
                </a:lnTo>
                <a:lnTo>
                  <a:pt x="47" y="476"/>
                </a:lnTo>
                <a:lnTo>
                  <a:pt x="47" y="476"/>
                </a:lnTo>
                <a:lnTo>
                  <a:pt x="47" y="476"/>
                </a:lnTo>
                <a:lnTo>
                  <a:pt x="47" y="476"/>
                </a:lnTo>
                <a:lnTo>
                  <a:pt x="48" y="476"/>
                </a:lnTo>
                <a:lnTo>
                  <a:pt x="48" y="476"/>
                </a:lnTo>
                <a:lnTo>
                  <a:pt x="48" y="476"/>
                </a:lnTo>
                <a:lnTo>
                  <a:pt x="48" y="476"/>
                </a:lnTo>
                <a:lnTo>
                  <a:pt x="48" y="476"/>
                </a:lnTo>
                <a:lnTo>
                  <a:pt x="48" y="476"/>
                </a:lnTo>
                <a:lnTo>
                  <a:pt x="48" y="476"/>
                </a:lnTo>
                <a:lnTo>
                  <a:pt x="49" y="476"/>
                </a:lnTo>
                <a:lnTo>
                  <a:pt x="49" y="476"/>
                </a:lnTo>
                <a:lnTo>
                  <a:pt x="49" y="476"/>
                </a:lnTo>
                <a:lnTo>
                  <a:pt x="49" y="476"/>
                </a:lnTo>
                <a:lnTo>
                  <a:pt x="49" y="476"/>
                </a:lnTo>
                <a:lnTo>
                  <a:pt x="49" y="475"/>
                </a:lnTo>
                <a:lnTo>
                  <a:pt x="49" y="475"/>
                </a:lnTo>
                <a:lnTo>
                  <a:pt x="50" y="475"/>
                </a:lnTo>
                <a:lnTo>
                  <a:pt x="50" y="475"/>
                </a:lnTo>
                <a:lnTo>
                  <a:pt x="50" y="475"/>
                </a:lnTo>
                <a:lnTo>
                  <a:pt x="50" y="475"/>
                </a:lnTo>
                <a:lnTo>
                  <a:pt x="50" y="475"/>
                </a:lnTo>
                <a:lnTo>
                  <a:pt x="50" y="475"/>
                </a:lnTo>
                <a:lnTo>
                  <a:pt x="51" y="475"/>
                </a:lnTo>
                <a:lnTo>
                  <a:pt x="51" y="475"/>
                </a:lnTo>
                <a:lnTo>
                  <a:pt x="51" y="475"/>
                </a:lnTo>
                <a:lnTo>
                  <a:pt x="51" y="475"/>
                </a:lnTo>
                <a:lnTo>
                  <a:pt x="51" y="475"/>
                </a:lnTo>
                <a:lnTo>
                  <a:pt x="51" y="475"/>
                </a:lnTo>
                <a:lnTo>
                  <a:pt x="51" y="475"/>
                </a:lnTo>
                <a:lnTo>
                  <a:pt x="52" y="474"/>
                </a:lnTo>
                <a:lnTo>
                  <a:pt x="52" y="474"/>
                </a:lnTo>
                <a:lnTo>
                  <a:pt x="52" y="474"/>
                </a:lnTo>
                <a:lnTo>
                  <a:pt x="52" y="474"/>
                </a:lnTo>
                <a:lnTo>
                  <a:pt x="52" y="474"/>
                </a:lnTo>
                <a:lnTo>
                  <a:pt x="52" y="474"/>
                </a:lnTo>
                <a:lnTo>
                  <a:pt x="52" y="474"/>
                </a:lnTo>
                <a:lnTo>
                  <a:pt x="53" y="474"/>
                </a:lnTo>
                <a:lnTo>
                  <a:pt x="53" y="474"/>
                </a:lnTo>
                <a:lnTo>
                  <a:pt x="53" y="474"/>
                </a:lnTo>
                <a:lnTo>
                  <a:pt x="53" y="474"/>
                </a:lnTo>
                <a:lnTo>
                  <a:pt x="53" y="474"/>
                </a:lnTo>
                <a:lnTo>
                  <a:pt x="53" y="474"/>
                </a:lnTo>
                <a:lnTo>
                  <a:pt x="53" y="473"/>
                </a:lnTo>
                <a:lnTo>
                  <a:pt x="53" y="473"/>
                </a:lnTo>
                <a:lnTo>
                  <a:pt x="55" y="473"/>
                </a:lnTo>
                <a:lnTo>
                  <a:pt x="55" y="473"/>
                </a:lnTo>
                <a:lnTo>
                  <a:pt x="55" y="473"/>
                </a:lnTo>
                <a:lnTo>
                  <a:pt x="55" y="473"/>
                </a:lnTo>
                <a:lnTo>
                  <a:pt x="55" y="473"/>
                </a:lnTo>
                <a:lnTo>
                  <a:pt x="55" y="473"/>
                </a:lnTo>
                <a:lnTo>
                  <a:pt x="55" y="473"/>
                </a:lnTo>
                <a:lnTo>
                  <a:pt x="56" y="473"/>
                </a:lnTo>
                <a:lnTo>
                  <a:pt x="56" y="473"/>
                </a:lnTo>
                <a:lnTo>
                  <a:pt x="56" y="472"/>
                </a:lnTo>
                <a:lnTo>
                  <a:pt x="56" y="472"/>
                </a:lnTo>
                <a:lnTo>
                  <a:pt x="56" y="472"/>
                </a:lnTo>
                <a:lnTo>
                  <a:pt x="56" y="472"/>
                </a:lnTo>
                <a:lnTo>
                  <a:pt x="56" y="472"/>
                </a:lnTo>
                <a:lnTo>
                  <a:pt x="56" y="472"/>
                </a:lnTo>
                <a:lnTo>
                  <a:pt x="57" y="472"/>
                </a:lnTo>
                <a:lnTo>
                  <a:pt x="57" y="472"/>
                </a:lnTo>
                <a:lnTo>
                  <a:pt x="57" y="472"/>
                </a:lnTo>
                <a:lnTo>
                  <a:pt x="57" y="472"/>
                </a:lnTo>
                <a:lnTo>
                  <a:pt x="57" y="472"/>
                </a:lnTo>
                <a:lnTo>
                  <a:pt x="57" y="471"/>
                </a:lnTo>
                <a:lnTo>
                  <a:pt x="57" y="471"/>
                </a:lnTo>
                <a:lnTo>
                  <a:pt x="57" y="471"/>
                </a:lnTo>
                <a:lnTo>
                  <a:pt x="58" y="471"/>
                </a:lnTo>
                <a:lnTo>
                  <a:pt x="58" y="471"/>
                </a:lnTo>
                <a:lnTo>
                  <a:pt x="58" y="471"/>
                </a:lnTo>
                <a:lnTo>
                  <a:pt x="58" y="471"/>
                </a:lnTo>
                <a:lnTo>
                  <a:pt x="58" y="471"/>
                </a:lnTo>
                <a:lnTo>
                  <a:pt x="58" y="471"/>
                </a:lnTo>
                <a:lnTo>
                  <a:pt x="58" y="471"/>
                </a:lnTo>
                <a:lnTo>
                  <a:pt x="58" y="470"/>
                </a:lnTo>
                <a:lnTo>
                  <a:pt x="59" y="470"/>
                </a:lnTo>
                <a:lnTo>
                  <a:pt x="59" y="470"/>
                </a:lnTo>
                <a:lnTo>
                  <a:pt x="59" y="470"/>
                </a:lnTo>
                <a:lnTo>
                  <a:pt x="59" y="470"/>
                </a:lnTo>
                <a:lnTo>
                  <a:pt x="59" y="470"/>
                </a:lnTo>
                <a:lnTo>
                  <a:pt x="59" y="470"/>
                </a:lnTo>
                <a:lnTo>
                  <a:pt x="59" y="470"/>
                </a:lnTo>
                <a:lnTo>
                  <a:pt x="59" y="470"/>
                </a:lnTo>
                <a:lnTo>
                  <a:pt x="59" y="468"/>
                </a:lnTo>
                <a:lnTo>
                  <a:pt x="60" y="468"/>
                </a:lnTo>
                <a:lnTo>
                  <a:pt x="60" y="468"/>
                </a:lnTo>
                <a:lnTo>
                  <a:pt x="60" y="468"/>
                </a:lnTo>
                <a:lnTo>
                  <a:pt x="60" y="468"/>
                </a:lnTo>
                <a:lnTo>
                  <a:pt x="60" y="468"/>
                </a:lnTo>
                <a:lnTo>
                  <a:pt x="60" y="468"/>
                </a:lnTo>
                <a:lnTo>
                  <a:pt x="60" y="468"/>
                </a:lnTo>
                <a:lnTo>
                  <a:pt x="60" y="468"/>
                </a:lnTo>
                <a:lnTo>
                  <a:pt x="60" y="467"/>
                </a:lnTo>
                <a:lnTo>
                  <a:pt x="61" y="467"/>
                </a:lnTo>
                <a:lnTo>
                  <a:pt x="61" y="467"/>
                </a:lnTo>
                <a:lnTo>
                  <a:pt x="61" y="467"/>
                </a:lnTo>
                <a:lnTo>
                  <a:pt x="61" y="467"/>
                </a:lnTo>
                <a:lnTo>
                  <a:pt x="61" y="467"/>
                </a:lnTo>
                <a:lnTo>
                  <a:pt x="61" y="467"/>
                </a:lnTo>
                <a:lnTo>
                  <a:pt x="61" y="467"/>
                </a:lnTo>
                <a:lnTo>
                  <a:pt x="61" y="466"/>
                </a:lnTo>
                <a:lnTo>
                  <a:pt x="61" y="466"/>
                </a:lnTo>
                <a:lnTo>
                  <a:pt x="61" y="466"/>
                </a:lnTo>
                <a:lnTo>
                  <a:pt x="62" y="466"/>
                </a:lnTo>
                <a:lnTo>
                  <a:pt x="62" y="466"/>
                </a:lnTo>
                <a:lnTo>
                  <a:pt x="62" y="466"/>
                </a:lnTo>
                <a:lnTo>
                  <a:pt x="62" y="466"/>
                </a:lnTo>
                <a:lnTo>
                  <a:pt x="62" y="466"/>
                </a:lnTo>
                <a:lnTo>
                  <a:pt x="62" y="465"/>
                </a:lnTo>
                <a:lnTo>
                  <a:pt x="62" y="465"/>
                </a:lnTo>
                <a:lnTo>
                  <a:pt x="62" y="465"/>
                </a:lnTo>
                <a:lnTo>
                  <a:pt x="62" y="465"/>
                </a:lnTo>
                <a:lnTo>
                  <a:pt x="62" y="465"/>
                </a:lnTo>
                <a:lnTo>
                  <a:pt x="62" y="465"/>
                </a:lnTo>
                <a:lnTo>
                  <a:pt x="64" y="465"/>
                </a:lnTo>
                <a:lnTo>
                  <a:pt x="64" y="464"/>
                </a:lnTo>
                <a:lnTo>
                  <a:pt x="64" y="464"/>
                </a:lnTo>
                <a:lnTo>
                  <a:pt x="64" y="464"/>
                </a:lnTo>
                <a:lnTo>
                  <a:pt x="64" y="464"/>
                </a:lnTo>
                <a:lnTo>
                  <a:pt x="64" y="464"/>
                </a:lnTo>
                <a:lnTo>
                  <a:pt x="64" y="464"/>
                </a:lnTo>
                <a:lnTo>
                  <a:pt x="64" y="464"/>
                </a:lnTo>
                <a:lnTo>
                  <a:pt x="64" y="464"/>
                </a:lnTo>
                <a:lnTo>
                  <a:pt x="64" y="463"/>
                </a:lnTo>
                <a:lnTo>
                  <a:pt x="64" y="463"/>
                </a:lnTo>
                <a:lnTo>
                  <a:pt x="64" y="463"/>
                </a:lnTo>
                <a:lnTo>
                  <a:pt x="65" y="463"/>
                </a:lnTo>
                <a:lnTo>
                  <a:pt x="65" y="463"/>
                </a:lnTo>
                <a:lnTo>
                  <a:pt x="65" y="463"/>
                </a:lnTo>
                <a:lnTo>
                  <a:pt x="65" y="463"/>
                </a:lnTo>
                <a:lnTo>
                  <a:pt x="65" y="462"/>
                </a:lnTo>
                <a:lnTo>
                  <a:pt x="65" y="462"/>
                </a:lnTo>
                <a:lnTo>
                  <a:pt x="65" y="462"/>
                </a:lnTo>
                <a:lnTo>
                  <a:pt x="65" y="462"/>
                </a:lnTo>
                <a:lnTo>
                  <a:pt x="65" y="462"/>
                </a:lnTo>
                <a:lnTo>
                  <a:pt x="65" y="462"/>
                </a:lnTo>
                <a:lnTo>
                  <a:pt x="65" y="462"/>
                </a:lnTo>
                <a:lnTo>
                  <a:pt x="65" y="461"/>
                </a:lnTo>
                <a:lnTo>
                  <a:pt x="65" y="461"/>
                </a:lnTo>
                <a:lnTo>
                  <a:pt x="66" y="461"/>
                </a:lnTo>
                <a:lnTo>
                  <a:pt x="66" y="461"/>
                </a:lnTo>
                <a:lnTo>
                  <a:pt x="66" y="461"/>
                </a:lnTo>
                <a:lnTo>
                  <a:pt x="66" y="461"/>
                </a:lnTo>
                <a:lnTo>
                  <a:pt x="66" y="461"/>
                </a:lnTo>
                <a:lnTo>
                  <a:pt x="66" y="459"/>
                </a:lnTo>
                <a:lnTo>
                  <a:pt x="66" y="459"/>
                </a:lnTo>
                <a:lnTo>
                  <a:pt x="66" y="459"/>
                </a:lnTo>
                <a:lnTo>
                  <a:pt x="66" y="459"/>
                </a:lnTo>
                <a:lnTo>
                  <a:pt x="66" y="459"/>
                </a:lnTo>
                <a:lnTo>
                  <a:pt x="66" y="459"/>
                </a:lnTo>
                <a:lnTo>
                  <a:pt x="66" y="459"/>
                </a:lnTo>
                <a:lnTo>
                  <a:pt x="66" y="458"/>
                </a:lnTo>
                <a:lnTo>
                  <a:pt x="66" y="458"/>
                </a:lnTo>
                <a:lnTo>
                  <a:pt x="66" y="458"/>
                </a:lnTo>
                <a:lnTo>
                  <a:pt x="66" y="458"/>
                </a:lnTo>
                <a:lnTo>
                  <a:pt x="67" y="458"/>
                </a:lnTo>
                <a:lnTo>
                  <a:pt x="67" y="458"/>
                </a:lnTo>
                <a:lnTo>
                  <a:pt x="67" y="457"/>
                </a:lnTo>
                <a:lnTo>
                  <a:pt x="67" y="457"/>
                </a:lnTo>
                <a:lnTo>
                  <a:pt x="67" y="457"/>
                </a:lnTo>
                <a:lnTo>
                  <a:pt x="67" y="457"/>
                </a:lnTo>
                <a:lnTo>
                  <a:pt x="67" y="457"/>
                </a:lnTo>
                <a:lnTo>
                  <a:pt x="67" y="457"/>
                </a:lnTo>
                <a:lnTo>
                  <a:pt x="67" y="457"/>
                </a:lnTo>
                <a:lnTo>
                  <a:pt x="67" y="456"/>
                </a:lnTo>
                <a:lnTo>
                  <a:pt x="67" y="456"/>
                </a:lnTo>
                <a:lnTo>
                  <a:pt x="67" y="456"/>
                </a:lnTo>
                <a:lnTo>
                  <a:pt x="67" y="456"/>
                </a:lnTo>
                <a:lnTo>
                  <a:pt x="67" y="456"/>
                </a:lnTo>
                <a:lnTo>
                  <a:pt x="67" y="456"/>
                </a:lnTo>
                <a:lnTo>
                  <a:pt x="67" y="455"/>
                </a:lnTo>
                <a:lnTo>
                  <a:pt x="67" y="455"/>
                </a:lnTo>
                <a:lnTo>
                  <a:pt x="67" y="455"/>
                </a:lnTo>
                <a:lnTo>
                  <a:pt x="67" y="455"/>
                </a:lnTo>
                <a:lnTo>
                  <a:pt x="67" y="455"/>
                </a:lnTo>
                <a:lnTo>
                  <a:pt x="67" y="455"/>
                </a:lnTo>
                <a:lnTo>
                  <a:pt x="67" y="455"/>
                </a:lnTo>
                <a:lnTo>
                  <a:pt x="67" y="454"/>
                </a:lnTo>
                <a:lnTo>
                  <a:pt x="68" y="454"/>
                </a:lnTo>
                <a:lnTo>
                  <a:pt x="68" y="454"/>
                </a:lnTo>
                <a:lnTo>
                  <a:pt x="68" y="454"/>
                </a:lnTo>
                <a:lnTo>
                  <a:pt x="68" y="454"/>
                </a:lnTo>
                <a:lnTo>
                  <a:pt x="68" y="454"/>
                </a:lnTo>
                <a:lnTo>
                  <a:pt x="68" y="453"/>
                </a:lnTo>
                <a:lnTo>
                  <a:pt x="68" y="453"/>
                </a:lnTo>
                <a:lnTo>
                  <a:pt x="68" y="453"/>
                </a:lnTo>
                <a:lnTo>
                  <a:pt x="68" y="453"/>
                </a:lnTo>
                <a:lnTo>
                  <a:pt x="68" y="453"/>
                </a:lnTo>
                <a:lnTo>
                  <a:pt x="68" y="453"/>
                </a:lnTo>
                <a:lnTo>
                  <a:pt x="68" y="452"/>
                </a:lnTo>
                <a:lnTo>
                  <a:pt x="68" y="452"/>
                </a:lnTo>
                <a:lnTo>
                  <a:pt x="68" y="452"/>
                </a:lnTo>
                <a:lnTo>
                  <a:pt x="68" y="452"/>
                </a:lnTo>
                <a:lnTo>
                  <a:pt x="68" y="452"/>
                </a:lnTo>
                <a:lnTo>
                  <a:pt x="68" y="452"/>
                </a:lnTo>
                <a:lnTo>
                  <a:pt x="68" y="450"/>
                </a:lnTo>
                <a:lnTo>
                  <a:pt x="68" y="450"/>
                </a:lnTo>
                <a:lnTo>
                  <a:pt x="68" y="450"/>
                </a:lnTo>
                <a:lnTo>
                  <a:pt x="68" y="450"/>
                </a:lnTo>
                <a:lnTo>
                  <a:pt x="68" y="450"/>
                </a:lnTo>
                <a:lnTo>
                  <a:pt x="68" y="450"/>
                </a:lnTo>
                <a:lnTo>
                  <a:pt x="68" y="449"/>
                </a:lnTo>
                <a:lnTo>
                  <a:pt x="68" y="449"/>
                </a:lnTo>
                <a:lnTo>
                  <a:pt x="68" y="449"/>
                </a:lnTo>
                <a:lnTo>
                  <a:pt x="68" y="449"/>
                </a:lnTo>
                <a:lnTo>
                  <a:pt x="68" y="449"/>
                </a:lnTo>
                <a:lnTo>
                  <a:pt x="68" y="449"/>
                </a:lnTo>
                <a:lnTo>
                  <a:pt x="68" y="448"/>
                </a:lnTo>
                <a:lnTo>
                  <a:pt x="68" y="448"/>
                </a:lnTo>
                <a:lnTo>
                  <a:pt x="68" y="448"/>
                </a:lnTo>
                <a:lnTo>
                  <a:pt x="68" y="448"/>
                </a:lnTo>
                <a:lnTo>
                  <a:pt x="68" y="448"/>
                </a:lnTo>
                <a:close/>
                <a:moveTo>
                  <a:pt x="39" y="411"/>
                </a:moveTo>
                <a:lnTo>
                  <a:pt x="39" y="411"/>
                </a:lnTo>
                <a:lnTo>
                  <a:pt x="39" y="411"/>
                </a:lnTo>
                <a:lnTo>
                  <a:pt x="39" y="411"/>
                </a:lnTo>
                <a:lnTo>
                  <a:pt x="40" y="411"/>
                </a:lnTo>
                <a:lnTo>
                  <a:pt x="40" y="411"/>
                </a:lnTo>
                <a:lnTo>
                  <a:pt x="40" y="411"/>
                </a:lnTo>
                <a:lnTo>
                  <a:pt x="40" y="411"/>
                </a:lnTo>
                <a:lnTo>
                  <a:pt x="40" y="411"/>
                </a:lnTo>
                <a:lnTo>
                  <a:pt x="41" y="411"/>
                </a:lnTo>
                <a:lnTo>
                  <a:pt x="41" y="411"/>
                </a:lnTo>
                <a:lnTo>
                  <a:pt x="41" y="411"/>
                </a:lnTo>
                <a:lnTo>
                  <a:pt x="41" y="411"/>
                </a:lnTo>
                <a:lnTo>
                  <a:pt x="41" y="411"/>
                </a:lnTo>
                <a:lnTo>
                  <a:pt x="42" y="411"/>
                </a:lnTo>
                <a:lnTo>
                  <a:pt x="42" y="411"/>
                </a:lnTo>
                <a:lnTo>
                  <a:pt x="42" y="411"/>
                </a:lnTo>
                <a:lnTo>
                  <a:pt x="42" y="411"/>
                </a:lnTo>
                <a:lnTo>
                  <a:pt x="43" y="411"/>
                </a:lnTo>
                <a:lnTo>
                  <a:pt x="43" y="411"/>
                </a:lnTo>
                <a:lnTo>
                  <a:pt x="43" y="411"/>
                </a:lnTo>
                <a:lnTo>
                  <a:pt x="43" y="411"/>
                </a:lnTo>
                <a:lnTo>
                  <a:pt x="43" y="411"/>
                </a:lnTo>
                <a:lnTo>
                  <a:pt x="44" y="411"/>
                </a:lnTo>
                <a:lnTo>
                  <a:pt x="44" y="411"/>
                </a:lnTo>
                <a:lnTo>
                  <a:pt x="44" y="411"/>
                </a:lnTo>
                <a:lnTo>
                  <a:pt x="44" y="411"/>
                </a:lnTo>
                <a:lnTo>
                  <a:pt x="44" y="411"/>
                </a:lnTo>
                <a:lnTo>
                  <a:pt x="46" y="411"/>
                </a:lnTo>
                <a:lnTo>
                  <a:pt x="46" y="411"/>
                </a:lnTo>
                <a:lnTo>
                  <a:pt x="46" y="411"/>
                </a:lnTo>
                <a:lnTo>
                  <a:pt x="46" y="411"/>
                </a:lnTo>
                <a:lnTo>
                  <a:pt x="46" y="411"/>
                </a:lnTo>
                <a:lnTo>
                  <a:pt x="47" y="411"/>
                </a:lnTo>
                <a:lnTo>
                  <a:pt x="47" y="411"/>
                </a:lnTo>
                <a:lnTo>
                  <a:pt x="47" y="411"/>
                </a:lnTo>
                <a:lnTo>
                  <a:pt x="47" y="411"/>
                </a:lnTo>
                <a:lnTo>
                  <a:pt x="47" y="411"/>
                </a:lnTo>
                <a:lnTo>
                  <a:pt x="48" y="411"/>
                </a:lnTo>
                <a:lnTo>
                  <a:pt x="48" y="412"/>
                </a:lnTo>
                <a:lnTo>
                  <a:pt x="48" y="412"/>
                </a:lnTo>
                <a:lnTo>
                  <a:pt x="48" y="412"/>
                </a:lnTo>
                <a:lnTo>
                  <a:pt x="48" y="412"/>
                </a:lnTo>
                <a:lnTo>
                  <a:pt x="49" y="412"/>
                </a:lnTo>
                <a:lnTo>
                  <a:pt x="49" y="412"/>
                </a:lnTo>
                <a:lnTo>
                  <a:pt x="49" y="412"/>
                </a:lnTo>
                <a:lnTo>
                  <a:pt x="49" y="412"/>
                </a:lnTo>
                <a:lnTo>
                  <a:pt x="49" y="412"/>
                </a:lnTo>
                <a:lnTo>
                  <a:pt x="50" y="412"/>
                </a:lnTo>
                <a:lnTo>
                  <a:pt x="50" y="412"/>
                </a:lnTo>
                <a:lnTo>
                  <a:pt x="50" y="412"/>
                </a:lnTo>
                <a:lnTo>
                  <a:pt x="50" y="412"/>
                </a:lnTo>
                <a:lnTo>
                  <a:pt x="50" y="412"/>
                </a:lnTo>
                <a:lnTo>
                  <a:pt x="51" y="412"/>
                </a:lnTo>
                <a:lnTo>
                  <a:pt x="51" y="412"/>
                </a:lnTo>
                <a:lnTo>
                  <a:pt x="51" y="412"/>
                </a:lnTo>
                <a:lnTo>
                  <a:pt x="51" y="413"/>
                </a:lnTo>
                <a:lnTo>
                  <a:pt x="51" y="413"/>
                </a:lnTo>
                <a:lnTo>
                  <a:pt x="52" y="413"/>
                </a:lnTo>
                <a:lnTo>
                  <a:pt x="52" y="413"/>
                </a:lnTo>
                <a:lnTo>
                  <a:pt x="52" y="413"/>
                </a:lnTo>
                <a:lnTo>
                  <a:pt x="52" y="413"/>
                </a:lnTo>
                <a:lnTo>
                  <a:pt x="52" y="413"/>
                </a:lnTo>
                <a:lnTo>
                  <a:pt x="52" y="413"/>
                </a:lnTo>
                <a:lnTo>
                  <a:pt x="53" y="413"/>
                </a:lnTo>
                <a:lnTo>
                  <a:pt x="53" y="413"/>
                </a:lnTo>
                <a:lnTo>
                  <a:pt x="53" y="413"/>
                </a:lnTo>
                <a:lnTo>
                  <a:pt x="53" y="413"/>
                </a:lnTo>
                <a:lnTo>
                  <a:pt x="53" y="413"/>
                </a:lnTo>
                <a:lnTo>
                  <a:pt x="55" y="414"/>
                </a:lnTo>
                <a:lnTo>
                  <a:pt x="55" y="414"/>
                </a:lnTo>
                <a:lnTo>
                  <a:pt x="55" y="414"/>
                </a:lnTo>
                <a:lnTo>
                  <a:pt x="55" y="414"/>
                </a:lnTo>
                <a:lnTo>
                  <a:pt x="55" y="414"/>
                </a:lnTo>
                <a:lnTo>
                  <a:pt x="56" y="414"/>
                </a:lnTo>
                <a:lnTo>
                  <a:pt x="56" y="414"/>
                </a:lnTo>
                <a:lnTo>
                  <a:pt x="56" y="414"/>
                </a:lnTo>
                <a:lnTo>
                  <a:pt x="56" y="414"/>
                </a:lnTo>
                <a:lnTo>
                  <a:pt x="56" y="414"/>
                </a:lnTo>
                <a:lnTo>
                  <a:pt x="56" y="414"/>
                </a:lnTo>
                <a:lnTo>
                  <a:pt x="57" y="415"/>
                </a:lnTo>
                <a:lnTo>
                  <a:pt x="57" y="415"/>
                </a:lnTo>
                <a:lnTo>
                  <a:pt x="57" y="415"/>
                </a:lnTo>
                <a:lnTo>
                  <a:pt x="57" y="415"/>
                </a:lnTo>
                <a:lnTo>
                  <a:pt x="57" y="415"/>
                </a:lnTo>
                <a:lnTo>
                  <a:pt x="57" y="415"/>
                </a:lnTo>
                <a:lnTo>
                  <a:pt x="58" y="415"/>
                </a:lnTo>
                <a:lnTo>
                  <a:pt x="58" y="415"/>
                </a:lnTo>
                <a:lnTo>
                  <a:pt x="58" y="415"/>
                </a:lnTo>
                <a:lnTo>
                  <a:pt x="58" y="415"/>
                </a:lnTo>
                <a:lnTo>
                  <a:pt x="58" y="417"/>
                </a:lnTo>
                <a:lnTo>
                  <a:pt x="59" y="417"/>
                </a:lnTo>
                <a:lnTo>
                  <a:pt x="59" y="417"/>
                </a:lnTo>
                <a:lnTo>
                  <a:pt x="59" y="417"/>
                </a:lnTo>
                <a:lnTo>
                  <a:pt x="59" y="417"/>
                </a:lnTo>
                <a:lnTo>
                  <a:pt x="59" y="417"/>
                </a:lnTo>
                <a:lnTo>
                  <a:pt x="59" y="417"/>
                </a:lnTo>
                <a:lnTo>
                  <a:pt x="60" y="417"/>
                </a:lnTo>
                <a:lnTo>
                  <a:pt x="60" y="417"/>
                </a:lnTo>
                <a:lnTo>
                  <a:pt x="60" y="418"/>
                </a:lnTo>
                <a:lnTo>
                  <a:pt x="60" y="418"/>
                </a:lnTo>
                <a:lnTo>
                  <a:pt x="60" y="418"/>
                </a:lnTo>
                <a:lnTo>
                  <a:pt x="60" y="418"/>
                </a:lnTo>
                <a:lnTo>
                  <a:pt x="61" y="418"/>
                </a:lnTo>
                <a:lnTo>
                  <a:pt x="61" y="418"/>
                </a:lnTo>
                <a:lnTo>
                  <a:pt x="61" y="418"/>
                </a:lnTo>
                <a:lnTo>
                  <a:pt x="61" y="418"/>
                </a:lnTo>
                <a:lnTo>
                  <a:pt x="61" y="419"/>
                </a:lnTo>
                <a:lnTo>
                  <a:pt x="61" y="419"/>
                </a:lnTo>
                <a:lnTo>
                  <a:pt x="61" y="419"/>
                </a:lnTo>
                <a:lnTo>
                  <a:pt x="62" y="419"/>
                </a:lnTo>
                <a:lnTo>
                  <a:pt x="62" y="419"/>
                </a:lnTo>
                <a:lnTo>
                  <a:pt x="62" y="419"/>
                </a:lnTo>
                <a:lnTo>
                  <a:pt x="62" y="419"/>
                </a:lnTo>
                <a:lnTo>
                  <a:pt x="62" y="419"/>
                </a:lnTo>
                <a:lnTo>
                  <a:pt x="62" y="420"/>
                </a:lnTo>
                <a:lnTo>
                  <a:pt x="64" y="420"/>
                </a:lnTo>
                <a:lnTo>
                  <a:pt x="64" y="420"/>
                </a:lnTo>
                <a:lnTo>
                  <a:pt x="64" y="420"/>
                </a:lnTo>
                <a:lnTo>
                  <a:pt x="64" y="420"/>
                </a:lnTo>
                <a:lnTo>
                  <a:pt x="64" y="420"/>
                </a:lnTo>
                <a:lnTo>
                  <a:pt x="64" y="420"/>
                </a:lnTo>
                <a:lnTo>
                  <a:pt x="64" y="420"/>
                </a:lnTo>
                <a:lnTo>
                  <a:pt x="65" y="421"/>
                </a:lnTo>
                <a:lnTo>
                  <a:pt x="65" y="421"/>
                </a:lnTo>
                <a:lnTo>
                  <a:pt x="65" y="421"/>
                </a:lnTo>
                <a:lnTo>
                  <a:pt x="65" y="421"/>
                </a:lnTo>
                <a:lnTo>
                  <a:pt x="65" y="421"/>
                </a:lnTo>
                <a:lnTo>
                  <a:pt x="65" y="421"/>
                </a:lnTo>
                <a:lnTo>
                  <a:pt x="65" y="421"/>
                </a:lnTo>
                <a:lnTo>
                  <a:pt x="66" y="422"/>
                </a:lnTo>
                <a:lnTo>
                  <a:pt x="66" y="422"/>
                </a:lnTo>
                <a:lnTo>
                  <a:pt x="66" y="422"/>
                </a:lnTo>
                <a:lnTo>
                  <a:pt x="66" y="422"/>
                </a:lnTo>
                <a:lnTo>
                  <a:pt x="66" y="422"/>
                </a:lnTo>
                <a:lnTo>
                  <a:pt x="66" y="422"/>
                </a:lnTo>
                <a:lnTo>
                  <a:pt x="66" y="422"/>
                </a:lnTo>
                <a:lnTo>
                  <a:pt x="67" y="423"/>
                </a:lnTo>
                <a:lnTo>
                  <a:pt x="67" y="423"/>
                </a:lnTo>
                <a:lnTo>
                  <a:pt x="67" y="423"/>
                </a:lnTo>
                <a:lnTo>
                  <a:pt x="67" y="423"/>
                </a:lnTo>
                <a:lnTo>
                  <a:pt x="67" y="423"/>
                </a:lnTo>
                <a:lnTo>
                  <a:pt x="67" y="423"/>
                </a:lnTo>
                <a:lnTo>
                  <a:pt x="67" y="424"/>
                </a:lnTo>
                <a:lnTo>
                  <a:pt x="67" y="424"/>
                </a:lnTo>
                <a:lnTo>
                  <a:pt x="68" y="424"/>
                </a:lnTo>
                <a:lnTo>
                  <a:pt x="68" y="424"/>
                </a:lnTo>
                <a:lnTo>
                  <a:pt x="68" y="424"/>
                </a:lnTo>
                <a:lnTo>
                  <a:pt x="68" y="424"/>
                </a:lnTo>
                <a:lnTo>
                  <a:pt x="68" y="424"/>
                </a:lnTo>
                <a:lnTo>
                  <a:pt x="68" y="426"/>
                </a:lnTo>
                <a:lnTo>
                  <a:pt x="68" y="426"/>
                </a:lnTo>
                <a:lnTo>
                  <a:pt x="68" y="426"/>
                </a:lnTo>
                <a:lnTo>
                  <a:pt x="69" y="426"/>
                </a:lnTo>
                <a:lnTo>
                  <a:pt x="69" y="426"/>
                </a:lnTo>
                <a:lnTo>
                  <a:pt x="69" y="426"/>
                </a:lnTo>
                <a:lnTo>
                  <a:pt x="69" y="427"/>
                </a:lnTo>
                <a:lnTo>
                  <a:pt x="69" y="427"/>
                </a:lnTo>
                <a:lnTo>
                  <a:pt x="69" y="427"/>
                </a:lnTo>
                <a:lnTo>
                  <a:pt x="69" y="427"/>
                </a:lnTo>
                <a:lnTo>
                  <a:pt x="69" y="427"/>
                </a:lnTo>
                <a:lnTo>
                  <a:pt x="69" y="427"/>
                </a:lnTo>
                <a:lnTo>
                  <a:pt x="70" y="428"/>
                </a:lnTo>
                <a:lnTo>
                  <a:pt x="70" y="428"/>
                </a:lnTo>
                <a:lnTo>
                  <a:pt x="70" y="428"/>
                </a:lnTo>
                <a:lnTo>
                  <a:pt x="70" y="428"/>
                </a:lnTo>
                <a:lnTo>
                  <a:pt x="70" y="428"/>
                </a:lnTo>
                <a:lnTo>
                  <a:pt x="70" y="428"/>
                </a:lnTo>
                <a:lnTo>
                  <a:pt x="70" y="429"/>
                </a:lnTo>
                <a:lnTo>
                  <a:pt x="70" y="429"/>
                </a:lnTo>
                <a:lnTo>
                  <a:pt x="70" y="429"/>
                </a:lnTo>
                <a:lnTo>
                  <a:pt x="71" y="429"/>
                </a:lnTo>
                <a:lnTo>
                  <a:pt x="71" y="429"/>
                </a:lnTo>
                <a:lnTo>
                  <a:pt x="71" y="429"/>
                </a:lnTo>
                <a:lnTo>
                  <a:pt x="71" y="430"/>
                </a:lnTo>
                <a:lnTo>
                  <a:pt x="71" y="430"/>
                </a:lnTo>
                <a:lnTo>
                  <a:pt x="71" y="430"/>
                </a:lnTo>
                <a:lnTo>
                  <a:pt x="71" y="430"/>
                </a:lnTo>
                <a:lnTo>
                  <a:pt x="71" y="430"/>
                </a:lnTo>
                <a:lnTo>
                  <a:pt x="71" y="431"/>
                </a:lnTo>
                <a:lnTo>
                  <a:pt x="71" y="431"/>
                </a:lnTo>
                <a:lnTo>
                  <a:pt x="73" y="431"/>
                </a:lnTo>
                <a:lnTo>
                  <a:pt x="73" y="431"/>
                </a:lnTo>
                <a:lnTo>
                  <a:pt x="73" y="431"/>
                </a:lnTo>
                <a:lnTo>
                  <a:pt x="73" y="431"/>
                </a:lnTo>
                <a:lnTo>
                  <a:pt x="73" y="432"/>
                </a:lnTo>
                <a:lnTo>
                  <a:pt x="73" y="432"/>
                </a:lnTo>
                <a:lnTo>
                  <a:pt x="73" y="432"/>
                </a:lnTo>
                <a:lnTo>
                  <a:pt x="73" y="432"/>
                </a:lnTo>
                <a:lnTo>
                  <a:pt x="73" y="432"/>
                </a:lnTo>
                <a:lnTo>
                  <a:pt x="73" y="433"/>
                </a:lnTo>
                <a:lnTo>
                  <a:pt x="73" y="433"/>
                </a:lnTo>
                <a:lnTo>
                  <a:pt x="73" y="433"/>
                </a:lnTo>
                <a:lnTo>
                  <a:pt x="74" y="433"/>
                </a:lnTo>
                <a:lnTo>
                  <a:pt x="74" y="433"/>
                </a:lnTo>
                <a:lnTo>
                  <a:pt x="74" y="433"/>
                </a:lnTo>
                <a:lnTo>
                  <a:pt x="74" y="435"/>
                </a:lnTo>
                <a:lnTo>
                  <a:pt x="74" y="435"/>
                </a:lnTo>
                <a:lnTo>
                  <a:pt x="74" y="435"/>
                </a:lnTo>
                <a:lnTo>
                  <a:pt x="74" y="435"/>
                </a:lnTo>
                <a:lnTo>
                  <a:pt x="74" y="435"/>
                </a:lnTo>
                <a:lnTo>
                  <a:pt x="74" y="436"/>
                </a:lnTo>
                <a:lnTo>
                  <a:pt x="74" y="436"/>
                </a:lnTo>
                <a:lnTo>
                  <a:pt x="74" y="436"/>
                </a:lnTo>
                <a:lnTo>
                  <a:pt x="74" y="436"/>
                </a:lnTo>
                <a:lnTo>
                  <a:pt x="74" y="436"/>
                </a:lnTo>
                <a:lnTo>
                  <a:pt x="74" y="437"/>
                </a:lnTo>
                <a:lnTo>
                  <a:pt x="75" y="437"/>
                </a:lnTo>
                <a:lnTo>
                  <a:pt x="75" y="437"/>
                </a:lnTo>
                <a:lnTo>
                  <a:pt x="75" y="437"/>
                </a:lnTo>
                <a:lnTo>
                  <a:pt x="75" y="437"/>
                </a:lnTo>
                <a:lnTo>
                  <a:pt x="75" y="438"/>
                </a:lnTo>
                <a:lnTo>
                  <a:pt x="75" y="438"/>
                </a:lnTo>
                <a:lnTo>
                  <a:pt x="75" y="438"/>
                </a:lnTo>
                <a:lnTo>
                  <a:pt x="75" y="438"/>
                </a:lnTo>
                <a:lnTo>
                  <a:pt x="75" y="438"/>
                </a:lnTo>
                <a:lnTo>
                  <a:pt x="75" y="439"/>
                </a:lnTo>
                <a:lnTo>
                  <a:pt x="75" y="439"/>
                </a:lnTo>
                <a:lnTo>
                  <a:pt x="75" y="439"/>
                </a:lnTo>
                <a:lnTo>
                  <a:pt x="75" y="439"/>
                </a:lnTo>
                <a:lnTo>
                  <a:pt x="75" y="439"/>
                </a:lnTo>
                <a:lnTo>
                  <a:pt x="75" y="440"/>
                </a:lnTo>
                <a:lnTo>
                  <a:pt x="75" y="440"/>
                </a:lnTo>
                <a:lnTo>
                  <a:pt x="75" y="440"/>
                </a:lnTo>
                <a:lnTo>
                  <a:pt x="75" y="440"/>
                </a:lnTo>
                <a:lnTo>
                  <a:pt x="75" y="440"/>
                </a:lnTo>
                <a:lnTo>
                  <a:pt x="75" y="441"/>
                </a:lnTo>
                <a:lnTo>
                  <a:pt x="76" y="441"/>
                </a:lnTo>
                <a:lnTo>
                  <a:pt x="76" y="441"/>
                </a:lnTo>
                <a:lnTo>
                  <a:pt x="76" y="441"/>
                </a:lnTo>
                <a:lnTo>
                  <a:pt x="76" y="441"/>
                </a:lnTo>
                <a:lnTo>
                  <a:pt x="76" y="442"/>
                </a:lnTo>
                <a:lnTo>
                  <a:pt x="76" y="442"/>
                </a:lnTo>
                <a:lnTo>
                  <a:pt x="76" y="442"/>
                </a:lnTo>
                <a:lnTo>
                  <a:pt x="76" y="442"/>
                </a:lnTo>
                <a:lnTo>
                  <a:pt x="76" y="442"/>
                </a:lnTo>
                <a:lnTo>
                  <a:pt x="76" y="444"/>
                </a:lnTo>
                <a:lnTo>
                  <a:pt x="76" y="444"/>
                </a:lnTo>
                <a:lnTo>
                  <a:pt x="76" y="444"/>
                </a:lnTo>
                <a:lnTo>
                  <a:pt x="76" y="444"/>
                </a:lnTo>
                <a:lnTo>
                  <a:pt x="76" y="445"/>
                </a:lnTo>
                <a:lnTo>
                  <a:pt x="76" y="445"/>
                </a:lnTo>
                <a:lnTo>
                  <a:pt x="76" y="445"/>
                </a:lnTo>
                <a:lnTo>
                  <a:pt x="76" y="445"/>
                </a:lnTo>
                <a:lnTo>
                  <a:pt x="76" y="445"/>
                </a:lnTo>
                <a:lnTo>
                  <a:pt x="76" y="446"/>
                </a:lnTo>
                <a:lnTo>
                  <a:pt x="76" y="446"/>
                </a:lnTo>
                <a:lnTo>
                  <a:pt x="76" y="446"/>
                </a:lnTo>
                <a:lnTo>
                  <a:pt x="76" y="446"/>
                </a:lnTo>
                <a:lnTo>
                  <a:pt x="76" y="446"/>
                </a:lnTo>
                <a:lnTo>
                  <a:pt x="76" y="447"/>
                </a:lnTo>
                <a:lnTo>
                  <a:pt x="76" y="447"/>
                </a:lnTo>
                <a:lnTo>
                  <a:pt x="76" y="447"/>
                </a:lnTo>
                <a:lnTo>
                  <a:pt x="76" y="447"/>
                </a:lnTo>
                <a:lnTo>
                  <a:pt x="76" y="447"/>
                </a:lnTo>
                <a:lnTo>
                  <a:pt x="76" y="448"/>
                </a:lnTo>
                <a:lnTo>
                  <a:pt x="76" y="448"/>
                </a:lnTo>
                <a:lnTo>
                  <a:pt x="76" y="448"/>
                </a:lnTo>
                <a:lnTo>
                  <a:pt x="76" y="448"/>
                </a:lnTo>
                <a:lnTo>
                  <a:pt x="76" y="449"/>
                </a:lnTo>
                <a:lnTo>
                  <a:pt x="76" y="449"/>
                </a:lnTo>
                <a:lnTo>
                  <a:pt x="76" y="449"/>
                </a:lnTo>
                <a:lnTo>
                  <a:pt x="76" y="449"/>
                </a:lnTo>
                <a:lnTo>
                  <a:pt x="76" y="449"/>
                </a:lnTo>
                <a:lnTo>
                  <a:pt x="76" y="450"/>
                </a:lnTo>
                <a:lnTo>
                  <a:pt x="76" y="450"/>
                </a:lnTo>
                <a:lnTo>
                  <a:pt x="76" y="450"/>
                </a:lnTo>
                <a:lnTo>
                  <a:pt x="76" y="450"/>
                </a:lnTo>
                <a:lnTo>
                  <a:pt x="76" y="450"/>
                </a:lnTo>
                <a:lnTo>
                  <a:pt x="76" y="452"/>
                </a:lnTo>
                <a:lnTo>
                  <a:pt x="76" y="452"/>
                </a:lnTo>
                <a:lnTo>
                  <a:pt x="76" y="452"/>
                </a:lnTo>
                <a:lnTo>
                  <a:pt x="76" y="452"/>
                </a:lnTo>
                <a:lnTo>
                  <a:pt x="76" y="453"/>
                </a:lnTo>
                <a:lnTo>
                  <a:pt x="76" y="453"/>
                </a:lnTo>
                <a:lnTo>
                  <a:pt x="76" y="453"/>
                </a:lnTo>
                <a:lnTo>
                  <a:pt x="76" y="453"/>
                </a:lnTo>
                <a:lnTo>
                  <a:pt x="76" y="453"/>
                </a:lnTo>
                <a:lnTo>
                  <a:pt x="76" y="454"/>
                </a:lnTo>
                <a:lnTo>
                  <a:pt x="76" y="454"/>
                </a:lnTo>
                <a:lnTo>
                  <a:pt x="76" y="454"/>
                </a:lnTo>
                <a:lnTo>
                  <a:pt x="76" y="454"/>
                </a:lnTo>
                <a:lnTo>
                  <a:pt x="76" y="454"/>
                </a:lnTo>
                <a:lnTo>
                  <a:pt x="76" y="455"/>
                </a:lnTo>
                <a:lnTo>
                  <a:pt x="76" y="455"/>
                </a:lnTo>
                <a:lnTo>
                  <a:pt x="76" y="455"/>
                </a:lnTo>
                <a:lnTo>
                  <a:pt x="75" y="455"/>
                </a:lnTo>
                <a:lnTo>
                  <a:pt x="75" y="455"/>
                </a:lnTo>
                <a:lnTo>
                  <a:pt x="75" y="456"/>
                </a:lnTo>
                <a:lnTo>
                  <a:pt x="75" y="456"/>
                </a:lnTo>
                <a:lnTo>
                  <a:pt x="75" y="456"/>
                </a:lnTo>
                <a:lnTo>
                  <a:pt x="75" y="456"/>
                </a:lnTo>
                <a:lnTo>
                  <a:pt x="75" y="456"/>
                </a:lnTo>
                <a:lnTo>
                  <a:pt x="75" y="457"/>
                </a:lnTo>
                <a:lnTo>
                  <a:pt x="75" y="457"/>
                </a:lnTo>
                <a:lnTo>
                  <a:pt x="75" y="457"/>
                </a:lnTo>
                <a:lnTo>
                  <a:pt x="75" y="457"/>
                </a:lnTo>
                <a:lnTo>
                  <a:pt x="75" y="457"/>
                </a:lnTo>
                <a:lnTo>
                  <a:pt x="75" y="458"/>
                </a:lnTo>
                <a:lnTo>
                  <a:pt x="75" y="458"/>
                </a:lnTo>
                <a:lnTo>
                  <a:pt x="75" y="458"/>
                </a:lnTo>
                <a:lnTo>
                  <a:pt x="75" y="458"/>
                </a:lnTo>
                <a:lnTo>
                  <a:pt x="75" y="458"/>
                </a:lnTo>
                <a:lnTo>
                  <a:pt x="75" y="459"/>
                </a:lnTo>
                <a:lnTo>
                  <a:pt x="75" y="459"/>
                </a:lnTo>
                <a:lnTo>
                  <a:pt x="75" y="459"/>
                </a:lnTo>
                <a:lnTo>
                  <a:pt x="74" y="459"/>
                </a:lnTo>
                <a:lnTo>
                  <a:pt x="74" y="459"/>
                </a:lnTo>
                <a:lnTo>
                  <a:pt x="74" y="461"/>
                </a:lnTo>
                <a:lnTo>
                  <a:pt x="74" y="461"/>
                </a:lnTo>
                <a:lnTo>
                  <a:pt x="74" y="461"/>
                </a:lnTo>
                <a:lnTo>
                  <a:pt x="74" y="461"/>
                </a:lnTo>
                <a:lnTo>
                  <a:pt x="74" y="461"/>
                </a:lnTo>
                <a:lnTo>
                  <a:pt x="74" y="462"/>
                </a:lnTo>
                <a:lnTo>
                  <a:pt x="74" y="462"/>
                </a:lnTo>
                <a:lnTo>
                  <a:pt x="74" y="462"/>
                </a:lnTo>
                <a:lnTo>
                  <a:pt x="74" y="462"/>
                </a:lnTo>
                <a:lnTo>
                  <a:pt x="74" y="462"/>
                </a:lnTo>
                <a:lnTo>
                  <a:pt x="74" y="463"/>
                </a:lnTo>
                <a:lnTo>
                  <a:pt x="74" y="463"/>
                </a:lnTo>
                <a:lnTo>
                  <a:pt x="73" y="463"/>
                </a:lnTo>
                <a:lnTo>
                  <a:pt x="73" y="463"/>
                </a:lnTo>
                <a:lnTo>
                  <a:pt x="73" y="463"/>
                </a:lnTo>
                <a:lnTo>
                  <a:pt x="73" y="463"/>
                </a:lnTo>
                <a:lnTo>
                  <a:pt x="73" y="464"/>
                </a:lnTo>
                <a:lnTo>
                  <a:pt x="73" y="464"/>
                </a:lnTo>
                <a:lnTo>
                  <a:pt x="73" y="464"/>
                </a:lnTo>
                <a:lnTo>
                  <a:pt x="73" y="464"/>
                </a:lnTo>
                <a:lnTo>
                  <a:pt x="73" y="464"/>
                </a:lnTo>
                <a:lnTo>
                  <a:pt x="73" y="465"/>
                </a:lnTo>
                <a:lnTo>
                  <a:pt x="73" y="465"/>
                </a:lnTo>
                <a:lnTo>
                  <a:pt x="73" y="465"/>
                </a:lnTo>
                <a:lnTo>
                  <a:pt x="71" y="465"/>
                </a:lnTo>
                <a:lnTo>
                  <a:pt x="71" y="465"/>
                </a:lnTo>
                <a:lnTo>
                  <a:pt x="71" y="465"/>
                </a:lnTo>
                <a:lnTo>
                  <a:pt x="71" y="466"/>
                </a:lnTo>
                <a:lnTo>
                  <a:pt x="71" y="466"/>
                </a:lnTo>
                <a:lnTo>
                  <a:pt x="71" y="466"/>
                </a:lnTo>
                <a:lnTo>
                  <a:pt x="71" y="466"/>
                </a:lnTo>
                <a:lnTo>
                  <a:pt x="71" y="466"/>
                </a:lnTo>
                <a:lnTo>
                  <a:pt x="71" y="467"/>
                </a:lnTo>
                <a:lnTo>
                  <a:pt x="71" y="467"/>
                </a:lnTo>
                <a:lnTo>
                  <a:pt x="70" y="467"/>
                </a:lnTo>
                <a:lnTo>
                  <a:pt x="70" y="467"/>
                </a:lnTo>
                <a:lnTo>
                  <a:pt x="70" y="467"/>
                </a:lnTo>
                <a:lnTo>
                  <a:pt x="70" y="467"/>
                </a:lnTo>
                <a:lnTo>
                  <a:pt x="70" y="468"/>
                </a:lnTo>
                <a:lnTo>
                  <a:pt x="70" y="468"/>
                </a:lnTo>
                <a:lnTo>
                  <a:pt x="70" y="468"/>
                </a:lnTo>
                <a:lnTo>
                  <a:pt x="70" y="468"/>
                </a:lnTo>
                <a:lnTo>
                  <a:pt x="70" y="468"/>
                </a:lnTo>
                <a:lnTo>
                  <a:pt x="69" y="468"/>
                </a:lnTo>
                <a:lnTo>
                  <a:pt x="69" y="470"/>
                </a:lnTo>
                <a:lnTo>
                  <a:pt x="69" y="470"/>
                </a:lnTo>
                <a:lnTo>
                  <a:pt x="69" y="470"/>
                </a:lnTo>
                <a:lnTo>
                  <a:pt x="69" y="470"/>
                </a:lnTo>
                <a:lnTo>
                  <a:pt x="69" y="470"/>
                </a:lnTo>
                <a:lnTo>
                  <a:pt x="69" y="470"/>
                </a:lnTo>
                <a:lnTo>
                  <a:pt x="69" y="471"/>
                </a:lnTo>
                <a:lnTo>
                  <a:pt x="69" y="471"/>
                </a:lnTo>
                <a:lnTo>
                  <a:pt x="68" y="471"/>
                </a:lnTo>
                <a:lnTo>
                  <a:pt x="68" y="471"/>
                </a:lnTo>
                <a:lnTo>
                  <a:pt x="68" y="471"/>
                </a:lnTo>
                <a:lnTo>
                  <a:pt x="68" y="471"/>
                </a:lnTo>
                <a:lnTo>
                  <a:pt x="68" y="472"/>
                </a:lnTo>
                <a:lnTo>
                  <a:pt x="68" y="472"/>
                </a:lnTo>
                <a:lnTo>
                  <a:pt x="68" y="472"/>
                </a:lnTo>
                <a:lnTo>
                  <a:pt x="68" y="472"/>
                </a:lnTo>
                <a:lnTo>
                  <a:pt x="67" y="472"/>
                </a:lnTo>
                <a:lnTo>
                  <a:pt x="67" y="472"/>
                </a:lnTo>
                <a:lnTo>
                  <a:pt x="67" y="472"/>
                </a:lnTo>
                <a:lnTo>
                  <a:pt x="67" y="473"/>
                </a:lnTo>
                <a:lnTo>
                  <a:pt x="67" y="473"/>
                </a:lnTo>
                <a:lnTo>
                  <a:pt x="67" y="473"/>
                </a:lnTo>
                <a:lnTo>
                  <a:pt x="67" y="473"/>
                </a:lnTo>
                <a:lnTo>
                  <a:pt x="67" y="473"/>
                </a:lnTo>
                <a:lnTo>
                  <a:pt x="66" y="473"/>
                </a:lnTo>
                <a:lnTo>
                  <a:pt x="66" y="473"/>
                </a:lnTo>
                <a:lnTo>
                  <a:pt x="66" y="474"/>
                </a:lnTo>
                <a:lnTo>
                  <a:pt x="66" y="474"/>
                </a:lnTo>
                <a:lnTo>
                  <a:pt x="66" y="474"/>
                </a:lnTo>
                <a:lnTo>
                  <a:pt x="66" y="474"/>
                </a:lnTo>
                <a:lnTo>
                  <a:pt x="66" y="474"/>
                </a:lnTo>
                <a:lnTo>
                  <a:pt x="65" y="474"/>
                </a:lnTo>
                <a:lnTo>
                  <a:pt x="65" y="475"/>
                </a:lnTo>
                <a:lnTo>
                  <a:pt x="65" y="475"/>
                </a:lnTo>
                <a:lnTo>
                  <a:pt x="65" y="475"/>
                </a:lnTo>
                <a:lnTo>
                  <a:pt x="65" y="475"/>
                </a:lnTo>
                <a:lnTo>
                  <a:pt x="65" y="475"/>
                </a:lnTo>
                <a:lnTo>
                  <a:pt x="65" y="475"/>
                </a:lnTo>
                <a:lnTo>
                  <a:pt x="64" y="475"/>
                </a:lnTo>
                <a:lnTo>
                  <a:pt x="64" y="475"/>
                </a:lnTo>
                <a:lnTo>
                  <a:pt x="64" y="476"/>
                </a:lnTo>
                <a:lnTo>
                  <a:pt x="64" y="476"/>
                </a:lnTo>
                <a:lnTo>
                  <a:pt x="64" y="476"/>
                </a:lnTo>
                <a:lnTo>
                  <a:pt x="64" y="476"/>
                </a:lnTo>
                <a:lnTo>
                  <a:pt x="64" y="476"/>
                </a:lnTo>
                <a:lnTo>
                  <a:pt x="62" y="476"/>
                </a:lnTo>
                <a:lnTo>
                  <a:pt x="62" y="476"/>
                </a:lnTo>
                <a:lnTo>
                  <a:pt x="62" y="477"/>
                </a:lnTo>
                <a:lnTo>
                  <a:pt x="62" y="477"/>
                </a:lnTo>
                <a:lnTo>
                  <a:pt x="62" y="477"/>
                </a:lnTo>
                <a:lnTo>
                  <a:pt x="62" y="477"/>
                </a:lnTo>
                <a:lnTo>
                  <a:pt x="61" y="477"/>
                </a:lnTo>
                <a:lnTo>
                  <a:pt x="61" y="477"/>
                </a:lnTo>
                <a:lnTo>
                  <a:pt x="61" y="477"/>
                </a:lnTo>
                <a:lnTo>
                  <a:pt x="61" y="477"/>
                </a:lnTo>
                <a:lnTo>
                  <a:pt x="61" y="479"/>
                </a:lnTo>
                <a:lnTo>
                  <a:pt x="61" y="479"/>
                </a:lnTo>
                <a:lnTo>
                  <a:pt x="61" y="479"/>
                </a:lnTo>
                <a:lnTo>
                  <a:pt x="60" y="479"/>
                </a:lnTo>
                <a:lnTo>
                  <a:pt x="60" y="479"/>
                </a:lnTo>
                <a:lnTo>
                  <a:pt x="60" y="479"/>
                </a:lnTo>
                <a:lnTo>
                  <a:pt x="60" y="479"/>
                </a:lnTo>
                <a:lnTo>
                  <a:pt x="60" y="479"/>
                </a:lnTo>
                <a:lnTo>
                  <a:pt x="60" y="479"/>
                </a:lnTo>
                <a:lnTo>
                  <a:pt x="59" y="480"/>
                </a:lnTo>
                <a:lnTo>
                  <a:pt x="59" y="480"/>
                </a:lnTo>
                <a:lnTo>
                  <a:pt x="59" y="480"/>
                </a:lnTo>
                <a:lnTo>
                  <a:pt x="59" y="480"/>
                </a:lnTo>
                <a:lnTo>
                  <a:pt x="59" y="480"/>
                </a:lnTo>
                <a:lnTo>
                  <a:pt x="59" y="480"/>
                </a:lnTo>
                <a:lnTo>
                  <a:pt x="58" y="480"/>
                </a:lnTo>
                <a:lnTo>
                  <a:pt x="58" y="480"/>
                </a:lnTo>
                <a:lnTo>
                  <a:pt x="58" y="480"/>
                </a:lnTo>
                <a:lnTo>
                  <a:pt x="58" y="481"/>
                </a:lnTo>
                <a:lnTo>
                  <a:pt x="58" y="481"/>
                </a:lnTo>
                <a:lnTo>
                  <a:pt x="57" y="481"/>
                </a:lnTo>
                <a:lnTo>
                  <a:pt x="57" y="481"/>
                </a:lnTo>
                <a:lnTo>
                  <a:pt x="57" y="481"/>
                </a:lnTo>
                <a:lnTo>
                  <a:pt x="57" y="481"/>
                </a:lnTo>
                <a:lnTo>
                  <a:pt x="57" y="481"/>
                </a:lnTo>
                <a:lnTo>
                  <a:pt x="57" y="481"/>
                </a:lnTo>
                <a:lnTo>
                  <a:pt x="56" y="481"/>
                </a:lnTo>
                <a:lnTo>
                  <a:pt x="56" y="481"/>
                </a:lnTo>
                <a:lnTo>
                  <a:pt x="56" y="482"/>
                </a:lnTo>
                <a:lnTo>
                  <a:pt x="56" y="482"/>
                </a:lnTo>
                <a:lnTo>
                  <a:pt x="56" y="482"/>
                </a:lnTo>
                <a:lnTo>
                  <a:pt x="56" y="482"/>
                </a:lnTo>
                <a:lnTo>
                  <a:pt x="55" y="482"/>
                </a:lnTo>
                <a:lnTo>
                  <a:pt x="55" y="482"/>
                </a:lnTo>
                <a:lnTo>
                  <a:pt x="55" y="482"/>
                </a:lnTo>
                <a:lnTo>
                  <a:pt x="55" y="482"/>
                </a:lnTo>
                <a:lnTo>
                  <a:pt x="55" y="482"/>
                </a:lnTo>
                <a:lnTo>
                  <a:pt x="53" y="482"/>
                </a:lnTo>
                <a:lnTo>
                  <a:pt x="53" y="482"/>
                </a:lnTo>
                <a:lnTo>
                  <a:pt x="53" y="483"/>
                </a:lnTo>
                <a:lnTo>
                  <a:pt x="53" y="483"/>
                </a:lnTo>
                <a:lnTo>
                  <a:pt x="53" y="483"/>
                </a:lnTo>
                <a:lnTo>
                  <a:pt x="52" y="483"/>
                </a:lnTo>
                <a:lnTo>
                  <a:pt x="52" y="483"/>
                </a:lnTo>
                <a:lnTo>
                  <a:pt x="52" y="483"/>
                </a:lnTo>
                <a:lnTo>
                  <a:pt x="52" y="483"/>
                </a:lnTo>
                <a:lnTo>
                  <a:pt x="52" y="483"/>
                </a:lnTo>
                <a:lnTo>
                  <a:pt x="52" y="483"/>
                </a:lnTo>
                <a:lnTo>
                  <a:pt x="51" y="483"/>
                </a:lnTo>
                <a:lnTo>
                  <a:pt x="51" y="483"/>
                </a:lnTo>
                <a:lnTo>
                  <a:pt x="51" y="483"/>
                </a:lnTo>
                <a:lnTo>
                  <a:pt x="51" y="483"/>
                </a:lnTo>
                <a:lnTo>
                  <a:pt x="51" y="483"/>
                </a:lnTo>
                <a:lnTo>
                  <a:pt x="50" y="484"/>
                </a:lnTo>
                <a:lnTo>
                  <a:pt x="50" y="484"/>
                </a:lnTo>
                <a:lnTo>
                  <a:pt x="50" y="484"/>
                </a:lnTo>
                <a:lnTo>
                  <a:pt x="50" y="484"/>
                </a:lnTo>
                <a:lnTo>
                  <a:pt x="50" y="484"/>
                </a:lnTo>
                <a:lnTo>
                  <a:pt x="49" y="484"/>
                </a:lnTo>
                <a:lnTo>
                  <a:pt x="49" y="484"/>
                </a:lnTo>
                <a:lnTo>
                  <a:pt x="49" y="484"/>
                </a:lnTo>
                <a:lnTo>
                  <a:pt x="49" y="484"/>
                </a:lnTo>
                <a:lnTo>
                  <a:pt x="49" y="484"/>
                </a:lnTo>
                <a:lnTo>
                  <a:pt x="48" y="484"/>
                </a:lnTo>
                <a:lnTo>
                  <a:pt x="48" y="484"/>
                </a:lnTo>
                <a:lnTo>
                  <a:pt x="48" y="484"/>
                </a:lnTo>
                <a:lnTo>
                  <a:pt x="48" y="484"/>
                </a:lnTo>
                <a:lnTo>
                  <a:pt x="48" y="484"/>
                </a:lnTo>
                <a:lnTo>
                  <a:pt x="47" y="484"/>
                </a:lnTo>
                <a:lnTo>
                  <a:pt x="47" y="484"/>
                </a:lnTo>
                <a:lnTo>
                  <a:pt x="47" y="485"/>
                </a:lnTo>
                <a:lnTo>
                  <a:pt x="47" y="485"/>
                </a:lnTo>
                <a:lnTo>
                  <a:pt x="47" y="485"/>
                </a:lnTo>
                <a:lnTo>
                  <a:pt x="46" y="485"/>
                </a:lnTo>
                <a:lnTo>
                  <a:pt x="46" y="485"/>
                </a:lnTo>
                <a:lnTo>
                  <a:pt x="46" y="485"/>
                </a:lnTo>
                <a:lnTo>
                  <a:pt x="46" y="485"/>
                </a:lnTo>
                <a:lnTo>
                  <a:pt x="46" y="485"/>
                </a:lnTo>
                <a:lnTo>
                  <a:pt x="44" y="485"/>
                </a:lnTo>
                <a:lnTo>
                  <a:pt x="44" y="485"/>
                </a:lnTo>
                <a:lnTo>
                  <a:pt x="44" y="485"/>
                </a:lnTo>
                <a:lnTo>
                  <a:pt x="44" y="485"/>
                </a:lnTo>
                <a:lnTo>
                  <a:pt x="44" y="485"/>
                </a:lnTo>
                <a:lnTo>
                  <a:pt x="43" y="485"/>
                </a:lnTo>
                <a:lnTo>
                  <a:pt x="43" y="485"/>
                </a:lnTo>
                <a:lnTo>
                  <a:pt x="43" y="485"/>
                </a:lnTo>
                <a:lnTo>
                  <a:pt x="43" y="485"/>
                </a:lnTo>
                <a:lnTo>
                  <a:pt x="43" y="485"/>
                </a:lnTo>
                <a:lnTo>
                  <a:pt x="42" y="485"/>
                </a:lnTo>
                <a:lnTo>
                  <a:pt x="42" y="485"/>
                </a:lnTo>
                <a:lnTo>
                  <a:pt x="42" y="485"/>
                </a:lnTo>
                <a:lnTo>
                  <a:pt x="42" y="485"/>
                </a:lnTo>
                <a:lnTo>
                  <a:pt x="41" y="485"/>
                </a:lnTo>
                <a:lnTo>
                  <a:pt x="41" y="485"/>
                </a:lnTo>
                <a:lnTo>
                  <a:pt x="41" y="485"/>
                </a:lnTo>
                <a:lnTo>
                  <a:pt x="41" y="485"/>
                </a:lnTo>
                <a:lnTo>
                  <a:pt x="41" y="485"/>
                </a:lnTo>
                <a:lnTo>
                  <a:pt x="40" y="485"/>
                </a:lnTo>
                <a:lnTo>
                  <a:pt x="40" y="485"/>
                </a:lnTo>
                <a:lnTo>
                  <a:pt x="40" y="485"/>
                </a:lnTo>
                <a:lnTo>
                  <a:pt x="40" y="485"/>
                </a:lnTo>
                <a:lnTo>
                  <a:pt x="40" y="485"/>
                </a:lnTo>
                <a:lnTo>
                  <a:pt x="39" y="485"/>
                </a:lnTo>
                <a:lnTo>
                  <a:pt x="39" y="485"/>
                </a:lnTo>
                <a:lnTo>
                  <a:pt x="39" y="485"/>
                </a:lnTo>
                <a:lnTo>
                  <a:pt x="39" y="485"/>
                </a:lnTo>
                <a:lnTo>
                  <a:pt x="38" y="485"/>
                </a:lnTo>
                <a:lnTo>
                  <a:pt x="38" y="485"/>
                </a:lnTo>
                <a:lnTo>
                  <a:pt x="38" y="485"/>
                </a:lnTo>
                <a:lnTo>
                  <a:pt x="38" y="485"/>
                </a:lnTo>
                <a:lnTo>
                  <a:pt x="38" y="485"/>
                </a:lnTo>
                <a:lnTo>
                  <a:pt x="36" y="485"/>
                </a:lnTo>
                <a:lnTo>
                  <a:pt x="36" y="485"/>
                </a:lnTo>
                <a:lnTo>
                  <a:pt x="36" y="485"/>
                </a:lnTo>
                <a:lnTo>
                  <a:pt x="36" y="485"/>
                </a:lnTo>
                <a:lnTo>
                  <a:pt x="36" y="485"/>
                </a:lnTo>
                <a:lnTo>
                  <a:pt x="35" y="485"/>
                </a:lnTo>
                <a:lnTo>
                  <a:pt x="35" y="485"/>
                </a:lnTo>
                <a:lnTo>
                  <a:pt x="35" y="485"/>
                </a:lnTo>
                <a:lnTo>
                  <a:pt x="35" y="485"/>
                </a:lnTo>
                <a:lnTo>
                  <a:pt x="34" y="485"/>
                </a:lnTo>
                <a:lnTo>
                  <a:pt x="34" y="485"/>
                </a:lnTo>
                <a:lnTo>
                  <a:pt x="34" y="485"/>
                </a:lnTo>
                <a:lnTo>
                  <a:pt x="34" y="485"/>
                </a:lnTo>
                <a:lnTo>
                  <a:pt x="34" y="485"/>
                </a:lnTo>
                <a:lnTo>
                  <a:pt x="33" y="485"/>
                </a:lnTo>
                <a:lnTo>
                  <a:pt x="33" y="485"/>
                </a:lnTo>
                <a:lnTo>
                  <a:pt x="33" y="485"/>
                </a:lnTo>
                <a:lnTo>
                  <a:pt x="33" y="485"/>
                </a:lnTo>
                <a:lnTo>
                  <a:pt x="33" y="485"/>
                </a:lnTo>
                <a:lnTo>
                  <a:pt x="32" y="485"/>
                </a:lnTo>
                <a:lnTo>
                  <a:pt x="32" y="485"/>
                </a:lnTo>
                <a:lnTo>
                  <a:pt x="32" y="485"/>
                </a:lnTo>
                <a:lnTo>
                  <a:pt x="32" y="485"/>
                </a:lnTo>
                <a:lnTo>
                  <a:pt x="32" y="485"/>
                </a:lnTo>
                <a:lnTo>
                  <a:pt x="31" y="485"/>
                </a:lnTo>
                <a:lnTo>
                  <a:pt x="31" y="485"/>
                </a:lnTo>
                <a:lnTo>
                  <a:pt x="31" y="485"/>
                </a:lnTo>
                <a:lnTo>
                  <a:pt x="31" y="485"/>
                </a:lnTo>
                <a:lnTo>
                  <a:pt x="31" y="485"/>
                </a:lnTo>
                <a:lnTo>
                  <a:pt x="30" y="485"/>
                </a:lnTo>
                <a:lnTo>
                  <a:pt x="30" y="484"/>
                </a:lnTo>
                <a:lnTo>
                  <a:pt x="30" y="484"/>
                </a:lnTo>
                <a:lnTo>
                  <a:pt x="30" y="484"/>
                </a:lnTo>
                <a:lnTo>
                  <a:pt x="30" y="484"/>
                </a:lnTo>
                <a:lnTo>
                  <a:pt x="29" y="484"/>
                </a:lnTo>
                <a:lnTo>
                  <a:pt x="29" y="484"/>
                </a:lnTo>
                <a:lnTo>
                  <a:pt x="29" y="484"/>
                </a:lnTo>
                <a:lnTo>
                  <a:pt x="29" y="484"/>
                </a:lnTo>
                <a:lnTo>
                  <a:pt x="29" y="484"/>
                </a:lnTo>
                <a:lnTo>
                  <a:pt x="27" y="484"/>
                </a:lnTo>
                <a:lnTo>
                  <a:pt x="27" y="484"/>
                </a:lnTo>
                <a:lnTo>
                  <a:pt x="27" y="484"/>
                </a:lnTo>
                <a:lnTo>
                  <a:pt x="27" y="484"/>
                </a:lnTo>
                <a:lnTo>
                  <a:pt x="27" y="484"/>
                </a:lnTo>
                <a:lnTo>
                  <a:pt x="26" y="484"/>
                </a:lnTo>
                <a:lnTo>
                  <a:pt x="26" y="484"/>
                </a:lnTo>
                <a:lnTo>
                  <a:pt x="26" y="484"/>
                </a:lnTo>
                <a:lnTo>
                  <a:pt x="26" y="483"/>
                </a:lnTo>
                <a:lnTo>
                  <a:pt x="26" y="483"/>
                </a:lnTo>
                <a:lnTo>
                  <a:pt x="25" y="483"/>
                </a:lnTo>
                <a:lnTo>
                  <a:pt x="25" y="483"/>
                </a:lnTo>
                <a:lnTo>
                  <a:pt x="25" y="483"/>
                </a:lnTo>
                <a:lnTo>
                  <a:pt x="25" y="483"/>
                </a:lnTo>
                <a:lnTo>
                  <a:pt x="25" y="483"/>
                </a:lnTo>
                <a:lnTo>
                  <a:pt x="24" y="483"/>
                </a:lnTo>
                <a:lnTo>
                  <a:pt x="24" y="483"/>
                </a:lnTo>
                <a:lnTo>
                  <a:pt x="24" y="483"/>
                </a:lnTo>
                <a:lnTo>
                  <a:pt x="24" y="483"/>
                </a:lnTo>
                <a:lnTo>
                  <a:pt x="24" y="483"/>
                </a:lnTo>
                <a:lnTo>
                  <a:pt x="24" y="483"/>
                </a:lnTo>
                <a:lnTo>
                  <a:pt x="23" y="483"/>
                </a:lnTo>
                <a:lnTo>
                  <a:pt x="23" y="482"/>
                </a:lnTo>
                <a:lnTo>
                  <a:pt x="23" y="482"/>
                </a:lnTo>
                <a:lnTo>
                  <a:pt x="23" y="482"/>
                </a:lnTo>
                <a:lnTo>
                  <a:pt x="23" y="482"/>
                </a:lnTo>
                <a:lnTo>
                  <a:pt x="22" y="482"/>
                </a:lnTo>
                <a:lnTo>
                  <a:pt x="22" y="482"/>
                </a:lnTo>
                <a:lnTo>
                  <a:pt x="22" y="482"/>
                </a:lnTo>
                <a:lnTo>
                  <a:pt x="22" y="482"/>
                </a:lnTo>
                <a:lnTo>
                  <a:pt x="22" y="482"/>
                </a:lnTo>
                <a:lnTo>
                  <a:pt x="21" y="482"/>
                </a:lnTo>
                <a:lnTo>
                  <a:pt x="21" y="482"/>
                </a:lnTo>
                <a:lnTo>
                  <a:pt x="21" y="481"/>
                </a:lnTo>
                <a:lnTo>
                  <a:pt x="21" y="481"/>
                </a:lnTo>
                <a:lnTo>
                  <a:pt x="21" y="481"/>
                </a:lnTo>
                <a:lnTo>
                  <a:pt x="21" y="481"/>
                </a:lnTo>
                <a:lnTo>
                  <a:pt x="20" y="481"/>
                </a:lnTo>
                <a:lnTo>
                  <a:pt x="20" y="481"/>
                </a:lnTo>
                <a:lnTo>
                  <a:pt x="20" y="481"/>
                </a:lnTo>
                <a:lnTo>
                  <a:pt x="20" y="481"/>
                </a:lnTo>
                <a:lnTo>
                  <a:pt x="20" y="481"/>
                </a:lnTo>
                <a:lnTo>
                  <a:pt x="20" y="481"/>
                </a:lnTo>
                <a:lnTo>
                  <a:pt x="18" y="480"/>
                </a:lnTo>
                <a:lnTo>
                  <a:pt x="18" y="480"/>
                </a:lnTo>
                <a:lnTo>
                  <a:pt x="18" y="480"/>
                </a:lnTo>
                <a:lnTo>
                  <a:pt x="18" y="480"/>
                </a:lnTo>
                <a:lnTo>
                  <a:pt x="18" y="480"/>
                </a:lnTo>
                <a:lnTo>
                  <a:pt x="18" y="480"/>
                </a:lnTo>
                <a:lnTo>
                  <a:pt x="17" y="480"/>
                </a:lnTo>
                <a:lnTo>
                  <a:pt x="17" y="480"/>
                </a:lnTo>
                <a:lnTo>
                  <a:pt x="17" y="480"/>
                </a:lnTo>
                <a:lnTo>
                  <a:pt x="17" y="479"/>
                </a:lnTo>
                <a:lnTo>
                  <a:pt x="17" y="479"/>
                </a:lnTo>
                <a:lnTo>
                  <a:pt x="17" y="479"/>
                </a:lnTo>
                <a:lnTo>
                  <a:pt x="16" y="479"/>
                </a:lnTo>
                <a:lnTo>
                  <a:pt x="16" y="479"/>
                </a:lnTo>
                <a:lnTo>
                  <a:pt x="16" y="479"/>
                </a:lnTo>
                <a:lnTo>
                  <a:pt x="16" y="479"/>
                </a:lnTo>
                <a:lnTo>
                  <a:pt x="16" y="479"/>
                </a:lnTo>
                <a:lnTo>
                  <a:pt x="16" y="479"/>
                </a:lnTo>
                <a:lnTo>
                  <a:pt x="15" y="477"/>
                </a:lnTo>
                <a:lnTo>
                  <a:pt x="15" y="477"/>
                </a:lnTo>
                <a:lnTo>
                  <a:pt x="15" y="477"/>
                </a:lnTo>
                <a:lnTo>
                  <a:pt x="15" y="477"/>
                </a:lnTo>
                <a:lnTo>
                  <a:pt x="15" y="477"/>
                </a:lnTo>
                <a:lnTo>
                  <a:pt x="15" y="477"/>
                </a:lnTo>
                <a:lnTo>
                  <a:pt x="14" y="477"/>
                </a:lnTo>
                <a:lnTo>
                  <a:pt x="14" y="477"/>
                </a:lnTo>
                <a:lnTo>
                  <a:pt x="14" y="476"/>
                </a:lnTo>
                <a:lnTo>
                  <a:pt x="14" y="476"/>
                </a:lnTo>
                <a:lnTo>
                  <a:pt x="14" y="476"/>
                </a:lnTo>
                <a:lnTo>
                  <a:pt x="14" y="476"/>
                </a:lnTo>
                <a:lnTo>
                  <a:pt x="14" y="476"/>
                </a:lnTo>
                <a:lnTo>
                  <a:pt x="13" y="476"/>
                </a:lnTo>
                <a:lnTo>
                  <a:pt x="13" y="476"/>
                </a:lnTo>
                <a:lnTo>
                  <a:pt x="13" y="475"/>
                </a:lnTo>
                <a:lnTo>
                  <a:pt x="13" y="475"/>
                </a:lnTo>
                <a:lnTo>
                  <a:pt x="13" y="475"/>
                </a:lnTo>
                <a:lnTo>
                  <a:pt x="13" y="475"/>
                </a:lnTo>
                <a:lnTo>
                  <a:pt x="13" y="475"/>
                </a:lnTo>
                <a:lnTo>
                  <a:pt x="12" y="475"/>
                </a:lnTo>
                <a:lnTo>
                  <a:pt x="12" y="475"/>
                </a:lnTo>
                <a:lnTo>
                  <a:pt x="12" y="475"/>
                </a:lnTo>
                <a:lnTo>
                  <a:pt x="12" y="474"/>
                </a:lnTo>
                <a:lnTo>
                  <a:pt x="12" y="474"/>
                </a:lnTo>
                <a:lnTo>
                  <a:pt x="12" y="474"/>
                </a:lnTo>
                <a:lnTo>
                  <a:pt x="12" y="474"/>
                </a:lnTo>
                <a:lnTo>
                  <a:pt x="11" y="474"/>
                </a:lnTo>
                <a:lnTo>
                  <a:pt x="11" y="474"/>
                </a:lnTo>
                <a:lnTo>
                  <a:pt x="11" y="473"/>
                </a:lnTo>
                <a:lnTo>
                  <a:pt x="11" y="473"/>
                </a:lnTo>
                <a:lnTo>
                  <a:pt x="11" y="473"/>
                </a:lnTo>
                <a:lnTo>
                  <a:pt x="11" y="473"/>
                </a:lnTo>
                <a:lnTo>
                  <a:pt x="11" y="473"/>
                </a:lnTo>
                <a:lnTo>
                  <a:pt x="9" y="473"/>
                </a:lnTo>
                <a:lnTo>
                  <a:pt x="9" y="473"/>
                </a:lnTo>
                <a:lnTo>
                  <a:pt x="9" y="472"/>
                </a:lnTo>
                <a:lnTo>
                  <a:pt x="9" y="472"/>
                </a:lnTo>
                <a:lnTo>
                  <a:pt x="9" y="472"/>
                </a:lnTo>
                <a:lnTo>
                  <a:pt x="9" y="472"/>
                </a:lnTo>
                <a:lnTo>
                  <a:pt x="9" y="472"/>
                </a:lnTo>
                <a:lnTo>
                  <a:pt x="9" y="472"/>
                </a:lnTo>
                <a:lnTo>
                  <a:pt x="8" y="472"/>
                </a:lnTo>
                <a:lnTo>
                  <a:pt x="8" y="471"/>
                </a:lnTo>
                <a:lnTo>
                  <a:pt x="8" y="471"/>
                </a:lnTo>
                <a:lnTo>
                  <a:pt x="8" y="471"/>
                </a:lnTo>
                <a:lnTo>
                  <a:pt x="8" y="471"/>
                </a:lnTo>
                <a:lnTo>
                  <a:pt x="8" y="471"/>
                </a:lnTo>
                <a:lnTo>
                  <a:pt x="8" y="471"/>
                </a:lnTo>
                <a:lnTo>
                  <a:pt x="8" y="470"/>
                </a:lnTo>
                <a:lnTo>
                  <a:pt x="7" y="470"/>
                </a:lnTo>
                <a:lnTo>
                  <a:pt x="7" y="470"/>
                </a:lnTo>
                <a:lnTo>
                  <a:pt x="7" y="470"/>
                </a:lnTo>
                <a:lnTo>
                  <a:pt x="7" y="470"/>
                </a:lnTo>
                <a:lnTo>
                  <a:pt x="7" y="470"/>
                </a:lnTo>
                <a:lnTo>
                  <a:pt x="7" y="468"/>
                </a:lnTo>
                <a:lnTo>
                  <a:pt x="7" y="468"/>
                </a:lnTo>
                <a:lnTo>
                  <a:pt x="7" y="468"/>
                </a:lnTo>
                <a:lnTo>
                  <a:pt x="7" y="468"/>
                </a:lnTo>
                <a:lnTo>
                  <a:pt x="6" y="468"/>
                </a:lnTo>
                <a:lnTo>
                  <a:pt x="6" y="468"/>
                </a:lnTo>
                <a:lnTo>
                  <a:pt x="6" y="467"/>
                </a:lnTo>
                <a:lnTo>
                  <a:pt x="6" y="467"/>
                </a:lnTo>
                <a:lnTo>
                  <a:pt x="6" y="467"/>
                </a:lnTo>
                <a:lnTo>
                  <a:pt x="6" y="467"/>
                </a:lnTo>
                <a:lnTo>
                  <a:pt x="6" y="467"/>
                </a:lnTo>
                <a:lnTo>
                  <a:pt x="6" y="467"/>
                </a:lnTo>
                <a:lnTo>
                  <a:pt x="6" y="466"/>
                </a:lnTo>
                <a:lnTo>
                  <a:pt x="6" y="466"/>
                </a:lnTo>
                <a:lnTo>
                  <a:pt x="5" y="466"/>
                </a:lnTo>
                <a:lnTo>
                  <a:pt x="5" y="466"/>
                </a:lnTo>
                <a:lnTo>
                  <a:pt x="5" y="466"/>
                </a:lnTo>
                <a:lnTo>
                  <a:pt x="5" y="465"/>
                </a:lnTo>
                <a:lnTo>
                  <a:pt x="5" y="465"/>
                </a:lnTo>
                <a:lnTo>
                  <a:pt x="5" y="465"/>
                </a:lnTo>
                <a:lnTo>
                  <a:pt x="5" y="465"/>
                </a:lnTo>
                <a:lnTo>
                  <a:pt x="5" y="465"/>
                </a:lnTo>
                <a:lnTo>
                  <a:pt x="5" y="465"/>
                </a:lnTo>
                <a:lnTo>
                  <a:pt x="5" y="464"/>
                </a:lnTo>
                <a:lnTo>
                  <a:pt x="5" y="464"/>
                </a:lnTo>
                <a:lnTo>
                  <a:pt x="4" y="464"/>
                </a:lnTo>
                <a:lnTo>
                  <a:pt x="4" y="464"/>
                </a:lnTo>
                <a:lnTo>
                  <a:pt x="4" y="464"/>
                </a:lnTo>
                <a:lnTo>
                  <a:pt x="4" y="463"/>
                </a:lnTo>
                <a:lnTo>
                  <a:pt x="4" y="463"/>
                </a:lnTo>
                <a:lnTo>
                  <a:pt x="4" y="463"/>
                </a:lnTo>
                <a:lnTo>
                  <a:pt x="4" y="463"/>
                </a:lnTo>
                <a:lnTo>
                  <a:pt x="4" y="463"/>
                </a:lnTo>
                <a:lnTo>
                  <a:pt x="4" y="463"/>
                </a:lnTo>
                <a:lnTo>
                  <a:pt x="4" y="462"/>
                </a:lnTo>
                <a:lnTo>
                  <a:pt x="4" y="462"/>
                </a:lnTo>
                <a:lnTo>
                  <a:pt x="4" y="462"/>
                </a:lnTo>
                <a:lnTo>
                  <a:pt x="3" y="462"/>
                </a:lnTo>
                <a:lnTo>
                  <a:pt x="3" y="462"/>
                </a:lnTo>
                <a:lnTo>
                  <a:pt x="3" y="461"/>
                </a:lnTo>
                <a:lnTo>
                  <a:pt x="3" y="461"/>
                </a:lnTo>
                <a:lnTo>
                  <a:pt x="3" y="461"/>
                </a:lnTo>
                <a:lnTo>
                  <a:pt x="3" y="461"/>
                </a:lnTo>
                <a:lnTo>
                  <a:pt x="3" y="461"/>
                </a:lnTo>
                <a:lnTo>
                  <a:pt x="3" y="459"/>
                </a:lnTo>
                <a:lnTo>
                  <a:pt x="3" y="459"/>
                </a:lnTo>
                <a:lnTo>
                  <a:pt x="3" y="459"/>
                </a:lnTo>
                <a:lnTo>
                  <a:pt x="3" y="459"/>
                </a:lnTo>
                <a:lnTo>
                  <a:pt x="3" y="459"/>
                </a:lnTo>
                <a:lnTo>
                  <a:pt x="3" y="458"/>
                </a:lnTo>
                <a:lnTo>
                  <a:pt x="3" y="458"/>
                </a:lnTo>
                <a:lnTo>
                  <a:pt x="3" y="458"/>
                </a:lnTo>
                <a:lnTo>
                  <a:pt x="2" y="458"/>
                </a:lnTo>
                <a:lnTo>
                  <a:pt x="2" y="458"/>
                </a:lnTo>
                <a:lnTo>
                  <a:pt x="2" y="457"/>
                </a:lnTo>
                <a:lnTo>
                  <a:pt x="2" y="457"/>
                </a:lnTo>
                <a:lnTo>
                  <a:pt x="2" y="457"/>
                </a:lnTo>
                <a:lnTo>
                  <a:pt x="2" y="457"/>
                </a:lnTo>
                <a:lnTo>
                  <a:pt x="2" y="457"/>
                </a:lnTo>
                <a:lnTo>
                  <a:pt x="2" y="456"/>
                </a:lnTo>
                <a:lnTo>
                  <a:pt x="2" y="456"/>
                </a:lnTo>
                <a:lnTo>
                  <a:pt x="2" y="456"/>
                </a:lnTo>
                <a:lnTo>
                  <a:pt x="2" y="456"/>
                </a:lnTo>
                <a:lnTo>
                  <a:pt x="2" y="456"/>
                </a:lnTo>
                <a:lnTo>
                  <a:pt x="2" y="455"/>
                </a:lnTo>
                <a:lnTo>
                  <a:pt x="2" y="455"/>
                </a:lnTo>
                <a:lnTo>
                  <a:pt x="2" y="455"/>
                </a:lnTo>
                <a:lnTo>
                  <a:pt x="2" y="455"/>
                </a:lnTo>
                <a:lnTo>
                  <a:pt x="2" y="455"/>
                </a:lnTo>
                <a:lnTo>
                  <a:pt x="2" y="454"/>
                </a:lnTo>
                <a:lnTo>
                  <a:pt x="2" y="454"/>
                </a:lnTo>
                <a:lnTo>
                  <a:pt x="2" y="454"/>
                </a:lnTo>
                <a:lnTo>
                  <a:pt x="2" y="454"/>
                </a:lnTo>
                <a:lnTo>
                  <a:pt x="2" y="454"/>
                </a:lnTo>
                <a:lnTo>
                  <a:pt x="2" y="453"/>
                </a:lnTo>
                <a:lnTo>
                  <a:pt x="2" y="453"/>
                </a:lnTo>
                <a:lnTo>
                  <a:pt x="2" y="453"/>
                </a:lnTo>
                <a:lnTo>
                  <a:pt x="2" y="453"/>
                </a:lnTo>
                <a:lnTo>
                  <a:pt x="0" y="453"/>
                </a:lnTo>
                <a:lnTo>
                  <a:pt x="0" y="452"/>
                </a:lnTo>
                <a:lnTo>
                  <a:pt x="0" y="452"/>
                </a:lnTo>
                <a:lnTo>
                  <a:pt x="0" y="452"/>
                </a:lnTo>
                <a:lnTo>
                  <a:pt x="0" y="452"/>
                </a:lnTo>
                <a:lnTo>
                  <a:pt x="0" y="450"/>
                </a:lnTo>
                <a:lnTo>
                  <a:pt x="0" y="450"/>
                </a:lnTo>
                <a:lnTo>
                  <a:pt x="0" y="450"/>
                </a:lnTo>
                <a:lnTo>
                  <a:pt x="0" y="450"/>
                </a:lnTo>
                <a:lnTo>
                  <a:pt x="0" y="450"/>
                </a:lnTo>
                <a:lnTo>
                  <a:pt x="0" y="449"/>
                </a:lnTo>
                <a:lnTo>
                  <a:pt x="0" y="449"/>
                </a:lnTo>
                <a:lnTo>
                  <a:pt x="0" y="449"/>
                </a:lnTo>
                <a:lnTo>
                  <a:pt x="0" y="449"/>
                </a:lnTo>
                <a:lnTo>
                  <a:pt x="0" y="449"/>
                </a:lnTo>
                <a:lnTo>
                  <a:pt x="0" y="448"/>
                </a:lnTo>
                <a:lnTo>
                  <a:pt x="0" y="448"/>
                </a:lnTo>
                <a:lnTo>
                  <a:pt x="0" y="448"/>
                </a:lnTo>
                <a:lnTo>
                  <a:pt x="0" y="448"/>
                </a:lnTo>
                <a:lnTo>
                  <a:pt x="0" y="447"/>
                </a:lnTo>
                <a:lnTo>
                  <a:pt x="0" y="447"/>
                </a:lnTo>
                <a:lnTo>
                  <a:pt x="0" y="447"/>
                </a:lnTo>
                <a:lnTo>
                  <a:pt x="0" y="447"/>
                </a:lnTo>
                <a:lnTo>
                  <a:pt x="0" y="447"/>
                </a:lnTo>
                <a:lnTo>
                  <a:pt x="0" y="446"/>
                </a:lnTo>
                <a:lnTo>
                  <a:pt x="0" y="446"/>
                </a:lnTo>
                <a:lnTo>
                  <a:pt x="0" y="446"/>
                </a:lnTo>
                <a:lnTo>
                  <a:pt x="0" y="446"/>
                </a:lnTo>
                <a:lnTo>
                  <a:pt x="0" y="446"/>
                </a:lnTo>
                <a:lnTo>
                  <a:pt x="0" y="445"/>
                </a:lnTo>
                <a:lnTo>
                  <a:pt x="0" y="445"/>
                </a:lnTo>
                <a:lnTo>
                  <a:pt x="0" y="445"/>
                </a:lnTo>
                <a:lnTo>
                  <a:pt x="0" y="445"/>
                </a:lnTo>
                <a:lnTo>
                  <a:pt x="0" y="445"/>
                </a:lnTo>
                <a:lnTo>
                  <a:pt x="0" y="444"/>
                </a:lnTo>
                <a:lnTo>
                  <a:pt x="2" y="444"/>
                </a:lnTo>
                <a:lnTo>
                  <a:pt x="2" y="444"/>
                </a:lnTo>
                <a:lnTo>
                  <a:pt x="2" y="444"/>
                </a:lnTo>
                <a:lnTo>
                  <a:pt x="2" y="442"/>
                </a:lnTo>
                <a:lnTo>
                  <a:pt x="2" y="442"/>
                </a:lnTo>
                <a:lnTo>
                  <a:pt x="2" y="442"/>
                </a:lnTo>
                <a:lnTo>
                  <a:pt x="2" y="442"/>
                </a:lnTo>
                <a:lnTo>
                  <a:pt x="2" y="442"/>
                </a:lnTo>
                <a:lnTo>
                  <a:pt x="2" y="441"/>
                </a:lnTo>
                <a:lnTo>
                  <a:pt x="2" y="441"/>
                </a:lnTo>
                <a:lnTo>
                  <a:pt x="2" y="441"/>
                </a:lnTo>
                <a:lnTo>
                  <a:pt x="2" y="441"/>
                </a:lnTo>
                <a:lnTo>
                  <a:pt x="2" y="441"/>
                </a:lnTo>
                <a:lnTo>
                  <a:pt x="2" y="440"/>
                </a:lnTo>
                <a:lnTo>
                  <a:pt x="2" y="440"/>
                </a:lnTo>
                <a:lnTo>
                  <a:pt x="2" y="440"/>
                </a:lnTo>
                <a:lnTo>
                  <a:pt x="2" y="440"/>
                </a:lnTo>
                <a:lnTo>
                  <a:pt x="2" y="440"/>
                </a:lnTo>
                <a:lnTo>
                  <a:pt x="2" y="439"/>
                </a:lnTo>
                <a:lnTo>
                  <a:pt x="2" y="439"/>
                </a:lnTo>
                <a:lnTo>
                  <a:pt x="2" y="439"/>
                </a:lnTo>
                <a:lnTo>
                  <a:pt x="2" y="439"/>
                </a:lnTo>
                <a:lnTo>
                  <a:pt x="2" y="439"/>
                </a:lnTo>
                <a:lnTo>
                  <a:pt x="2" y="438"/>
                </a:lnTo>
                <a:lnTo>
                  <a:pt x="2" y="438"/>
                </a:lnTo>
                <a:lnTo>
                  <a:pt x="2" y="438"/>
                </a:lnTo>
                <a:lnTo>
                  <a:pt x="3" y="438"/>
                </a:lnTo>
                <a:lnTo>
                  <a:pt x="3" y="438"/>
                </a:lnTo>
                <a:lnTo>
                  <a:pt x="3" y="437"/>
                </a:lnTo>
                <a:lnTo>
                  <a:pt x="3" y="437"/>
                </a:lnTo>
                <a:lnTo>
                  <a:pt x="3" y="437"/>
                </a:lnTo>
                <a:lnTo>
                  <a:pt x="3" y="437"/>
                </a:lnTo>
                <a:lnTo>
                  <a:pt x="3" y="437"/>
                </a:lnTo>
                <a:lnTo>
                  <a:pt x="3" y="436"/>
                </a:lnTo>
                <a:lnTo>
                  <a:pt x="3" y="436"/>
                </a:lnTo>
                <a:lnTo>
                  <a:pt x="3" y="436"/>
                </a:lnTo>
                <a:lnTo>
                  <a:pt x="3" y="436"/>
                </a:lnTo>
                <a:lnTo>
                  <a:pt x="3" y="436"/>
                </a:lnTo>
                <a:lnTo>
                  <a:pt x="3" y="435"/>
                </a:lnTo>
                <a:lnTo>
                  <a:pt x="3" y="435"/>
                </a:lnTo>
                <a:lnTo>
                  <a:pt x="3" y="435"/>
                </a:lnTo>
                <a:lnTo>
                  <a:pt x="4" y="435"/>
                </a:lnTo>
                <a:lnTo>
                  <a:pt x="4" y="435"/>
                </a:lnTo>
                <a:lnTo>
                  <a:pt x="4" y="433"/>
                </a:lnTo>
                <a:lnTo>
                  <a:pt x="4" y="433"/>
                </a:lnTo>
                <a:lnTo>
                  <a:pt x="4" y="433"/>
                </a:lnTo>
                <a:lnTo>
                  <a:pt x="4" y="433"/>
                </a:lnTo>
                <a:lnTo>
                  <a:pt x="4" y="433"/>
                </a:lnTo>
                <a:lnTo>
                  <a:pt x="4" y="433"/>
                </a:lnTo>
                <a:lnTo>
                  <a:pt x="4" y="432"/>
                </a:lnTo>
                <a:lnTo>
                  <a:pt x="4" y="432"/>
                </a:lnTo>
                <a:lnTo>
                  <a:pt x="4" y="432"/>
                </a:lnTo>
                <a:lnTo>
                  <a:pt x="4" y="432"/>
                </a:lnTo>
                <a:lnTo>
                  <a:pt x="5" y="432"/>
                </a:lnTo>
                <a:lnTo>
                  <a:pt x="5" y="431"/>
                </a:lnTo>
                <a:lnTo>
                  <a:pt x="5" y="431"/>
                </a:lnTo>
                <a:lnTo>
                  <a:pt x="5" y="431"/>
                </a:lnTo>
                <a:lnTo>
                  <a:pt x="5" y="431"/>
                </a:lnTo>
                <a:lnTo>
                  <a:pt x="5" y="431"/>
                </a:lnTo>
                <a:lnTo>
                  <a:pt x="5" y="431"/>
                </a:lnTo>
                <a:lnTo>
                  <a:pt x="5" y="430"/>
                </a:lnTo>
                <a:lnTo>
                  <a:pt x="5" y="430"/>
                </a:lnTo>
                <a:lnTo>
                  <a:pt x="5" y="430"/>
                </a:lnTo>
                <a:lnTo>
                  <a:pt x="5" y="430"/>
                </a:lnTo>
                <a:lnTo>
                  <a:pt x="6" y="430"/>
                </a:lnTo>
                <a:lnTo>
                  <a:pt x="6" y="429"/>
                </a:lnTo>
                <a:lnTo>
                  <a:pt x="6" y="429"/>
                </a:lnTo>
                <a:lnTo>
                  <a:pt x="6" y="429"/>
                </a:lnTo>
                <a:lnTo>
                  <a:pt x="6" y="429"/>
                </a:lnTo>
                <a:lnTo>
                  <a:pt x="6" y="429"/>
                </a:lnTo>
                <a:lnTo>
                  <a:pt x="6" y="429"/>
                </a:lnTo>
                <a:lnTo>
                  <a:pt x="6" y="428"/>
                </a:lnTo>
                <a:lnTo>
                  <a:pt x="6" y="428"/>
                </a:lnTo>
                <a:lnTo>
                  <a:pt x="6" y="428"/>
                </a:lnTo>
                <a:lnTo>
                  <a:pt x="7" y="428"/>
                </a:lnTo>
                <a:lnTo>
                  <a:pt x="7" y="428"/>
                </a:lnTo>
                <a:lnTo>
                  <a:pt x="7" y="428"/>
                </a:lnTo>
                <a:lnTo>
                  <a:pt x="7" y="427"/>
                </a:lnTo>
                <a:lnTo>
                  <a:pt x="7" y="427"/>
                </a:lnTo>
                <a:lnTo>
                  <a:pt x="7" y="427"/>
                </a:lnTo>
                <a:lnTo>
                  <a:pt x="7" y="427"/>
                </a:lnTo>
                <a:lnTo>
                  <a:pt x="7" y="427"/>
                </a:lnTo>
                <a:lnTo>
                  <a:pt x="7" y="427"/>
                </a:lnTo>
                <a:lnTo>
                  <a:pt x="8" y="426"/>
                </a:lnTo>
                <a:lnTo>
                  <a:pt x="8" y="426"/>
                </a:lnTo>
                <a:lnTo>
                  <a:pt x="8" y="426"/>
                </a:lnTo>
                <a:lnTo>
                  <a:pt x="8" y="426"/>
                </a:lnTo>
                <a:lnTo>
                  <a:pt x="8" y="426"/>
                </a:lnTo>
                <a:lnTo>
                  <a:pt x="8" y="426"/>
                </a:lnTo>
                <a:lnTo>
                  <a:pt x="8" y="424"/>
                </a:lnTo>
                <a:lnTo>
                  <a:pt x="8" y="424"/>
                </a:lnTo>
                <a:lnTo>
                  <a:pt x="9" y="424"/>
                </a:lnTo>
                <a:lnTo>
                  <a:pt x="9" y="424"/>
                </a:lnTo>
                <a:lnTo>
                  <a:pt x="9" y="424"/>
                </a:lnTo>
                <a:lnTo>
                  <a:pt x="9" y="424"/>
                </a:lnTo>
                <a:lnTo>
                  <a:pt x="9" y="424"/>
                </a:lnTo>
                <a:lnTo>
                  <a:pt x="9" y="423"/>
                </a:lnTo>
                <a:lnTo>
                  <a:pt x="9" y="423"/>
                </a:lnTo>
                <a:lnTo>
                  <a:pt x="9" y="423"/>
                </a:lnTo>
                <a:lnTo>
                  <a:pt x="11" y="423"/>
                </a:lnTo>
                <a:lnTo>
                  <a:pt x="11" y="423"/>
                </a:lnTo>
                <a:lnTo>
                  <a:pt x="11" y="423"/>
                </a:lnTo>
                <a:lnTo>
                  <a:pt x="11" y="422"/>
                </a:lnTo>
                <a:lnTo>
                  <a:pt x="11" y="422"/>
                </a:lnTo>
                <a:lnTo>
                  <a:pt x="11" y="422"/>
                </a:lnTo>
                <a:lnTo>
                  <a:pt x="11" y="422"/>
                </a:lnTo>
                <a:lnTo>
                  <a:pt x="12" y="422"/>
                </a:lnTo>
                <a:lnTo>
                  <a:pt x="12" y="422"/>
                </a:lnTo>
                <a:lnTo>
                  <a:pt x="12" y="422"/>
                </a:lnTo>
                <a:lnTo>
                  <a:pt x="12" y="421"/>
                </a:lnTo>
                <a:lnTo>
                  <a:pt x="12" y="421"/>
                </a:lnTo>
                <a:lnTo>
                  <a:pt x="12" y="421"/>
                </a:lnTo>
                <a:lnTo>
                  <a:pt x="12" y="421"/>
                </a:lnTo>
                <a:lnTo>
                  <a:pt x="13" y="421"/>
                </a:lnTo>
                <a:lnTo>
                  <a:pt x="13" y="421"/>
                </a:lnTo>
                <a:lnTo>
                  <a:pt x="13" y="421"/>
                </a:lnTo>
                <a:lnTo>
                  <a:pt x="13" y="420"/>
                </a:lnTo>
                <a:lnTo>
                  <a:pt x="13" y="420"/>
                </a:lnTo>
                <a:lnTo>
                  <a:pt x="13" y="420"/>
                </a:lnTo>
                <a:lnTo>
                  <a:pt x="13" y="420"/>
                </a:lnTo>
                <a:lnTo>
                  <a:pt x="14" y="420"/>
                </a:lnTo>
                <a:lnTo>
                  <a:pt x="14" y="420"/>
                </a:lnTo>
                <a:lnTo>
                  <a:pt x="14" y="420"/>
                </a:lnTo>
                <a:lnTo>
                  <a:pt x="14" y="420"/>
                </a:lnTo>
                <a:lnTo>
                  <a:pt x="14" y="419"/>
                </a:lnTo>
                <a:lnTo>
                  <a:pt x="14" y="419"/>
                </a:lnTo>
                <a:lnTo>
                  <a:pt x="14" y="419"/>
                </a:lnTo>
                <a:lnTo>
                  <a:pt x="15" y="419"/>
                </a:lnTo>
                <a:lnTo>
                  <a:pt x="15" y="419"/>
                </a:lnTo>
                <a:lnTo>
                  <a:pt x="15" y="419"/>
                </a:lnTo>
                <a:lnTo>
                  <a:pt x="15" y="419"/>
                </a:lnTo>
                <a:lnTo>
                  <a:pt x="15" y="419"/>
                </a:lnTo>
                <a:lnTo>
                  <a:pt x="15" y="418"/>
                </a:lnTo>
                <a:lnTo>
                  <a:pt x="16" y="418"/>
                </a:lnTo>
                <a:lnTo>
                  <a:pt x="16" y="418"/>
                </a:lnTo>
                <a:lnTo>
                  <a:pt x="16" y="418"/>
                </a:lnTo>
                <a:lnTo>
                  <a:pt x="16" y="418"/>
                </a:lnTo>
                <a:lnTo>
                  <a:pt x="16" y="418"/>
                </a:lnTo>
                <a:lnTo>
                  <a:pt x="16" y="418"/>
                </a:lnTo>
                <a:lnTo>
                  <a:pt x="17" y="418"/>
                </a:lnTo>
                <a:lnTo>
                  <a:pt x="17" y="417"/>
                </a:lnTo>
                <a:lnTo>
                  <a:pt x="17" y="417"/>
                </a:lnTo>
                <a:lnTo>
                  <a:pt x="17" y="417"/>
                </a:lnTo>
                <a:lnTo>
                  <a:pt x="17" y="417"/>
                </a:lnTo>
                <a:lnTo>
                  <a:pt x="17" y="417"/>
                </a:lnTo>
                <a:lnTo>
                  <a:pt x="18" y="417"/>
                </a:lnTo>
                <a:lnTo>
                  <a:pt x="18" y="417"/>
                </a:lnTo>
                <a:lnTo>
                  <a:pt x="18" y="417"/>
                </a:lnTo>
                <a:lnTo>
                  <a:pt x="18" y="417"/>
                </a:lnTo>
                <a:lnTo>
                  <a:pt x="18" y="415"/>
                </a:lnTo>
                <a:lnTo>
                  <a:pt x="18" y="415"/>
                </a:lnTo>
                <a:lnTo>
                  <a:pt x="20" y="415"/>
                </a:lnTo>
                <a:lnTo>
                  <a:pt x="20" y="415"/>
                </a:lnTo>
                <a:lnTo>
                  <a:pt x="20" y="415"/>
                </a:lnTo>
                <a:lnTo>
                  <a:pt x="20" y="415"/>
                </a:lnTo>
                <a:lnTo>
                  <a:pt x="20" y="415"/>
                </a:lnTo>
                <a:lnTo>
                  <a:pt x="20" y="415"/>
                </a:lnTo>
                <a:lnTo>
                  <a:pt x="21" y="415"/>
                </a:lnTo>
                <a:lnTo>
                  <a:pt x="21" y="415"/>
                </a:lnTo>
                <a:lnTo>
                  <a:pt x="21" y="414"/>
                </a:lnTo>
                <a:lnTo>
                  <a:pt x="21" y="414"/>
                </a:lnTo>
                <a:lnTo>
                  <a:pt x="21" y="414"/>
                </a:lnTo>
                <a:lnTo>
                  <a:pt x="21" y="414"/>
                </a:lnTo>
                <a:lnTo>
                  <a:pt x="22" y="414"/>
                </a:lnTo>
                <a:lnTo>
                  <a:pt x="22" y="414"/>
                </a:lnTo>
                <a:lnTo>
                  <a:pt x="22" y="414"/>
                </a:lnTo>
                <a:lnTo>
                  <a:pt x="22" y="414"/>
                </a:lnTo>
                <a:lnTo>
                  <a:pt x="22" y="414"/>
                </a:lnTo>
                <a:lnTo>
                  <a:pt x="23" y="414"/>
                </a:lnTo>
                <a:lnTo>
                  <a:pt x="23" y="414"/>
                </a:lnTo>
                <a:lnTo>
                  <a:pt x="23" y="413"/>
                </a:lnTo>
                <a:lnTo>
                  <a:pt x="23" y="413"/>
                </a:lnTo>
                <a:lnTo>
                  <a:pt x="23" y="413"/>
                </a:lnTo>
                <a:lnTo>
                  <a:pt x="24" y="413"/>
                </a:lnTo>
                <a:lnTo>
                  <a:pt x="24" y="413"/>
                </a:lnTo>
                <a:lnTo>
                  <a:pt x="24" y="413"/>
                </a:lnTo>
                <a:lnTo>
                  <a:pt x="24" y="413"/>
                </a:lnTo>
                <a:lnTo>
                  <a:pt x="24" y="413"/>
                </a:lnTo>
                <a:lnTo>
                  <a:pt x="24" y="413"/>
                </a:lnTo>
                <a:lnTo>
                  <a:pt x="25" y="413"/>
                </a:lnTo>
                <a:lnTo>
                  <a:pt x="25" y="413"/>
                </a:lnTo>
                <a:lnTo>
                  <a:pt x="25" y="413"/>
                </a:lnTo>
                <a:lnTo>
                  <a:pt x="25" y="413"/>
                </a:lnTo>
                <a:lnTo>
                  <a:pt x="25" y="412"/>
                </a:lnTo>
                <a:lnTo>
                  <a:pt x="26" y="412"/>
                </a:lnTo>
                <a:lnTo>
                  <a:pt x="26" y="412"/>
                </a:lnTo>
                <a:lnTo>
                  <a:pt x="26" y="412"/>
                </a:lnTo>
                <a:lnTo>
                  <a:pt x="26" y="412"/>
                </a:lnTo>
                <a:lnTo>
                  <a:pt x="26" y="412"/>
                </a:lnTo>
                <a:lnTo>
                  <a:pt x="27" y="412"/>
                </a:lnTo>
                <a:lnTo>
                  <a:pt x="27" y="412"/>
                </a:lnTo>
                <a:lnTo>
                  <a:pt x="27" y="412"/>
                </a:lnTo>
                <a:lnTo>
                  <a:pt x="27" y="412"/>
                </a:lnTo>
                <a:lnTo>
                  <a:pt x="27" y="412"/>
                </a:lnTo>
                <a:lnTo>
                  <a:pt x="29" y="412"/>
                </a:lnTo>
                <a:lnTo>
                  <a:pt x="29" y="412"/>
                </a:lnTo>
                <a:lnTo>
                  <a:pt x="29" y="412"/>
                </a:lnTo>
                <a:lnTo>
                  <a:pt x="29" y="412"/>
                </a:lnTo>
                <a:lnTo>
                  <a:pt x="29" y="412"/>
                </a:lnTo>
                <a:lnTo>
                  <a:pt x="30" y="412"/>
                </a:lnTo>
                <a:lnTo>
                  <a:pt x="30" y="411"/>
                </a:lnTo>
                <a:lnTo>
                  <a:pt x="30" y="411"/>
                </a:lnTo>
                <a:lnTo>
                  <a:pt x="30" y="411"/>
                </a:lnTo>
                <a:lnTo>
                  <a:pt x="30" y="411"/>
                </a:lnTo>
                <a:lnTo>
                  <a:pt x="31" y="411"/>
                </a:lnTo>
                <a:lnTo>
                  <a:pt x="31" y="411"/>
                </a:lnTo>
                <a:lnTo>
                  <a:pt x="31" y="411"/>
                </a:lnTo>
                <a:lnTo>
                  <a:pt x="31" y="411"/>
                </a:lnTo>
                <a:lnTo>
                  <a:pt x="31" y="411"/>
                </a:lnTo>
                <a:lnTo>
                  <a:pt x="32" y="411"/>
                </a:lnTo>
                <a:lnTo>
                  <a:pt x="32" y="411"/>
                </a:lnTo>
                <a:lnTo>
                  <a:pt x="32" y="411"/>
                </a:lnTo>
                <a:lnTo>
                  <a:pt x="32" y="411"/>
                </a:lnTo>
                <a:lnTo>
                  <a:pt x="32" y="411"/>
                </a:lnTo>
                <a:lnTo>
                  <a:pt x="33" y="411"/>
                </a:lnTo>
                <a:lnTo>
                  <a:pt x="33" y="411"/>
                </a:lnTo>
                <a:lnTo>
                  <a:pt x="33" y="411"/>
                </a:lnTo>
                <a:lnTo>
                  <a:pt x="33" y="411"/>
                </a:lnTo>
                <a:lnTo>
                  <a:pt x="33" y="411"/>
                </a:lnTo>
                <a:lnTo>
                  <a:pt x="34" y="411"/>
                </a:lnTo>
                <a:lnTo>
                  <a:pt x="34" y="411"/>
                </a:lnTo>
                <a:lnTo>
                  <a:pt x="34" y="411"/>
                </a:lnTo>
                <a:lnTo>
                  <a:pt x="34" y="411"/>
                </a:lnTo>
                <a:lnTo>
                  <a:pt x="34" y="411"/>
                </a:lnTo>
                <a:lnTo>
                  <a:pt x="35" y="411"/>
                </a:lnTo>
                <a:lnTo>
                  <a:pt x="35" y="411"/>
                </a:lnTo>
                <a:lnTo>
                  <a:pt x="35" y="411"/>
                </a:lnTo>
                <a:lnTo>
                  <a:pt x="35" y="411"/>
                </a:lnTo>
                <a:lnTo>
                  <a:pt x="36" y="411"/>
                </a:lnTo>
                <a:lnTo>
                  <a:pt x="36" y="411"/>
                </a:lnTo>
                <a:lnTo>
                  <a:pt x="36" y="411"/>
                </a:lnTo>
                <a:lnTo>
                  <a:pt x="36" y="411"/>
                </a:lnTo>
                <a:lnTo>
                  <a:pt x="36" y="411"/>
                </a:lnTo>
                <a:lnTo>
                  <a:pt x="38" y="411"/>
                </a:lnTo>
                <a:lnTo>
                  <a:pt x="38" y="411"/>
                </a:lnTo>
                <a:lnTo>
                  <a:pt x="38" y="411"/>
                </a:lnTo>
                <a:lnTo>
                  <a:pt x="38" y="411"/>
                </a:lnTo>
                <a:lnTo>
                  <a:pt x="38" y="411"/>
                </a:lnTo>
                <a:lnTo>
                  <a:pt x="39" y="411"/>
                </a:lnTo>
                <a:lnTo>
                  <a:pt x="39" y="411"/>
                </a:lnTo>
                <a:close/>
                <a:moveTo>
                  <a:pt x="42" y="404"/>
                </a:moveTo>
                <a:lnTo>
                  <a:pt x="34" y="404"/>
                </a:lnTo>
                <a:lnTo>
                  <a:pt x="34" y="388"/>
                </a:lnTo>
                <a:lnTo>
                  <a:pt x="42" y="388"/>
                </a:lnTo>
                <a:lnTo>
                  <a:pt x="42" y="404"/>
                </a:lnTo>
                <a:lnTo>
                  <a:pt x="42" y="404"/>
                </a:lnTo>
                <a:close/>
                <a:moveTo>
                  <a:pt x="42" y="357"/>
                </a:moveTo>
                <a:lnTo>
                  <a:pt x="34" y="357"/>
                </a:lnTo>
                <a:lnTo>
                  <a:pt x="34" y="341"/>
                </a:lnTo>
                <a:lnTo>
                  <a:pt x="42" y="341"/>
                </a:lnTo>
                <a:lnTo>
                  <a:pt x="42" y="357"/>
                </a:lnTo>
                <a:lnTo>
                  <a:pt x="42" y="357"/>
                </a:lnTo>
                <a:close/>
                <a:moveTo>
                  <a:pt x="42" y="310"/>
                </a:moveTo>
                <a:lnTo>
                  <a:pt x="34" y="310"/>
                </a:lnTo>
                <a:lnTo>
                  <a:pt x="34" y="294"/>
                </a:lnTo>
                <a:lnTo>
                  <a:pt x="42" y="294"/>
                </a:lnTo>
                <a:lnTo>
                  <a:pt x="42" y="310"/>
                </a:lnTo>
                <a:lnTo>
                  <a:pt x="42" y="310"/>
                </a:lnTo>
                <a:close/>
                <a:moveTo>
                  <a:pt x="39" y="267"/>
                </a:moveTo>
                <a:lnTo>
                  <a:pt x="39" y="259"/>
                </a:lnTo>
                <a:lnTo>
                  <a:pt x="55" y="259"/>
                </a:lnTo>
                <a:lnTo>
                  <a:pt x="55" y="267"/>
                </a:lnTo>
                <a:lnTo>
                  <a:pt x="39" y="267"/>
                </a:lnTo>
                <a:lnTo>
                  <a:pt x="39" y="267"/>
                </a:lnTo>
                <a:close/>
                <a:moveTo>
                  <a:pt x="86" y="267"/>
                </a:moveTo>
                <a:lnTo>
                  <a:pt x="86" y="259"/>
                </a:lnTo>
                <a:lnTo>
                  <a:pt x="102" y="259"/>
                </a:lnTo>
                <a:lnTo>
                  <a:pt x="102" y="267"/>
                </a:lnTo>
                <a:lnTo>
                  <a:pt x="86" y="267"/>
                </a:lnTo>
                <a:lnTo>
                  <a:pt x="86" y="267"/>
                </a:lnTo>
                <a:close/>
                <a:moveTo>
                  <a:pt x="133" y="267"/>
                </a:moveTo>
                <a:lnTo>
                  <a:pt x="133" y="259"/>
                </a:lnTo>
                <a:lnTo>
                  <a:pt x="148" y="259"/>
                </a:lnTo>
                <a:lnTo>
                  <a:pt x="148" y="267"/>
                </a:lnTo>
                <a:lnTo>
                  <a:pt x="133" y="267"/>
                </a:lnTo>
                <a:lnTo>
                  <a:pt x="133" y="267"/>
                </a:lnTo>
                <a:close/>
                <a:moveTo>
                  <a:pt x="179" y="267"/>
                </a:moveTo>
                <a:lnTo>
                  <a:pt x="179" y="259"/>
                </a:lnTo>
                <a:lnTo>
                  <a:pt x="195" y="259"/>
                </a:lnTo>
                <a:lnTo>
                  <a:pt x="195" y="267"/>
                </a:lnTo>
                <a:lnTo>
                  <a:pt x="179" y="267"/>
                </a:lnTo>
                <a:lnTo>
                  <a:pt x="179" y="267"/>
                </a:lnTo>
                <a:close/>
                <a:moveTo>
                  <a:pt x="227" y="267"/>
                </a:moveTo>
                <a:lnTo>
                  <a:pt x="227" y="259"/>
                </a:lnTo>
                <a:lnTo>
                  <a:pt x="243" y="259"/>
                </a:lnTo>
                <a:lnTo>
                  <a:pt x="243" y="267"/>
                </a:lnTo>
                <a:lnTo>
                  <a:pt x="227" y="267"/>
                </a:lnTo>
                <a:lnTo>
                  <a:pt x="227" y="267"/>
                </a:lnTo>
                <a:close/>
                <a:moveTo>
                  <a:pt x="274" y="267"/>
                </a:moveTo>
                <a:lnTo>
                  <a:pt x="274" y="259"/>
                </a:lnTo>
                <a:lnTo>
                  <a:pt x="290" y="259"/>
                </a:lnTo>
                <a:lnTo>
                  <a:pt x="290" y="267"/>
                </a:lnTo>
                <a:lnTo>
                  <a:pt x="274" y="267"/>
                </a:lnTo>
                <a:lnTo>
                  <a:pt x="274" y="267"/>
                </a:lnTo>
                <a:close/>
                <a:moveTo>
                  <a:pt x="321" y="267"/>
                </a:moveTo>
                <a:lnTo>
                  <a:pt x="321" y="259"/>
                </a:lnTo>
                <a:lnTo>
                  <a:pt x="337" y="259"/>
                </a:lnTo>
                <a:lnTo>
                  <a:pt x="337" y="267"/>
                </a:lnTo>
                <a:lnTo>
                  <a:pt x="321" y="267"/>
                </a:lnTo>
                <a:lnTo>
                  <a:pt x="321" y="267"/>
                </a:lnTo>
                <a:close/>
                <a:moveTo>
                  <a:pt x="369" y="267"/>
                </a:moveTo>
                <a:lnTo>
                  <a:pt x="369" y="259"/>
                </a:lnTo>
                <a:lnTo>
                  <a:pt x="384" y="259"/>
                </a:lnTo>
                <a:lnTo>
                  <a:pt x="384" y="267"/>
                </a:lnTo>
                <a:lnTo>
                  <a:pt x="369" y="267"/>
                </a:lnTo>
                <a:lnTo>
                  <a:pt x="369" y="267"/>
                </a:lnTo>
                <a:close/>
                <a:moveTo>
                  <a:pt x="416" y="267"/>
                </a:moveTo>
                <a:lnTo>
                  <a:pt x="416" y="259"/>
                </a:lnTo>
                <a:lnTo>
                  <a:pt x="432" y="259"/>
                </a:lnTo>
                <a:lnTo>
                  <a:pt x="432" y="267"/>
                </a:lnTo>
                <a:lnTo>
                  <a:pt x="416" y="267"/>
                </a:lnTo>
                <a:lnTo>
                  <a:pt x="416" y="267"/>
                </a:lnTo>
                <a:close/>
                <a:moveTo>
                  <a:pt x="454" y="251"/>
                </a:moveTo>
                <a:lnTo>
                  <a:pt x="447" y="251"/>
                </a:lnTo>
                <a:lnTo>
                  <a:pt x="447" y="235"/>
                </a:lnTo>
                <a:lnTo>
                  <a:pt x="454" y="235"/>
                </a:lnTo>
                <a:lnTo>
                  <a:pt x="454" y="251"/>
                </a:lnTo>
                <a:lnTo>
                  <a:pt x="454" y="251"/>
                </a:lnTo>
                <a:close/>
                <a:moveTo>
                  <a:pt x="454" y="204"/>
                </a:moveTo>
                <a:lnTo>
                  <a:pt x="447" y="204"/>
                </a:lnTo>
                <a:lnTo>
                  <a:pt x="447" y="188"/>
                </a:lnTo>
                <a:lnTo>
                  <a:pt x="454" y="188"/>
                </a:lnTo>
                <a:lnTo>
                  <a:pt x="454" y="204"/>
                </a:lnTo>
                <a:lnTo>
                  <a:pt x="454" y="204"/>
                </a:lnTo>
                <a:close/>
                <a:moveTo>
                  <a:pt x="454" y="156"/>
                </a:moveTo>
                <a:lnTo>
                  <a:pt x="447" y="156"/>
                </a:lnTo>
                <a:lnTo>
                  <a:pt x="447" y="141"/>
                </a:lnTo>
                <a:lnTo>
                  <a:pt x="454" y="141"/>
                </a:lnTo>
                <a:lnTo>
                  <a:pt x="454" y="156"/>
                </a:lnTo>
                <a:lnTo>
                  <a:pt x="454" y="156"/>
                </a:lnTo>
                <a:close/>
                <a:moveTo>
                  <a:pt x="454" y="109"/>
                </a:moveTo>
                <a:lnTo>
                  <a:pt x="447" y="109"/>
                </a:lnTo>
                <a:lnTo>
                  <a:pt x="447" y="93"/>
                </a:lnTo>
                <a:lnTo>
                  <a:pt x="454" y="93"/>
                </a:lnTo>
                <a:lnTo>
                  <a:pt x="454" y="109"/>
                </a:lnTo>
                <a:lnTo>
                  <a:pt x="454" y="109"/>
                </a:lnTo>
                <a:close/>
                <a:moveTo>
                  <a:pt x="454" y="62"/>
                </a:moveTo>
                <a:lnTo>
                  <a:pt x="447" y="62"/>
                </a:lnTo>
                <a:lnTo>
                  <a:pt x="447" y="47"/>
                </a:lnTo>
                <a:lnTo>
                  <a:pt x="454" y="47"/>
                </a:lnTo>
                <a:lnTo>
                  <a:pt x="454" y="62"/>
                </a:lnTo>
                <a:close/>
              </a:path>
            </a:pathLst>
          </a:custGeom>
          <a:solidFill>
            <a:srgbClr val="8497B0"/>
          </a:solidFill>
          <a:ln>
            <a:solidFill>
              <a:schemeClr val="accent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106" name="Freeform 10">
            <a:extLst>
              <a:ext uri="{FF2B5EF4-FFF2-40B4-BE49-F238E27FC236}">
                <a16:creationId xmlns:a16="http://schemas.microsoft.com/office/drawing/2014/main" id="{187350AB-0B8F-43C6-8B82-1F6E0DF44BF3}"/>
              </a:ext>
            </a:extLst>
          </p:cNvPr>
          <p:cNvSpPr>
            <a:spLocks/>
          </p:cNvSpPr>
          <p:nvPr/>
        </p:nvSpPr>
        <p:spPr bwMode="auto">
          <a:xfrm>
            <a:off x="7447407" y="1032669"/>
            <a:ext cx="912813" cy="912812"/>
          </a:xfrm>
          <a:custGeom>
            <a:avLst/>
            <a:gdLst>
              <a:gd name="T0" fmla="*/ 366 w 510"/>
              <a:gd name="T1" fmla="*/ 62 h 510"/>
              <a:gd name="T2" fmla="*/ 448 w 510"/>
              <a:gd name="T3" fmla="*/ 367 h 510"/>
              <a:gd name="T4" fmla="*/ 143 w 510"/>
              <a:gd name="T5" fmla="*/ 448 h 510"/>
              <a:gd name="T6" fmla="*/ 61 w 510"/>
              <a:gd name="T7" fmla="*/ 143 h 510"/>
              <a:gd name="T8" fmla="*/ 366 w 510"/>
              <a:gd name="T9" fmla="*/ 62 h 510"/>
            </a:gdLst>
            <a:ahLst/>
            <a:cxnLst>
              <a:cxn ang="0">
                <a:pos x="T0" y="T1"/>
              </a:cxn>
              <a:cxn ang="0">
                <a:pos x="T2" y="T3"/>
              </a:cxn>
              <a:cxn ang="0">
                <a:pos x="T4" y="T5"/>
              </a:cxn>
              <a:cxn ang="0">
                <a:pos x="T6" y="T7"/>
              </a:cxn>
              <a:cxn ang="0">
                <a:pos x="T8" y="T9"/>
              </a:cxn>
            </a:cxnLst>
            <a:rect l="0" t="0" r="r" b="b"/>
            <a:pathLst>
              <a:path w="510" h="510">
                <a:moveTo>
                  <a:pt x="366" y="62"/>
                </a:moveTo>
                <a:cubicBezTo>
                  <a:pt x="473" y="123"/>
                  <a:pt x="510" y="260"/>
                  <a:pt x="448" y="367"/>
                </a:cubicBezTo>
                <a:cubicBezTo>
                  <a:pt x="387" y="473"/>
                  <a:pt x="250" y="510"/>
                  <a:pt x="143" y="448"/>
                </a:cubicBezTo>
                <a:cubicBezTo>
                  <a:pt x="36" y="387"/>
                  <a:pt x="0" y="250"/>
                  <a:pt x="61" y="143"/>
                </a:cubicBezTo>
                <a:cubicBezTo>
                  <a:pt x="123" y="37"/>
                  <a:pt x="260" y="0"/>
                  <a:pt x="366" y="62"/>
                </a:cubicBezTo>
                <a:close/>
              </a:path>
            </a:pathLst>
          </a:custGeom>
          <a:solidFill>
            <a:schemeClr val="accent1">
              <a:lumMod val="75000"/>
            </a:schemeClr>
          </a:solidFill>
          <a:ln>
            <a:noFill/>
          </a:ln>
          <a:effectLst/>
        </p:spPr>
        <p:txBody>
          <a:bodyPr vert="horz" wrap="square" lIns="91440" tIns="45720" rIns="91440" bIns="45720" numCol="1" anchor="ctr" anchorCtr="0" compatLnSpc="1">
            <a:prstTxWarp prst="textNoShape">
              <a:avLst/>
            </a:prstTxWarp>
          </a:bodyPr>
          <a:lstStyle/>
          <a:p>
            <a:pPr algn="ctr"/>
            <a:r>
              <a:rPr lang="uz-Cyrl-UZ" b="1" dirty="0" smtClean="0">
                <a:solidFill>
                  <a:schemeClr val="bg1"/>
                </a:solidFill>
              </a:rPr>
              <a:t>10</a:t>
            </a:r>
            <a:endParaRPr lang="en-US" b="1" dirty="0">
              <a:solidFill>
                <a:schemeClr val="bg1"/>
              </a:solidFill>
            </a:endParaRPr>
          </a:p>
        </p:txBody>
      </p:sp>
      <p:sp>
        <p:nvSpPr>
          <p:cNvPr id="107" name="Freeform 71">
            <a:extLst>
              <a:ext uri="{FF2B5EF4-FFF2-40B4-BE49-F238E27FC236}">
                <a16:creationId xmlns:a16="http://schemas.microsoft.com/office/drawing/2014/main" id="{4C0FE127-8558-4C8D-AA6B-665A65C41F24}"/>
              </a:ext>
            </a:extLst>
          </p:cNvPr>
          <p:cNvSpPr>
            <a:spLocks/>
          </p:cNvSpPr>
          <p:nvPr/>
        </p:nvSpPr>
        <p:spPr bwMode="auto">
          <a:xfrm>
            <a:off x="7506146" y="1102714"/>
            <a:ext cx="787400" cy="787400"/>
          </a:xfrm>
          <a:custGeom>
            <a:avLst/>
            <a:gdLst>
              <a:gd name="T0" fmla="*/ 62 w 510"/>
              <a:gd name="T1" fmla="*/ 367 h 510"/>
              <a:gd name="T2" fmla="*/ 144 w 510"/>
              <a:gd name="T3" fmla="*/ 62 h 510"/>
              <a:gd name="T4" fmla="*/ 449 w 510"/>
              <a:gd name="T5" fmla="*/ 144 h 510"/>
              <a:gd name="T6" fmla="*/ 367 w 510"/>
              <a:gd name="T7" fmla="*/ 449 h 510"/>
              <a:gd name="T8" fmla="*/ 62 w 510"/>
              <a:gd name="T9" fmla="*/ 367 h 510"/>
            </a:gdLst>
            <a:ahLst/>
            <a:cxnLst>
              <a:cxn ang="0">
                <a:pos x="T0" y="T1"/>
              </a:cxn>
              <a:cxn ang="0">
                <a:pos x="T2" y="T3"/>
              </a:cxn>
              <a:cxn ang="0">
                <a:pos x="T4" y="T5"/>
              </a:cxn>
              <a:cxn ang="0">
                <a:pos x="T6" y="T7"/>
              </a:cxn>
              <a:cxn ang="0">
                <a:pos x="T8" y="T9"/>
              </a:cxn>
            </a:cxnLst>
            <a:rect l="0" t="0" r="r" b="b"/>
            <a:pathLst>
              <a:path w="510" h="510">
                <a:moveTo>
                  <a:pt x="62" y="367"/>
                </a:moveTo>
                <a:cubicBezTo>
                  <a:pt x="0" y="260"/>
                  <a:pt x="37" y="124"/>
                  <a:pt x="144" y="62"/>
                </a:cubicBezTo>
                <a:cubicBezTo>
                  <a:pt x="250" y="0"/>
                  <a:pt x="387" y="37"/>
                  <a:pt x="449" y="144"/>
                </a:cubicBezTo>
                <a:cubicBezTo>
                  <a:pt x="510" y="251"/>
                  <a:pt x="474" y="387"/>
                  <a:pt x="367" y="449"/>
                </a:cubicBezTo>
                <a:cubicBezTo>
                  <a:pt x="260" y="510"/>
                  <a:pt x="124" y="474"/>
                  <a:pt x="62" y="367"/>
                </a:cubicBezTo>
                <a:close/>
              </a:path>
            </a:pathLst>
          </a:custGeom>
          <a:noFill/>
          <a:ln w="19050">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sp>
        <p:nvSpPr>
          <p:cNvPr id="108" name="TextBox 107">
            <a:extLst>
              <a:ext uri="{FF2B5EF4-FFF2-40B4-BE49-F238E27FC236}">
                <a16:creationId xmlns:a16="http://schemas.microsoft.com/office/drawing/2014/main" id="{212B72D0-24C1-4165-9848-B176FF8EC217}"/>
              </a:ext>
            </a:extLst>
          </p:cNvPr>
          <p:cNvSpPr txBox="1"/>
          <p:nvPr/>
        </p:nvSpPr>
        <p:spPr>
          <a:xfrm flipH="1">
            <a:off x="8360220" y="1158665"/>
            <a:ext cx="3774996" cy="692497"/>
          </a:xfrm>
          <a:prstGeom prst="rect">
            <a:avLst/>
          </a:prstGeom>
          <a:noFill/>
        </p:spPr>
        <p:txBody>
          <a:bodyPr wrap="square" lIns="0" tIns="0" rIns="0" bIns="0" rtlCol="0" anchor="ctr">
            <a:spAutoFit/>
          </a:bodyPr>
          <a:lstStyle/>
          <a:p>
            <a:pPr algn="ctr"/>
            <a:r>
              <a:rPr lang="ru-RU" sz="1500" dirty="0" err="1" smtClean="0"/>
              <a:t>Халқаро</a:t>
            </a:r>
            <a:r>
              <a:rPr lang="ru-RU" sz="1500" dirty="0" smtClean="0"/>
              <a:t>, республика, </a:t>
            </a:r>
            <a:r>
              <a:rPr lang="ru-RU" sz="1500" dirty="0" err="1" smtClean="0"/>
              <a:t>вилоят</a:t>
            </a:r>
            <a:r>
              <a:rPr lang="ru-RU" sz="1500" dirty="0" smtClean="0"/>
              <a:t> </a:t>
            </a:r>
            <a:r>
              <a:rPr lang="ru-RU" sz="1500" dirty="0" err="1" smtClean="0"/>
              <a:t>миқёсидаги</a:t>
            </a:r>
            <a:r>
              <a:rPr lang="ru-RU" sz="1500" dirty="0" smtClean="0"/>
              <a:t> </a:t>
            </a:r>
            <a:r>
              <a:rPr lang="ru-RU" sz="1500" dirty="0" err="1" smtClean="0"/>
              <a:t>кўрик-танлов</a:t>
            </a:r>
            <a:r>
              <a:rPr lang="ru-RU" sz="1500" dirty="0" smtClean="0"/>
              <a:t>, </a:t>
            </a:r>
            <a:r>
              <a:rPr lang="ru-RU" sz="1500" dirty="0" err="1" smtClean="0"/>
              <a:t>фан</a:t>
            </a:r>
            <a:r>
              <a:rPr lang="ru-RU" sz="1500" dirty="0" smtClean="0"/>
              <a:t> </a:t>
            </a:r>
            <a:r>
              <a:rPr lang="ru-RU" sz="1500" dirty="0" err="1" smtClean="0"/>
              <a:t>олимпиадалари</a:t>
            </a:r>
            <a:r>
              <a:rPr lang="ru-RU" sz="1500" dirty="0" smtClean="0"/>
              <a:t> </a:t>
            </a:r>
            <a:r>
              <a:rPr lang="ru-RU" sz="1500" dirty="0" err="1" smtClean="0"/>
              <a:t>ва</a:t>
            </a:r>
            <a:r>
              <a:rPr lang="ru-RU" sz="1500" dirty="0" smtClean="0"/>
              <a:t> спорт </a:t>
            </a:r>
            <a:r>
              <a:rPr lang="ru-RU" sz="1500" dirty="0" err="1" smtClean="0"/>
              <a:t>мусобақаларида</a:t>
            </a:r>
            <a:r>
              <a:rPr lang="ru-RU" sz="1500" dirty="0" smtClean="0"/>
              <a:t> </a:t>
            </a:r>
            <a:r>
              <a:rPr lang="ru-RU" sz="1500" dirty="0" err="1" smtClean="0"/>
              <a:t>эришган</a:t>
            </a:r>
            <a:r>
              <a:rPr lang="ru-RU" sz="1500" dirty="0" smtClean="0"/>
              <a:t> </a:t>
            </a:r>
            <a:r>
              <a:rPr lang="ru-RU" sz="1500" dirty="0" err="1" smtClean="0"/>
              <a:t>натижалари</a:t>
            </a:r>
            <a:endParaRPr lang="ru-RU" sz="1500" dirty="0"/>
          </a:p>
        </p:txBody>
      </p:sp>
      <p:sp>
        <p:nvSpPr>
          <p:cNvPr id="109" name="Freeform 83">
            <a:extLst>
              <a:ext uri="{FF2B5EF4-FFF2-40B4-BE49-F238E27FC236}">
                <a16:creationId xmlns:a16="http://schemas.microsoft.com/office/drawing/2014/main" id="{6F60578B-3CE5-44FD-BACE-0057E9ED854E}"/>
              </a:ext>
            </a:extLst>
          </p:cNvPr>
          <p:cNvSpPr>
            <a:spLocks noEditPoints="1"/>
          </p:cNvSpPr>
          <p:nvPr/>
        </p:nvSpPr>
        <p:spPr bwMode="auto">
          <a:xfrm>
            <a:off x="7833171" y="3511097"/>
            <a:ext cx="822325" cy="117475"/>
          </a:xfrm>
          <a:custGeom>
            <a:avLst/>
            <a:gdLst>
              <a:gd name="T0" fmla="*/ 43 w 518"/>
              <a:gd name="T1" fmla="*/ 66 h 74"/>
              <a:gd name="T2" fmla="*/ 49 w 518"/>
              <a:gd name="T3" fmla="*/ 65 h 74"/>
              <a:gd name="T4" fmla="*/ 54 w 518"/>
              <a:gd name="T5" fmla="*/ 62 h 74"/>
              <a:gd name="T6" fmla="*/ 59 w 518"/>
              <a:gd name="T7" fmla="*/ 58 h 74"/>
              <a:gd name="T8" fmla="*/ 63 w 518"/>
              <a:gd name="T9" fmla="*/ 54 h 74"/>
              <a:gd name="T10" fmla="*/ 66 w 518"/>
              <a:gd name="T11" fmla="*/ 48 h 74"/>
              <a:gd name="T12" fmla="*/ 68 w 518"/>
              <a:gd name="T13" fmla="*/ 43 h 74"/>
              <a:gd name="T14" fmla="*/ 68 w 518"/>
              <a:gd name="T15" fmla="*/ 37 h 74"/>
              <a:gd name="T16" fmla="*/ 68 w 518"/>
              <a:gd name="T17" fmla="*/ 30 h 74"/>
              <a:gd name="T18" fmla="*/ 66 w 518"/>
              <a:gd name="T19" fmla="*/ 25 h 74"/>
              <a:gd name="T20" fmla="*/ 62 w 518"/>
              <a:gd name="T21" fmla="*/ 20 h 74"/>
              <a:gd name="T22" fmla="*/ 59 w 518"/>
              <a:gd name="T23" fmla="*/ 16 h 74"/>
              <a:gd name="T24" fmla="*/ 54 w 518"/>
              <a:gd name="T25" fmla="*/ 12 h 74"/>
              <a:gd name="T26" fmla="*/ 49 w 518"/>
              <a:gd name="T27" fmla="*/ 9 h 74"/>
              <a:gd name="T28" fmla="*/ 43 w 518"/>
              <a:gd name="T29" fmla="*/ 8 h 74"/>
              <a:gd name="T30" fmla="*/ 36 w 518"/>
              <a:gd name="T31" fmla="*/ 8 h 74"/>
              <a:gd name="T32" fmla="*/ 31 w 518"/>
              <a:gd name="T33" fmla="*/ 9 h 74"/>
              <a:gd name="T34" fmla="*/ 25 w 518"/>
              <a:gd name="T35" fmla="*/ 11 h 74"/>
              <a:gd name="T36" fmla="*/ 21 w 518"/>
              <a:gd name="T37" fmla="*/ 13 h 74"/>
              <a:gd name="T38" fmla="*/ 16 w 518"/>
              <a:gd name="T39" fmla="*/ 18 h 74"/>
              <a:gd name="T40" fmla="*/ 13 w 518"/>
              <a:gd name="T41" fmla="*/ 22 h 74"/>
              <a:gd name="T42" fmla="*/ 10 w 518"/>
              <a:gd name="T43" fmla="*/ 28 h 74"/>
              <a:gd name="T44" fmla="*/ 9 w 518"/>
              <a:gd name="T45" fmla="*/ 34 h 74"/>
              <a:gd name="T46" fmla="*/ 9 w 518"/>
              <a:gd name="T47" fmla="*/ 40 h 74"/>
              <a:gd name="T48" fmla="*/ 10 w 518"/>
              <a:gd name="T49" fmla="*/ 46 h 74"/>
              <a:gd name="T50" fmla="*/ 13 w 518"/>
              <a:gd name="T51" fmla="*/ 52 h 74"/>
              <a:gd name="T52" fmla="*/ 16 w 518"/>
              <a:gd name="T53" fmla="*/ 56 h 74"/>
              <a:gd name="T54" fmla="*/ 21 w 518"/>
              <a:gd name="T55" fmla="*/ 61 h 74"/>
              <a:gd name="T56" fmla="*/ 25 w 518"/>
              <a:gd name="T57" fmla="*/ 64 h 74"/>
              <a:gd name="T58" fmla="*/ 31 w 518"/>
              <a:gd name="T59" fmla="*/ 66 h 74"/>
              <a:gd name="T60" fmla="*/ 37 w 518"/>
              <a:gd name="T61" fmla="*/ 66 h 74"/>
              <a:gd name="T62" fmla="*/ 76 w 518"/>
              <a:gd name="T63" fmla="*/ 43 h 74"/>
              <a:gd name="T64" fmla="*/ 73 w 518"/>
              <a:gd name="T65" fmla="*/ 50 h 74"/>
              <a:gd name="T66" fmla="*/ 70 w 518"/>
              <a:gd name="T67" fmla="*/ 57 h 74"/>
              <a:gd name="T68" fmla="*/ 66 w 518"/>
              <a:gd name="T69" fmla="*/ 63 h 74"/>
              <a:gd name="T70" fmla="*/ 60 w 518"/>
              <a:gd name="T71" fmla="*/ 67 h 74"/>
              <a:gd name="T72" fmla="*/ 54 w 518"/>
              <a:gd name="T73" fmla="*/ 72 h 74"/>
              <a:gd name="T74" fmla="*/ 46 w 518"/>
              <a:gd name="T75" fmla="*/ 74 h 74"/>
              <a:gd name="T76" fmla="*/ 39 w 518"/>
              <a:gd name="T77" fmla="*/ 74 h 74"/>
              <a:gd name="T78" fmla="*/ 31 w 518"/>
              <a:gd name="T79" fmla="*/ 74 h 74"/>
              <a:gd name="T80" fmla="*/ 24 w 518"/>
              <a:gd name="T81" fmla="*/ 72 h 74"/>
              <a:gd name="T82" fmla="*/ 17 w 518"/>
              <a:gd name="T83" fmla="*/ 68 h 74"/>
              <a:gd name="T84" fmla="*/ 12 w 518"/>
              <a:gd name="T85" fmla="*/ 63 h 74"/>
              <a:gd name="T86" fmla="*/ 7 w 518"/>
              <a:gd name="T87" fmla="*/ 57 h 74"/>
              <a:gd name="T88" fmla="*/ 4 w 518"/>
              <a:gd name="T89" fmla="*/ 50 h 74"/>
              <a:gd name="T90" fmla="*/ 1 w 518"/>
              <a:gd name="T91" fmla="*/ 44 h 74"/>
              <a:gd name="T92" fmla="*/ 0 w 518"/>
              <a:gd name="T93" fmla="*/ 36 h 74"/>
              <a:gd name="T94" fmla="*/ 1 w 518"/>
              <a:gd name="T95" fmla="*/ 28 h 74"/>
              <a:gd name="T96" fmla="*/ 5 w 518"/>
              <a:gd name="T97" fmla="*/ 21 h 74"/>
              <a:gd name="T98" fmla="*/ 8 w 518"/>
              <a:gd name="T99" fmla="*/ 14 h 74"/>
              <a:gd name="T100" fmla="*/ 14 w 518"/>
              <a:gd name="T101" fmla="*/ 9 h 74"/>
              <a:gd name="T102" fmla="*/ 19 w 518"/>
              <a:gd name="T103" fmla="*/ 4 h 74"/>
              <a:gd name="T104" fmla="*/ 26 w 518"/>
              <a:gd name="T105" fmla="*/ 1 h 74"/>
              <a:gd name="T106" fmla="*/ 34 w 518"/>
              <a:gd name="T107" fmla="*/ 0 h 74"/>
              <a:gd name="T108" fmla="*/ 42 w 518"/>
              <a:gd name="T109" fmla="*/ 0 h 74"/>
              <a:gd name="T110" fmla="*/ 50 w 518"/>
              <a:gd name="T111" fmla="*/ 1 h 74"/>
              <a:gd name="T112" fmla="*/ 57 w 518"/>
              <a:gd name="T113" fmla="*/ 4 h 74"/>
              <a:gd name="T114" fmla="*/ 62 w 518"/>
              <a:gd name="T115" fmla="*/ 8 h 74"/>
              <a:gd name="T116" fmla="*/ 68 w 518"/>
              <a:gd name="T117" fmla="*/ 13 h 74"/>
              <a:gd name="T118" fmla="*/ 72 w 518"/>
              <a:gd name="T119" fmla="*/ 20 h 74"/>
              <a:gd name="T120" fmla="*/ 75 w 518"/>
              <a:gd name="T121" fmla="*/ 27 h 74"/>
              <a:gd name="T122" fmla="*/ 76 w 518"/>
              <a:gd name="T123" fmla="*/ 35 h 74"/>
              <a:gd name="T124" fmla="*/ 236 w 518"/>
              <a:gd name="T125" fmla="*/ 3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8" h="74">
                <a:moveTo>
                  <a:pt x="502" y="41"/>
                </a:moveTo>
                <a:lnTo>
                  <a:pt x="502" y="34"/>
                </a:lnTo>
                <a:lnTo>
                  <a:pt x="518" y="34"/>
                </a:lnTo>
                <a:lnTo>
                  <a:pt x="518" y="41"/>
                </a:lnTo>
                <a:lnTo>
                  <a:pt x="502" y="41"/>
                </a:lnTo>
                <a:lnTo>
                  <a:pt x="502" y="41"/>
                </a:lnTo>
                <a:close/>
                <a:moveTo>
                  <a:pt x="39" y="66"/>
                </a:moveTo>
                <a:lnTo>
                  <a:pt x="39" y="66"/>
                </a:lnTo>
                <a:lnTo>
                  <a:pt x="39" y="66"/>
                </a:lnTo>
                <a:lnTo>
                  <a:pt x="39" y="66"/>
                </a:lnTo>
                <a:lnTo>
                  <a:pt x="40" y="66"/>
                </a:lnTo>
                <a:lnTo>
                  <a:pt x="40" y="66"/>
                </a:lnTo>
                <a:lnTo>
                  <a:pt x="40" y="66"/>
                </a:lnTo>
                <a:lnTo>
                  <a:pt x="40" y="66"/>
                </a:lnTo>
                <a:lnTo>
                  <a:pt x="40" y="66"/>
                </a:lnTo>
                <a:lnTo>
                  <a:pt x="40" y="66"/>
                </a:lnTo>
                <a:lnTo>
                  <a:pt x="41" y="66"/>
                </a:lnTo>
                <a:lnTo>
                  <a:pt x="41" y="66"/>
                </a:lnTo>
                <a:lnTo>
                  <a:pt x="41" y="66"/>
                </a:lnTo>
                <a:lnTo>
                  <a:pt x="41" y="66"/>
                </a:lnTo>
                <a:lnTo>
                  <a:pt x="41" y="66"/>
                </a:lnTo>
                <a:lnTo>
                  <a:pt x="41" y="66"/>
                </a:lnTo>
                <a:lnTo>
                  <a:pt x="42" y="66"/>
                </a:lnTo>
                <a:lnTo>
                  <a:pt x="42" y="66"/>
                </a:lnTo>
                <a:lnTo>
                  <a:pt x="42" y="66"/>
                </a:lnTo>
                <a:lnTo>
                  <a:pt x="42" y="66"/>
                </a:lnTo>
                <a:lnTo>
                  <a:pt x="42" y="66"/>
                </a:lnTo>
                <a:lnTo>
                  <a:pt x="42" y="66"/>
                </a:lnTo>
                <a:lnTo>
                  <a:pt x="43" y="66"/>
                </a:lnTo>
                <a:lnTo>
                  <a:pt x="43" y="66"/>
                </a:lnTo>
                <a:lnTo>
                  <a:pt x="43" y="66"/>
                </a:lnTo>
                <a:lnTo>
                  <a:pt x="43" y="66"/>
                </a:lnTo>
                <a:lnTo>
                  <a:pt x="43" y="66"/>
                </a:lnTo>
                <a:lnTo>
                  <a:pt x="43" y="66"/>
                </a:lnTo>
                <a:lnTo>
                  <a:pt x="44" y="66"/>
                </a:lnTo>
                <a:lnTo>
                  <a:pt x="44" y="66"/>
                </a:lnTo>
                <a:lnTo>
                  <a:pt x="44" y="66"/>
                </a:lnTo>
                <a:lnTo>
                  <a:pt x="44" y="66"/>
                </a:lnTo>
                <a:lnTo>
                  <a:pt x="44" y="66"/>
                </a:lnTo>
                <a:lnTo>
                  <a:pt x="44" y="66"/>
                </a:lnTo>
                <a:lnTo>
                  <a:pt x="45" y="66"/>
                </a:lnTo>
                <a:lnTo>
                  <a:pt x="45" y="66"/>
                </a:lnTo>
                <a:lnTo>
                  <a:pt x="45" y="66"/>
                </a:lnTo>
                <a:lnTo>
                  <a:pt x="45" y="66"/>
                </a:lnTo>
                <a:lnTo>
                  <a:pt x="45" y="66"/>
                </a:lnTo>
                <a:lnTo>
                  <a:pt x="45" y="66"/>
                </a:lnTo>
                <a:lnTo>
                  <a:pt x="45" y="66"/>
                </a:lnTo>
                <a:lnTo>
                  <a:pt x="46" y="66"/>
                </a:lnTo>
                <a:lnTo>
                  <a:pt x="46" y="66"/>
                </a:lnTo>
                <a:lnTo>
                  <a:pt x="46" y="65"/>
                </a:lnTo>
                <a:lnTo>
                  <a:pt x="46" y="65"/>
                </a:lnTo>
                <a:lnTo>
                  <a:pt x="46" y="65"/>
                </a:lnTo>
                <a:lnTo>
                  <a:pt x="46" y="65"/>
                </a:lnTo>
                <a:lnTo>
                  <a:pt x="48" y="65"/>
                </a:lnTo>
                <a:lnTo>
                  <a:pt x="48" y="65"/>
                </a:lnTo>
                <a:lnTo>
                  <a:pt x="48" y="65"/>
                </a:lnTo>
                <a:lnTo>
                  <a:pt x="48" y="65"/>
                </a:lnTo>
                <a:lnTo>
                  <a:pt x="48" y="65"/>
                </a:lnTo>
                <a:lnTo>
                  <a:pt x="48" y="65"/>
                </a:lnTo>
                <a:lnTo>
                  <a:pt x="48" y="65"/>
                </a:lnTo>
                <a:lnTo>
                  <a:pt x="49" y="65"/>
                </a:lnTo>
                <a:lnTo>
                  <a:pt x="49" y="65"/>
                </a:lnTo>
                <a:lnTo>
                  <a:pt x="49" y="65"/>
                </a:lnTo>
                <a:lnTo>
                  <a:pt x="49" y="65"/>
                </a:lnTo>
                <a:lnTo>
                  <a:pt x="49" y="65"/>
                </a:lnTo>
                <a:lnTo>
                  <a:pt x="49" y="65"/>
                </a:lnTo>
                <a:lnTo>
                  <a:pt x="50" y="65"/>
                </a:lnTo>
                <a:lnTo>
                  <a:pt x="50" y="65"/>
                </a:lnTo>
                <a:lnTo>
                  <a:pt x="50" y="64"/>
                </a:lnTo>
                <a:lnTo>
                  <a:pt x="50" y="64"/>
                </a:lnTo>
                <a:lnTo>
                  <a:pt x="50" y="64"/>
                </a:lnTo>
                <a:lnTo>
                  <a:pt x="50" y="64"/>
                </a:lnTo>
                <a:lnTo>
                  <a:pt x="50" y="64"/>
                </a:lnTo>
                <a:lnTo>
                  <a:pt x="51" y="64"/>
                </a:lnTo>
                <a:lnTo>
                  <a:pt x="51" y="64"/>
                </a:lnTo>
                <a:lnTo>
                  <a:pt x="51" y="64"/>
                </a:lnTo>
                <a:lnTo>
                  <a:pt x="51" y="64"/>
                </a:lnTo>
                <a:lnTo>
                  <a:pt x="51" y="64"/>
                </a:lnTo>
                <a:lnTo>
                  <a:pt x="51" y="64"/>
                </a:lnTo>
                <a:lnTo>
                  <a:pt x="51" y="64"/>
                </a:lnTo>
                <a:lnTo>
                  <a:pt x="52" y="64"/>
                </a:lnTo>
                <a:lnTo>
                  <a:pt x="52" y="64"/>
                </a:lnTo>
                <a:lnTo>
                  <a:pt x="52" y="64"/>
                </a:lnTo>
                <a:lnTo>
                  <a:pt x="52" y="63"/>
                </a:lnTo>
                <a:lnTo>
                  <a:pt x="52" y="63"/>
                </a:lnTo>
                <a:lnTo>
                  <a:pt x="52" y="63"/>
                </a:lnTo>
                <a:lnTo>
                  <a:pt x="52" y="63"/>
                </a:lnTo>
                <a:lnTo>
                  <a:pt x="53" y="63"/>
                </a:lnTo>
                <a:lnTo>
                  <a:pt x="53" y="63"/>
                </a:lnTo>
                <a:lnTo>
                  <a:pt x="53" y="63"/>
                </a:lnTo>
                <a:lnTo>
                  <a:pt x="53" y="63"/>
                </a:lnTo>
                <a:lnTo>
                  <a:pt x="53" y="63"/>
                </a:lnTo>
                <a:lnTo>
                  <a:pt x="53" y="63"/>
                </a:lnTo>
                <a:lnTo>
                  <a:pt x="53" y="63"/>
                </a:lnTo>
                <a:lnTo>
                  <a:pt x="54" y="63"/>
                </a:lnTo>
                <a:lnTo>
                  <a:pt x="54" y="63"/>
                </a:lnTo>
                <a:lnTo>
                  <a:pt x="54" y="62"/>
                </a:lnTo>
                <a:lnTo>
                  <a:pt x="54" y="62"/>
                </a:lnTo>
                <a:lnTo>
                  <a:pt x="54" y="62"/>
                </a:lnTo>
                <a:lnTo>
                  <a:pt x="54" y="62"/>
                </a:lnTo>
                <a:lnTo>
                  <a:pt x="54" y="62"/>
                </a:lnTo>
                <a:lnTo>
                  <a:pt x="54" y="62"/>
                </a:lnTo>
                <a:lnTo>
                  <a:pt x="55" y="62"/>
                </a:lnTo>
                <a:lnTo>
                  <a:pt x="55" y="62"/>
                </a:lnTo>
                <a:lnTo>
                  <a:pt x="55" y="62"/>
                </a:lnTo>
                <a:lnTo>
                  <a:pt x="55" y="62"/>
                </a:lnTo>
                <a:lnTo>
                  <a:pt x="55" y="62"/>
                </a:lnTo>
                <a:lnTo>
                  <a:pt x="55" y="61"/>
                </a:lnTo>
                <a:lnTo>
                  <a:pt x="55" y="61"/>
                </a:lnTo>
                <a:lnTo>
                  <a:pt x="55" y="61"/>
                </a:lnTo>
                <a:lnTo>
                  <a:pt x="57" y="61"/>
                </a:lnTo>
                <a:lnTo>
                  <a:pt x="57" y="61"/>
                </a:lnTo>
                <a:lnTo>
                  <a:pt x="57" y="61"/>
                </a:lnTo>
                <a:lnTo>
                  <a:pt x="57" y="61"/>
                </a:lnTo>
                <a:lnTo>
                  <a:pt x="57" y="61"/>
                </a:lnTo>
                <a:lnTo>
                  <a:pt x="57" y="61"/>
                </a:lnTo>
                <a:lnTo>
                  <a:pt x="57" y="61"/>
                </a:lnTo>
                <a:lnTo>
                  <a:pt x="57" y="59"/>
                </a:lnTo>
                <a:lnTo>
                  <a:pt x="58" y="59"/>
                </a:lnTo>
                <a:lnTo>
                  <a:pt x="58" y="59"/>
                </a:lnTo>
                <a:lnTo>
                  <a:pt x="58" y="59"/>
                </a:lnTo>
                <a:lnTo>
                  <a:pt x="58" y="59"/>
                </a:lnTo>
                <a:lnTo>
                  <a:pt x="58" y="59"/>
                </a:lnTo>
                <a:lnTo>
                  <a:pt x="58" y="59"/>
                </a:lnTo>
                <a:lnTo>
                  <a:pt x="58" y="59"/>
                </a:lnTo>
                <a:lnTo>
                  <a:pt x="58" y="59"/>
                </a:lnTo>
                <a:lnTo>
                  <a:pt x="59" y="59"/>
                </a:lnTo>
                <a:lnTo>
                  <a:pt x="59" y="58"/>
                </a:lnTo>
                <a:lnTo>
                  <a:pt x="59" y="58"/>
                </a:lnTo>
                <a:lnTo>
                  <a:pt x="59" y="58"/>
                </a:lnTo>
                <a:lnTo>
                  <a:pt x="59" y="58"/>
                </a:lnTo>
                <a:lnTo>
                  <a:pt x="59" y="58"/>
                </a:lnTo>
                <a:lnTo>
                  <a:pt x="59" y="58"/>
                </a:lnTo>
                <a:lnTo>
                  <a:pt x="59" y="58"/>
                </a:lnTo>
                <a:lnTo>
                  <a:pt x="60" y="58"/>
                </a:lnTo>
                <a:lnTo>
                  <a:pt x="60" y="58"/>
                </a:lnTo>
                <a:lnTo>
                  <a:pt x="60" y="57"/>
                </a:lnTo>
                <a:lnTo>
                  <a:pt x="60" y="57"/>
                </a:lnTo>
                <a:lnTo>
                  <a:pt x="60" y="57"/>
                </a:lnTo>
                <a:lnTo>
                  <a:pt x="60" y="57"/>
                </a:lnTo>
                <a:lnTo>
                  <a:pt x="60" y="57"/>
                </a:lnTo>
                <a:lnTo>
                  <a:pt x="60" y="57"/>
                </a:lnTo>
                <a:lnTo>
                  <a:pt x="60" y="57"/>
                </a:lnTo>
                <a:lnTo>
                  <a:pt x="60" y="57"/>
                </a:lnTo>
                <a:lnTo>
                  <a:pt x="61" y="57"/>
                </a:lnTo>
                <a:lnTo>
                  <a:pt x="61" y="56"/>
                </a:lnTo>
                <a:lnTo>
                  <a:pt x="61" y="56"/>
                </a:lnTo>
                <a:lnTo>
                  <a:pt x="61" y="56"/>
                </a:lnTo>
                <a:lnTo>
                  <a:pt x="61" y="56"/>
                </a:lnTo>
                <a:lnTo>
                  <a:pt x="61" y="56"/>
                </a:lnTo>
                <a:lnTo>
                  <a:pt x="61" y="56"/>
                </a:lnTo>
                <a:lnTo>
                  <a:pt x="61" y="56"/>
                </a:lnTo>
                <a:lnTo>
                  <a:pt x="61" y="56"/>
                </a:lnTo>
                <a:lnTo>
                  <a:pt x="62" y="55"/>
                </a:lnTo>
                <a:lnTo>
                  <a:pt x="62" y="55"/>
                </a:lnTo>
                <a:lnTo>
                  <a:pt x="62" y="55"/>
                </a:lnTo>
                <a:lnTo>
                  <a:pt x="62" y="55"/>
                </a:lnTo>
                <a:lnTo>
                  <a:pt x="62" y="55"/>
                </a:lnTo>
                <a:lnTo>
                  <a:pt x="62" y="55"/>
                </a:lnTo>
                <a:lnTo>
                  <a:pt x="62" y="55"/>
                </a:lnTo>
                <a:lnTo>
                  <a:pt x="62" y="55"/>
                </a:lnTo>
                <a:lnTo>
                  <a:pt x="62" y="54"/>
                </a:lnTo>
                <a:lnTo>
                  <a:pt x="62" y="54"/>
                </a:lnTo>
                <a:lnTo>
                  <a:pt x="62" y="54"/>
                </a:lnTo>
                <a:lnTo>
                  <a:pt x="63" y="54"/>
                </a:lnTo>
                <a:lnTo>
                  <a:pt x="63" y="54"/>
                </a:lnTo>
                <a:lnTo>
                  <a:pt x="63" y="54"/>
                </a:lnTo>
                <a:lnTo>
                  <a:pt x="63" y="54"/>
                </a:lnTo>
                <a:lnTo>
                  <a:pt x="63" y="54"/>
                </a:lnTo>
                <a:lnTo>
                  <a:pt x="63" y="53"/>
                </a:lnTo>
                <a:lnTo>
                  <a:pt x="63" y="53"/>
                </a:lnTo>
                <a:lnTo>
                  <a:pt x="63" y="53"/>
                </a:lnTo>
                <a:lnTo>
                  <a:pt x="63" y="53"/>
                </a:lnTo>
                <a:lnTo>
                  <a:pt x="63" y="53"/>
                </a:lnTo>
                <a:lnTo>
                  <a:pt x="63" y="53"/>
                </a:lnTo>
                <a:lnTo>
                  <a:pt x="63" y="53"/>
                </a:lnTo>
                <a:lnTo>
                  <a:pt x="64" y="52"/>
                </a:lnTo>
                <a:lnTo>
                  <a:pt x="64" y="52"/>
                </a:lnTo>
                <a:lnTo>
                  <a:pt x="64" y="52"/>
                </a:lnTo>
                <a:lnTo>
                  <a:pt x="64" y="52"/>
                </a:lnTo>
                <a:lnTo>
                  <a:pt x="64" y="52"/>
                </a:lnTo>
                <a:lnTo>
                  <a:pt x="64" y="52"/>
                </a:lnTo>
                <a:lnTo>
                  <a:pt x="64" y="52"/>
                </a:lnTo>
                <a:lnTo>
                  <a:pt x="64" y="50"/>
                </a:lnTo>
                <a:lnTo>
                  <a:pt x="64" y="50"/>
                </a:lnTo>
                <a:lnTo>
                  <a:pt x="64" y="50"/>
                </a:lnTo>
                <a:lnTo>
                  <a:pt x="64" y="50"/>
                </a:lnTo>
                <a:lnTo>
                  <a:pt x="64" y="50"/>
                </a:lnTo>
                <a:lnTo>
                  <a:pt x="64" y="50"/>
                </a:lnTo>
                <a:lnTo>
                  <a:pt x="66" y="50"/>
                </a:lnTo>
                <a:lnTo>
                  <a:pt x="66" y="49"/>
                </a:lnTo>
                <a:lnTo>
                  <a:pt x="66" y="49"/>
                </a:lnTo>
                <a:lnTo>
                  <a:pt x="66" y="49"/>
                </a:lnTo>
                <a:lnTo>
                  <a:pt x="66" y="49"/>
                </a:lnTo>
                <a:lnTo>
                  <a:pt x="66" y="49"/>
                </a:lnTo>
                <a:lnTo>
                  <a:pt x="66" y="49"/>
                </a:lnTo>
                <a:lnTo>
                  <a:pt x="66" y="49"/>
                </a:lnTo>
                <a:lnTo>
                  <a:pt x="66" y="48"/>
                </a:lnTo>
                <a:lnTo>
                  <a:pt x="66" y="48"/>
                </a:lnTo>
                <a:lnTo>
                  <a:pt x="66" y="48"/>
                </a:lnTo>
                <a:lnTo>
                  <a:pt x="66" y="48"/>
                </a:lnTo>
                <a:lnTo>
                  <a:pt x="66" y="48"/>
                </a:lnTo>
                <a:lnTo>
                  <a:pt x="66" y="48"/>
                </a:lnTo>
                <a:lnTo>
                  <a:pt x="66" y="48"/>
                </a:lnTo>
                <a:lnTo>
                  <a:pt x="67" y="47"/>
                </a:lnTo>
                <a:lnTo>
                  <a:pt x="67" y="47"/>
                </a:lnTo>
                <a:lnTo>
                  <a:pt x="67" y="47"/>
                </a:lnTo>
                <a:lnTo>
                  <a:pt x="67" y="47"/>
                </a:lnTo>
                <a:lnTo>
                  <a:pt x="67" y="47"/>
                </a:lnTo>
                <a:lnTo>
                  <a:pt x="67" y="47"/>
                </a:lnTo>
                <a:lnTo>
                  <a:pt x="67" y="47"/>
                </a:lnTo>
                <a:lnTo>
                  <a:pt x="67" y="46"/>
                </a:lnTo>
                <a:lnTo>
                  <a:pt x="67" y="46"/>
                </a:lnTo>
                <a:lnTo>
                  <a:pt x="67" y="46"/>
                </a:lnTo>
                <a:lnTo>
                  <a:pt x="67" y="46"/>
                </a:lnTo>
                <a:lnTo>
                  <a:pt x="67" y="46"/>
                </a:lnTo>
                <a:lnTo>
                  <a:pt x="67" y="46"/>
                </a:lnTo>
                <a:lnTo>
                  <a:pt x="67" y="45"/>
                </a:lnTo>
                <a:lnTo>
                  <a:pt x="67" y="45"/>
                </a:lnTo>
                <a:lnTo>
                  <a:pt x="67" y="45"/>
                </a:lnTo>
                <a:lnTo>
                  <a:pt x="67" y="45"/>
                </a:lnTo>
                <a:lnTo>
                  <a:pt x="67" y="45"/>
                </a:lnTo>
                <a:lnTo>
                  <a:pt x="67" y="45"/>
                </a:lnTo>
                <a:lnTo>
                  <a:pt x="67" y="44"/>
                </a:lnTo>
                <a:lnTo>
                  <a:pt x="67" y="44"/>
                </a:lnTo>
                <a:lnTo>
                  <a:pt x="68" y="44"/>
                </a:lnTo>
                <a:lnTo>
                  <a:pt x="68" y="44"/>
                </a:lnTo>
                <a:lnTo>
                  <a:pt x="68" y="44"/>
                </a:lnTo>
                <a:lnTo>
                  <a:pt x="68" y="44"/>
                </a:lnTo>
                <a:lnTo>
                  <a:pt x="68" y="44"/>
                </a:lnTo>
                <a:lnTo>
                  <a:pt x="68" y="43"/>
                </a:lnTo>
                <a:lnTo>
                  <a:pt x="68" y="43"/>
                </a:lnTo>
                <a:lnTo>
                  <a:pt x="68" y="43"/>
                </a:lnTo>
                <a:lnTo>
                  <a:pt x="68" y="43"/>
                </a:lnTo>
                <a:lnTo>
                  <a:pt x="68" y="43"/>
                </a:lnTo>
                <a:lnTo>
                  <a:pt x="68" y="43"/>
                </a:lnTo>
                <a:lnTo>
                  <a:pt x="68" y="41"/>
                </a:lnTo>
                <a:lnTo>
                  <a:pt x="68" y="41"/>
                </a:lnTo>
                <a:lnTo>
                  <a:pt x="68" y="41"/>
                </a:lnTo>
                <a:lnTo>
                  <a:pt x="68" y="41"/>
                </a:lnTo>
                <a:lnTo>
                  <a:pt x="68" y="41"/>
                </a:lnTo>
                <a:lnTo>
                  <a:pt x="68" y="41"/>
                </a:lnTo>
                <a:lnTo>
                  <a:pt x="68" y="40"/>
                </a:lnTo>
                <a:lnTo>
                  <a:pt x="68" y="40"/>
                </a:lnTo>
                <a:lnTo>
                  <a:pt x="68" y="40"/>
                </a:lnTo>
                <a:lnTo>
                  <a:pt x="68" y="40"/>
                </a:lnTo>
                <a:lnTo>
                  <a:pt x="68" y="40"/>
                </a:lnTo>
                <a:lnTo>
                  <a:pt x="68" y="40"/>
                </a:lnTo>
                <a:lnTo>
                  <a:pt x="68" y="39"/>
                </a:lnTo>
                <a:lnTo>
                  <a:pt x="68" y="39"/>
                </a:lnTo>
                <a:lnTo>
                  <a:pt x="68" y="39"/>
                </a:lnTo>
                <a:lnTo>
                  <a:pt x="68" y="39"/>
                </a:lnTo>
                <a:lnTo>
                  <a:pt x="68" y="39"/>
                </a:lnTo>
                <a:lnTo>
                  <a:pt x="68" y="39"/>
                </a:lnTo>
                <a:lnTo>
                  <a:pt x="68" y="38"/>
                </a:lnTo>
                <a:lnTo>
                  <a:pt x="68" y="38"/>
                </a:lnTo>
                <a:lnTo>
                  <a:pt x="68" y="38"/>
                </a:lnTo>
                <a:lnTo>
                  <a:pt x="68" y="38"/>
                </a:lnTo>
                <a:lnTo>
                  <a:pt x="68" y="38"/>
                </a:lnTo>
                <a:lnTo>
                  <a:pt x="68" y="38"/>
                </a:lnTo>
                <a:lnTo>
                  <a:pt x="68" y="37"/>
                </a:lnTo>
                <a:lnTo>
                  <a:pt x="68" y="37"/>
                </a:lnTo>
                <a:lnTo>
                  <a:pt x="68" y="37"/>
                </a:lnTo>
                <a:lnTo>
                  <a:pt x="68" y="37"/>
                </a:lnTo>
                <a:lnTo>
                  <a:pt x="68" y="37"/>
                </a:lnTo>
                <a:lnTo>
                  <a:pt x="68" y="37"/>
                </a:lnTo>
                <a:lnTo>
                  <a:pt x="68" y="36"/>
                </a:lnTo>
                <a:lnTo>
                  <a:pt x="68" y="36"/>
                </a:lnTo>
                <a:lnTo>
                  <a:pt x="68" y="36"/>
                </a:lnTo>
                <a:lnTo>
                  <a:pt x="68" y="36"/>
                </a:lnTo>
                <a:lnTo>
                  <a:pt x="68" y="36"/>
                </a:lnTo>
                <a:lnTo>
                  <a:pt x="68" y="36"/>
                </a:lnTo>
                <a:lnTo>
                  <a:pt x="68" y="35"/>
                </a:lnTo>
                <a:lnTo>
                  <a:pt x="68" y="35"/>
                </a:lnTo>
                <a:lnTo>
                  <a:pt x="68" y="35"/>
                </a:lnTo>
                <a:lnTo>
                  <a:pt x="68" y="35"/>
                </a:lnTo>
                <a:lnTo>
                  <a:pt x="68" y="35"/>
                </a:lnTo>
                <a:lnTo>
                  <a:pt x="68" y="35"/>
                </a:lnTo>
                <a:lnTo>
                  <a:pt x="68" y="34"/>
                </a:lnTo>
                <a:lnTo>
                  <a:pt x="68" y="34"/>
                </a:lnTo>
                <a:lnTo>
                  <a:pt x="68" y="34"/>
                </a:lnTo>
                <a:lnTo>
                  <a:pt x="68" y="34"/>
                </a:lnTo>
                <a:lnTo>
                  <a:pt x="68" y="34"/>
                </a:lnTo>
                <a:lnTo>
                  <a:pt x="68" y="34"/>
                </a:lnTo>
                <a:lnTo>
                  <a:pt x="68" y="32"/>
                </a:lnTo>
                <a:lnTo>
                  <a:pt x="68" y="32"/>
                </a:lnTo>
                <a:lnTo>
                  <a:pt x="68" y="32"/>
                </a:lnTo>
                <a:lnTo>
                  <a:pt x="68" y="32"/>
                </a:lnTo>
                <a:lnTo>
                  <a:pt x="68" y="32"/>
                </a:lnTo>
                <a:lnTo>
                  <a:pt x="68" y="32"/>
                </a:lnTo>
                <a:lnTo>
                  <a:pt x="68" y="31"/>
                </a:lnTo>
                <a:lnTo>
                  <a:pt x="68" y="31"/>
                </a:lnTo>
                <a:lnTo>
                  <a:pt x="68" y="31"/>
                </a:lnTo>
                <a:lnTo>
                  <a:pt x="68" y="31"/>
                </a:lnTo>
                <a:lnTo>
                  <a:pt x="68" y="31"/>
                </a:lnTo>
                <a:lnTo>
                  <a:pt x="68" y="31"/>
                </a:lnTo>
                <a:lnTo>
                  <a:pt x="68" y="30"/>
                </a:lnTo>
                <a:lnTo>
                  <a:pt x="68" y="30"/>
                </a:lnTo>
                <a:lnTo>
                  <a:pt x="68" y="30"/>
                </a:lnTo>
                <a:lnTo>
                  <a:pt x="68" y="30"/>
                </a:lnTo>
                <a:lnTo>
                  <a:pt x="67" y="30"/>
                </a:lnTo>
                <a:lnTo>
                  <a:pt x="67" y="30"/>
                </a:lnTo>
                <a:lnTo>
                  <a:pt x="67" y="29"/>
                </a:lnTo>
                <a:lnTo>
                  <a:pt x="67" y="29"/>
                </a:lnTo>
                <a:lnTo>
                  <a:pt x="67" y="29"/>
                </a:lnTo>
                <a:lnTo>
                  <a:pt x="67" y="29"/>
                </a:lnTo>
                <a:lnTo>
                  <a:pt x="67" y="29"/>
                </a:lnTo>
                <a:lnTo>
                  <a:pt x="67" y="29"/>
                </a:lnTo>
                <a:lnTo>
                  <a:pt x="67" y="29"/>
                </a:lnTo>
                <a:lnTo>
                  <a:pt x="67" y="28"/>
                </a:lnTo>
                <a:lnTo>
                  <a:pt x="67" y="28"/>
                </a:lnTo>
                <a:lnTo>
                  <a:pt x="67" y="28"/>
                </a:lnTo>
                <a:lnTo>
                  <a:pt x="67" y="28"/>
                </a:lnTo>
                <a:lnTo>
                  <a:pt x="67" y="28"/>
                </a:lnTo>
                <a:lnTo>
                  <a:pt x="67" y="28"/>
                </a:lnTo>
                <a:lnTo>
                  <a:pt x="67" y="27"/>
                </a:lnTo>
                <a:lnTo>
                  <a:pt x="67" y="27"/>
                </a:lnTo>
                <a:lnTo>
                  <a:pt x="67" y="27"/>
                </a:lnTo>
                <a:lnTo>
                  <a:pt x="67" y="27"/>
                </a:lnTo>
                <a:lnTo>
                  <a:pt x="67" y="27"/>
                </a:lnTo>
                <a:lnTo>
                  <a:pt x="67" y="27"/>
                </a:lnTo>
                <a:lnTo>
                  <a:pt x="66" y="27"/>
                </a:lnTo>
                <a:lnTo>
                  <a:pt x="66" y="26"/>
                </a:lnTo>
                <a:lnTo>
                  <a:pt x="66" y="26"/>
                </a:lnTo>
                <a:lnTo>
                  <a:pt x="66" y="26"/>
                </a:lnTo>
                <a:lnTo>
                  <a:pt x="66" y="26"/>
                </a:lnTo>
                <a:lnTo>
                  <a:pt x="66" y="26"/>
                </a:lnTo>
                <a:lnTo>
                  <a:pt x="66" y="26"/>
                </a:lnTo>
                <a:lnTo>
                  <a:pt x="66" y="26"/>
                </a:lnTo>
                <a:lnTo>
                  <a:pt x="66" y="25"/>
                </a:lnTo>
                <a:lnTo>
                  <a:pt x="66" y="25"/>
                </a:lnTo>
                <a:lnTo>
                  <a:pt x="66" y="25"/>
                </a:lnTo>
                <a:lnTo>
                  <a:pt x="66" y="25"/>
                </a:lnTo>
                <a:lnTo>
                  <a:pt x="66" y="25"/>
                </a:lnTo>
                <a:lnTo>
                  <a:pt x="66" y="25"/>
                </a:lnTo>
                <a:lnTo>
                  <a:pt x="66" y="25"/>
                </a:lnTo>
                <a:lnTo>
                  <a:pt x="64" y="23"/>
                </a:lnTo>
                <a:lnTo>
                  <a:pt x="64" y="23"/>
                </a:lnTo>
                <a:lnTo>
                  <a:pt x="64" y="23"/>
                </a:lnTo>
                <a:lnTo>
                  <a:pt x="64" y="23"/>
                </a:lnTo>
                <a:lnTo>
                  <a:pt x="64" y="23"/>
                </a:lnTo>
                <a:lnTo>
                  <a:pt x="64" y="23"/>
                </a:lnTo>
                <a:lnTo>
                  <a:pt x="64" y="23"/>
                </a:lnTo>
                <a:lnTo>
                  <a:pt x="64" y="22"/>
                </a:lnTo>
                <a:lnTo>
                  <a:pt x="64" y="22"/>
                </a:lnTo>
                <a:lnTo>
                  <a:pt x="64" y="22"/>
                </a:lnTo>
                <a:lnTo>
                  <a:pt x="64" y="22"/>
                </a:lnTo>
                <a:lnTo>
                  <a:pt x="64" y="22"/>
                </a:lnTo>
                <a:lnTo>
                  <a:pt x="64" y="22"/>
                </a:lnTo>
                <a:lnTo>
                  <a:pt x="63" y="22"/>
                </a:lnTo>
                <a:lnTo>
                  <a:pt x="63" y="21"/>
                </a:lnTo>
                <a:lnTo>
                  <a:pt x="63" y="21"/>
                </a:lnTo>
                <a:lnTo>
                  <a:pt x="63" y="21"/>
                </a:lnTo>
                <a:lnTo>
                  <a:pt x="63" y="21"/>
                </a:lnTo>
                <a:lnTo>
                  <a:pt x="63" y="21"/>
                </a:lnTo>
                <a:lnTo>
                  <a:pt x="63" y="21"/>
                </a:lnTo>
                <a:lnTo>
                  <a:pt x="63" y="21"/>
                </a:lnTo>
                <a:lnTo>
                  <a:pt x="63" y="20"/>
                </a:lnTo>
                <a:lnTo>
                  <a:pt x="63" y="20"/>
                </a:lnTo>
                <a:lnTo>
                  <a:pt x="63" y="20"/>
                </a:lnTo>
                <a:lnTo>
                  <a:pt x="63" y="20"/>
                </a:lnTo>
                <a:lnTo>
                  <a:pt x="62" y="20"/>
                </a:lnTo>
                <a:lnTo>
                  <a:pt x="62" y="20"/>
                </a:lnTo>
                <a:lnTo>
                  <a:pt x="62" y="20"/>
                </a:lnTo>
                <a:lnTo>
                  <a:pt x="62" y="20"/>
                </a:lnTo>
                <a:lnTo>
                  <a:pt x="62" y="19"/>
                </a:lnTo>
                <a:lnTo>
                  <a:pt x="62" y="19"/>
                </a:lnTo>
                <a:lnTo>
                  <a:pt x="62" y="19"/>
                </a:lnTo>
                <a:lnTo>
                  <a:pt x="62" y="19"/>
                </a:lnTo>
                <a:lnTo>
                  <a:pt x="62" y="19"/>
                </a:lnTo>
                <a:lnTo>
                  <a:pt x="62" y="19"/>
                </a:lnTo>
                <a:lnTo>
                  <a:pt x="62" y="19"/>
                </a:lnTo>
                <a:lnTo>
                  <a:pt x="61" y="19"/>
                </a:lnTo>
                <a:lnTo>
                  <a:pt x="61" y="18"/>
                </a:lnTo>
                <a:lnTo>
                  <a:pt x="61" y="18"/>
                </a:lnTo>
                <a:lnTo>
                  <a:pt x="61" y="18"/>
                </a:lnTo>
                <a:lnTo>
                  <a:pt x="61" y="18"/>
                </a:lnTo>
                <a:lnTo>
                  <a:pt x="61" y="18"/>
                </a:lnTo>
                <a:lnTo>
                  <a:pt x="61" y="18"/>
                </a:lnTo>
                <a:lnTo>
                  <a:pt x="61" y="18"/>
                </a:lnTo>
                <a:lnTo>
                  <a:pt x="61" y="18"/>
                </a:lnTo>
                <a:lnTo>
                  <a:pt x="60" y="17"/>
                </a:lnTo>
                <a:lnTo>
                  <a:pt x="60" y="17"/>
                </a:lnTo>
                <a:lnTo>
                  <a:pt x="60" y="17"/>
                </a:lnTo>
                <a:lnTo>
                  <a:pt x="60" y="17"/>
                </a:lnTo>
                <a:lnTo>
                  <a:pt x="60" y="17"/>
                </a:lnTo>
                <a:lnTo>
                  <a:pt x="60" y="17"/>
                </a:lnTo>
                <a:lnTo>
                  <a:pt x="60" y="17"/>
                </a:lnTo>
                <a:lnTo>
                  <a:pt x="60" y="17"/>
                </a:lnTo>
                <a:lnTo>
                  <a:pt x="60" y="17"/>
                </a:lnTo>
                <a:lnTo>
                  <a:pt x="60" y="16"/>
                </a:lnTo>
                <a:lnTo>
                  <a:pt x="59" y="16"/>
                </a:lnTo>
                <a:lnTo>
                  <a:pt x="59" y="16"/>
                </a:lnTo>
                <a:lnTo>
                  <a:pt x="59" y="16"/>
                </a:lnTo>
                <a:lnTo>
                  <a:pt x="59" y="16"/>
                </a:lnTo>
                <a:lnTo>
                  <a:pt x="59" y="16"/>
                </a:lnTo>
                <a:lnTo>
                  <a:pt x="59" y="16"/>
                </a:lnTo>
                <a:lnTo>
                  <a:pt x="59" y="16"/>
                </a:lnTo>
                <a:lnTo>
                  <a:pt x="59" y="16"/>
                </a:lnTo>
                <a:lnTo>
                  <a:pt x="58" y="14"/>
                </a:lnTo>
                <a:lnTo>
                  <a:pt x="58" y="14"/>
                </a:lnTo>
                <a:lnTo>
                  <a:pt x="58" y="14"/>
                </a:lnTo>
                <a:lnTo>
                  <a:pt x="58" y="14"/>
                </a:lnTo>
                <a:lnTo>
                  <a:pt x="58" y="14"/>
                </a:lnTo>
                <a:lnTo>
                  <a:pt x="58" y="14"/>
                </a:lnTo>
                <a:lnTo>
                  <a:pt x="58" y="14"/>
                </a:lnTo>
                <a:lnTo>
                  <a:pt x="58" y="14"/>
                </a:lnTo>
                <a:lnTo>
                  <a:pt x="57" y="14"/>
                </a:lnTo>
                <a:lnTo>
                  <a:pt x="57" y="14"/>
                </a:lnTo>
                <a:lnTo>
                  <a:pt x="57" y="13"/>
                </a:lnTo>
                <a:lnTo>
                  <a:pt x="57" y="13"/>
                </a:lnTo>
                <a:lnTo>
                  <a:pt x="57" y="13"/>
                </a:lnTo>
                <a:lnTo>
                  <a:pt x="57" y="13"/>
                </a:lnTo>
                <a:lnTo>
                  <a:pt x="57" y="13"/>
                </a:lnTo>
                <a:lnTo>
                  <a:pt x="57" y="13"/>
                </a:lnTo>
                <a:lnTo>
                  <a:pt x="55" y="13"/>
                </a:lnTo>
                <a:lnTo>
                  <a:pt x="55" y="13"/>
                </a:lnTo>
                <a:lnTo>
                  <a:pt x="55" y="13"/>
                </a:lnTo>
                <a:lnTo>
                  <a:pt x="55" y="13"/>
                </a:lnTo>
                <a:lnTo>
                  <a:pt x="55" y="12"/>
                </a:lnTo>
                <a:lnTo>
                  <a:pt x="55" y="12"/>
                </a:lnTo>
                <a:lnTo>
                  <a:pt x="55" y="12"/>
                </a:lnTo>
                <a:lnTo>
                  <a:pt x="55" y="12"/>
                </a:lnTo>
                <a:lnTo>
                  <a:pt x="54" y="12"/>
                </a:lnTo>
                <a:lnTo>
                  <a:pt x="54" y="12"/>
                </a:lnTo>
                <a:lnTo>
                  <a:pt x="54" y="12"/>
                </a:lnTo>
                <a:lnTo>
                  <a:pt x="54" y="12"/>
                </a:lnTo>
                <a:lnTo>
                  <a:pt x="54" y="12"/>
                </a:lnTo>
                <a:lnTo>
                  <a:pt x="54" y="12"/>
                </a:lnTo>
                <a:lnTo>
                  <a:pt x="54" y="12"/>
                </a:lnTo>
                <a:lnTo>
                  <a:pt x="54" y="12"/>
                </a:lnTo>
                <a:lnTo>
                  <a:pt x="53" y="11"/>
                </a:lnTo>
                <a:lnTo>
                  <a:pt x="53" y="11"/>
                </a:lnTo>
                <a:lnTo>
                  <a:pt x="53" y="11"/>
                </a:lnTo>
                <a:lnTo>
                  <a:pt x="53" y="11"/>
                </a:lnTo>
                <a:lnTo>
                  <a:pt x="53" y="11"/>
                </a:lnTo>
                <a:lnTo>
                  <a:pt x="53" y="11"/>
                </a:lnTo>
                <a:lnTo>
                  <a:pt x="53" y="11"/>
                </a:lnTo>
                <a:lnTo>
                  <a:pt x="52" y="11"/>
                </a:lnTo>
                <a:lnTo>
                  <a:pt x="52" y="11"/>
                </a:lnTo>
                <a:lnTo>
                  <a:pt x="52" y="11"/>
                </a:lnTo>
                <a:lnTo>
                  <a:pt x="52" y="11"/>
                </a:lnTo>
                <a:lnTo>
                  <a:pt x="52" y="11"/>
                </a:lnTo>
                <a:lnTo>
                  <a:pt x="52" y="11"/>
                </a:lnTo>
                <a:lnTo>
                  <a:pt x="52" y="10"/>
                </a:lnTo>
                <a:lnTo>
                  <a:pt x="51" y="10"/>
                </a:lnTo>
                <a:lnTo>
                  <a:pt x="51" y="10"/>
                </a:lnTo>
                <a:lnTo>
                  <a:pt x="51" y="10"/>
                </a:lnTo>
                <a:lnTo>
                  <a:pt x="51" y="10"/>
                </a:lnTo>
                <a:lnTo>
                  <a:pt x="51" y="10"/>
                </a:lnTo>
                <a:lnTo>
                  <a:pt x="51" y="10"/>
                </a:lnTo>
                <a:lnTo>
                  <a:pt x="51" y="10"/>
                </a:lnTo>
                <a:lnTo>
                  <a:pt x="50" y="10"/>
                </a:lnTo>
                <a:lnTo>
                  <a:pt x="50" y="10"/>
                </a:lnTo>
                <a:lnTo>
                  <a:pt x="50" y="10"/>
                </a:lnTo>
                <a:lnTo>
                  <a:pt x="50" y="10"/>
                </a:lnTo>
                <a:lnTo>
                  <a:pt x="50" y="10"/>
                </a:lnTo>
                <a:lnTo>
                  <a:pt x="50" y="10"/>
                </a:lnTo>
                <a:lnTo>
                  <a:pt x="50" y="10"/>
                </a:lnTo>
                <a:lnTo>
                  <a:pt x="49" y="9"/>
                </a:lnTo>
                <a:lnTo>
                  <a:pt x="49" y="9"/>
                </a:lnTo>
                <a:lnTo>
                  <a:pt x="49" y="9"/>
                </a:lnTo>
                <a:lnTo>
                  <a:pt x="49" y="9"/>
                </a:lnTo>
                <a:lnTo>
                  <a:pt x="49" y="9"/>
                </a:lnTo>
                <a:lnTo>
                  <a:pt x="49" y="9"/>
                </a:lnTo>
                <a:lnTo>
                  <a:pt x="48" y="9"/>
                </a:lnTo>
                <a:lnTo>
                  <a:pt x="48" y="9"/>
                </a:lnTo>
                <a:lnTo>
                  <a:pt x="48" y="9"/>
                </a:lnTo>
                <a:lnTo>
                  <a:pt x="48" y="9"/>
                </a:lnTo>
                <a:lnTo>
                  <a:pt x="48" y="9"/>
                </a:lnTo>
                <a:lnTo>
                  <a:pt x="48" y="9"/>
                </a:lnTo>
                <a:lnTo>
                  <a:pt x="48" y="9"/>
                </a:lnTo>
                <a:lnTo>
                  <a:pt x="46" y="9"/>
                </a:lnTo>
                <a:lnTo>
                  <a:pt x="46" y="9"/>
                </a:lnTo>
                <a:lnTo>
                  <a:pt x="46" y="9"/>
                </a:lnTo>
                <a:lnTo>
                  <a:pt x="46" y="9"/>
                </a:lnTo>
                <a:lnTo>
                  <a:pt x="46" y="9"/>
                </a:lnTo>
                <a:lnTo>
                  <a:pt x="46" y="9"/>
                </a:lnTo>
                <a:lnTo>
                  <a:pt x="45" y="9"/>
                </a:lnTo>
                <a:lnTo>
                  <a:pt x="45" y="8"/>
                </a:lnTo>
                <a:lnTo>
                  <a:pt x="45" y="8"/>
                </a:lnTo>
                <a:lnTo>
                  <a:pt x="45" y="8"/>
                </a:lnTo>
                <a:lnTo>
                  <a:pt x="45" y="8"/>
                </a:lnTo>
                <a:lnTo>
                  <a:pt x="45" y="8"/>
                </a:lnTo>
                <a:lnTo>
                  <a:pt x="44" y="8"/>
                </a:lnTo>
                <a:lnTo>
                  <a:pt x="44" y="8"/>
                </a:lnTo>
                <a:lnTo>
                  <a:pt x="44" y="8"/>
                </a:lnTo>
                <a:lnTo>
                  <a:pt x="44" y="8"/>
                </a:lnTo>
                <a:lnTo>
                  <a:pt x="44" y="8"/>
                </a:lnTo>
                <a:lnTo>
                  <a:pt x="44" y="8"/>
                </a:lnTo>
                <a:lnTo>
                  <a:pt x="44" y="8"/>
                </a:lnTo>
                <a:lnTo>
                  <a:pt x="43" y="8"/>
                </a:lnTo>
                <a:lnTo>
                  <a:pt x="43" y="8"/>
                </a:lnTo>
                <a:lnTo>
                  <a:pt x="43" y="8"/>
                </a:lnTo>
                <a:lnTo>
                  <a:pt x="43" y="8"/>
                </a:lnTo>
                <a:lnTo>
                  <a:pt x="43" y="8"/>
                </a:lnTo>
                <a:lnTo>
                  <a:pt x="43" y="8"/>
                </a:lnTo>
                <a:lnTo>
                  <a:pt x="42" y="8"/>
                </a:lnTo>
                <a:lnTo>
                  <a:pt x="42" y="8"/>
                </a:lnTo>
                <a:lnTo>
                  <a:pt x="42" y="8"/>
                </a:lnTo>
                <a:lnTo>
                  <a:pt x="42" y="8"/>
                </a:lnTo>
                <a:lnTo>
                  <a:pt x="42" y="8"/>
                </a:lnTo>
                <a:lnTo>
                  <a:pt x="42" y="8"/>
                </a:lnTo>
                <a:lnTo>
                  <a:pt x="41" y="8"/>
                </a:lnTo>
                <a:lnTo>
                  <a:pt x="41" y="8"/>
                </a:lnTo>
                <a:lnTo>
                  <a:pt x="41" y="8"/>
                </a:lnTo>
                <a:lnTo>
                  <a:pt x="41" y="8"/>
                </a:lnTo>
                <a:lnTo>
                  <a:pt x="41" y="8"/>
                </a:lnTo>
                <a:lnTo>
                  <a:pt x="41" y="8"/>
                </a:lnTo>
                <a:lnTo>
                  <a:pt x="40" y="8"/>
                </a:lnTo>
                <a:lnTo>
                  <a:pt x="40" y="8"/>
                </a:lnTo>
                <a:lnTo>
                  <a:pt x="40" y="8"/>
                </a:lnTo>
                <a:lnTo>
                  <a:pt x="40" y="8"/>
                </a:lnTo>
                <a:lnTo>
                  <a:pt x="40" y="8"/>
                </a:lnTo>
                <a:lnTo>
                  <a:pt x="40" y="8"/>
                </a:lnTo>
                <a:lnTo>
                  <a:pt x="39" y="8"/>
                </a:lnTo>
                <a:lnTo>
                  <a:pt x="39" y="8"/>
                </a:lnTo>
                <a:lnTo>
                  <a:pt x="39" y="8"/>
                </a:lnTo>
                <a:lnTo>
                  <a:pt x="39" y="8"/>
                </a:lnTo>
                <a:lnTo>
                  <a:pt x="39" y="8"/>
                </a:lnTo>
                <a:lnTo>
                  <a:pt x="39" y="8"/>
                </a:lnTo>
                <a:lnTo>
                  <a:pt x="37" y="8"/>
                </a:lnTo>
                <a:lnTo>
                  <a:pt x="37" y="8"/>
                </a:lnTo>
                <a:lnTo>
                  <a:pt x="37" y="8"/>
                </a:lnTo>
                <a:lnTo>
                  <a:pt x="37" y="8"/>
                </a:lnTo>
                <a:lnTo>
                  <a:pt x="37" y="8"/>
                </a:lnTo>
                <a:lnTo>
                  <a:pt x="37" y="8"/>
                </a:lnTo>
                <a:lnTo>
                  <a:pt x="36" y="8"/>
                </a:lnTo>
                <a:lnTo>
                  <a:pt x="36" y="8"/>
                </a:lnTo>
                <a:lnTo>
                  <a:pt x="36" y="8"/>
                </a:lnTo>
                <a:lnTo>
                  <a:pt x="36" y="8"/>
                </a:lnTo>
                <a:lnTo>
                  <a:pt x="36" y="8"/>
                </a:lnTo>
                <a:lnTo>
                  <a:pt x="36" y="8"/>
                </a:lnTo>
                <a:lnTo>
                  <a:pt x="35" y="8"/>
                </a:lnTo>
                <a:lnTo>
                  <a:pt x="35" y="8"/>
                </a:lnTo>
                <a:lnTo>
                  <a:pt x="35" y="8"/>
                </a:lnTo>
                <a:lnTo>
                  <a:pt x="35" y="8"/>
                </a:lnTo>
                <a:lnTo>
                  <a:pt x="35" y="8"/>
                </a:lnTo>
                <a:lnTo>
                  <a:pt x="35" y="8"/>
                </a:lnTo>
                <a:lnTo>
                  <a:pt x="34" y="8"/>
                </a:lnTo>
                <a:lnTo>
                  <a:pt x="34" y="8"/>
                </a:lnTo>
                <a:lnTo>
                  <a:pt x="34" y="8"/>
                </a:lnTo>
                <a:lnTo>
                  <a:pt x="34" y="8"/>
                </a:lnTo>
                <a:lnTo>
                  <a:pt x="34" y="8"/>
                </a:lnTo>
                <a:lnTo>
                  <a:pt x="34" y="8"/>
                </a:lnTo>
                <a:lnTo>
                  <a:pt x="33" y="8"/>
                </a:lnTo>
                <a:lnTo>
                  <a:pt x="33" y="8"/>
                </a:lnTo>
                <a:lnTo>
                  <a:pt x="33" y="8"/>
                </a:lnTo>
                <a:lnTo>
                  <a:pt x="33" y="8"/>
                </a:lnTo>
                <a:lnTo>
                  <a:pt x="33" y="8"/>
                </a:lnTo>
                <a:lnTo>
                  <a:pt x="33" y="8"/>
                </a:lnTo>
                <a:lnTo>
                  <a:pt x="32" y="8"/>
                </a:lnTo>
                <a:lnTo>
                  <a:pt x="32" y="8"/>
                </a:lnTo>
                <a:lnTo>
                  <a:pt x="32" y="8"/>
                </a:lnTo>
                <a:lnTo>
                  <a:pt x="32" y="8"/>
                </a:lnTo>
                <a:lnTo>
                  <a:pt x="32" y="8"/>
                </a:lnTo>
                <a:lnTo>
                  <a:pt x="32" y="8"/>
                </a:lnTo>
                <a:lnTo>
                  <a:pt x="31" y="8"/>
                </a:lnTo>
                <a:lnTo>
                  <a:pt x="31" y="9"/>
                </a:lnTo>
                <a:lnTo>
                  <a:pt x="31" y="9"/>
                </a:lnTo>
                <a:lnTo>
                  <a:pt x="31" y="9"/>
                </a:lnTo>
                <a:lnTo>
                  <a:pt x="31" y="9"/>
                </a:lnTo>
                <a:lnTo>
                  <a:pt x="31" y="9"/>
                </a:lnTo>
                <a:lnTo>
                  <a:pt x="31" y="9"/>
                </a:lnTo>
                <a:lnTo>
                  <a:pt x="30" y="9"/>
                </a:lnTo>
                <a:lnTo>
                  <a:pt x="30" y="9"/>
                </a:lnTo>
                <a:lnTo>
                  <a:pt x="30" y="9"/>
                </a:lnTo>
                <a:lnTo>
                  <a:pt x="30" y="9"/>
                </a:lnTo>
                <a:lnTo>
                  <a:pt x="30" y="9"/>
                </a:lnTo>
                <a:lnTo>
                  <a:pt x="30" y="9"/>
                </a:lnTo>
                <a:lnTo>
                  <a:pt x="28" y="9"/>
                </a:lnTo>
                <a:lnTo>
                  <a:pt x="28" y="9"/>
                </a:lnTo>
                <a:lnTo>
                  <a:pt x="28" y="9"/>
                </a:lnTo>
                <a:lnTo>
                  <a:pt x="28" y="9"/>
                </a:lnTo>
                <a:lnTo>
                  <a:pt x="28" y="9"/>
                </a:lnTo>
                <a:lnTo>
                  <a:pt x="28" y="9"/>
                </a:lnTo>
                <a:lnTo>
                  <a:pt x="28" y="9"/>
                </a:lnTo>
                <a:lnTo>
                  <a:pt x="27" y="9"/>
                </a:lnTo>
                <a:lnTo>
                  <a:pt x="27" y="10"/>
                </a:lnTo>
                <a:lnTo>
                  <a:pt x="27" y="10"/>
                </a:lnTo>
                <a:lnTo>
                  <a:pt x="27" y="10"/>
                </a:lnTo>
                <a:lnTo>
                  <a:pt x="27" y="10"/>
                </a:lnTo>
                <a:lnTo>
                  <a:pt x="27" y="10"/>
                </a:lnTo>
                <a:lnTo>
                  <a:pt x="26" y="10"/>
                </a:lnTo>
                <a:lnTo>
                  <a:pt x="26" y="10"/>
                </a:lnTo>
                <a:lnTo>
                  <a:pt x="26" y="10"/>
                </a:lnTo>
                <a:lnTo>
                  <a:pt x="26" y="10"/>
                </a:lnTo>
                <a:lnTo>
                  <a:pt x="26" y="10"/>
                </a:lnTo>
                <a:lnTo>
                  <a:pt x="26" y="10"/>
                </a:lnTo>
                <a:lnTo>
                  <a:pt x="26" y="10"/>
                </a:lnTo>
                <a:lnTo>
                  <a:pt x="25" y="10"/>
                </a:lnTo>
                <a:lnTo>
                  <a:pt x="25" y="10"/>
                </a:lnTo>
                <a:lnTo>
                  <a:pt x="25" y="10"/>
                </a:lnTo>
                <a:lnTo>
                  <a:pt x="25" y="11"/>
                </a:lnTo>
                <a:lnTo>
                  <a:pt x="25" y="11"/>
                </a:lnTo>
                <a:lnTo>
                  <a:pt x="25" y="11"/>
                </a:lnTo>
                <a:lnTo>
                  <a:pt x="25" y="11"/>
                </a:lnTo>
                <a:lnTo>
                  <a:pt x="24" y="11"/>
                </a:lnTo>
                <a:lnTo>
                  <a:pt x="24" y="11"/>
                </a:lnTo>
                <a:lnTo>
                  <a:pt x="24" y="11"/>
                </a:lnTo>
                <a:lnTo>
                  <a:pt x="24" y="11"/>
                </a:lnTo>
                <a:lnTo>
                  <a:pt x="24" y="11"/>
                </a:lnTo>
                <a:lnTo>
                  <a:pt x="24" y="11"/>
                </a:lnTo>
                <a:lnTo>
                  <a:pt x="24" y="11"/>
                </a:lnTo>
                <a:lnTo>
                  <a:pt x="24" y="11"/>
                </a:lnTo>
                <a:lnTo>
                  <a:pt x="23" y="11"/>
                </a:lnTo>
                <a:lnTo>
                  <a:pt x="23" y="12"/>
                </a:lnTo>
                <a:lnTo>
                  <a:pt x="23" y="12"/>
                </a:lnTo>
                <a:lnTo>
                  <a:pt x="23" y="12"/>
                </a:lnTo>
                <a:lnTo>
                  <a:pt x="23" y="12"/>
                </a:lnTo>
                <a:lnTo>
                  <a:pt x="23" y="12"/>
                </a:lnTo>
                <a:lnTo>
                  <a:pt x="23" y="12"/>
                </a:lnTo>
                <a:lnTo>
                  <a:pt x="22" y="12"/>
                </a:lnTo>
                <a:lnTo>
                  <a:pt x="22" y="12"/>
                </a:lnTo>
                <a:lnTo>
                  <a:pt x="22" y="12"/>
                </a:lnTo>
                <a:lnTo>
                  <a:pt x="22" y="12"/>
                </a:lnTo>
                <a:lnTo>
                  <a:pt x="22" y="12"/>
                </a:lnTo>
                <a:lnTo>
                  <a:pt x="22" y="12"/>
                </a:lnTo>
                <a:lnTo>
                  <a:pt x="22" y="13"/>
                </a:lnTo>
                <a:lnTo>
                  <a:pt x="22" y="13"/>
                </a:lnTo>
                <a:lnTo>
                  <a:pt x="21" y="13"/>
                </a:lnTo>
                <a:lnTo>
                  <a:pt x="21" y="13"/>
                </a:lnTo>
                <a:lnTo>
                  <a:pt x="21" y="13"/>
                </a:lnTo>
                <a:lnTo>
                  <a:pt x="21" y="13"/>
                </a:lnTo>
                <a:lnTo>
                  <a:pt x="21" y="13"/>
                </a:lnTo>
                <a:lnTo>
                  <a:pt x="21" y="13"/>
                </a:lnTo>
                <a:lnTo>
                  <a:pt x="21" y="13"/>
                </a:lnTo>
                <a:lnTo>
                  <a:pt x="19" y="13"/>
                </a:lnTo>
                <a:lnTo>
                  <a:pt x="19" y="14"/>
                </a:lnTo>
                <a:lnTo>
                  <a:pt x="19" y="14"/>
                </a:lnTo>
                <a:lnTo>
                  <a:pt x="19" y="14"/>
                </a:lnTo>
                <a:lnTo>
                  <a:pt x="19" y="14"/>
                </a:lnTo>
                <a:lnTo>
                  <a:pt x="19" y="14"/>
                </a:lnTo>
                <a:lnTo>
                  <a:pt x="19" y="14"/>
                </a:lnTo>
                <a:lnTo>
                  <a:pt x="19" y="14"/>
                </a:lnTo>
                <a:lnTo>
                  <a:pt x="19" y="14"/>
                </a:lnTo>
                <a:lnTo>
                  <a:pt x="18" y="14"/>
                </a:lnTo>
                <a:lnTo>
                  <a:pt x="18" y="14"/>
                </a:lnTo>
                <a:lnTo>
                  <a:pt x="18" y="16"/>
                </a:lnTo>
                <a:lnTo>
                  <a:pt x="18" y="16"/>
                </a:lnTo>
                <a:lnTo>
                  <a:pt x="18" y="16"/>
                </a:lnTo>
                <a:lnTo>
                  <a:pt x="18" y="16"/>
                </a:lnTo>
                <a:lnTo>
                  <a:pt x="18" y="16"/>
                </a:lnTo>
                <a:lnTo>
                  <a:pt x="18" y="16"/>
                </a:lnTo>
                <a:lnTo>
                  <a:pt x="17" y="16"/>
                </a:lnTo>
                <a:lnTo>
                  <a:pt x="17" y="16"/>
                </a:lnTo>
                <a:lnTo>
                  <a:pt x="17" y="16"/>
                </a:lnTo>
                <a:lnTo>
                  <a:pt x="17" y="17"/>
                </a:lnTo>
                <a:lnTo>
                  <a:pt x="17" y="17"/>
                </a:lnTo>
                <a:lnTo>
                  <a:pt x="17" y="17"/>
                </a:lnTo>
                <a:lnTo>
                  <a:pt x="17" y="17"/>
                </a:lnTo>
                <a:lnTo>
                  <a:pt x="17" y="17"/>
                </a:lnTo>
                <a:lnTo>
                  <a:pt x="17" y="17"/>
                </a:lnTo>
                <a:lnTo>
                  <a:pt x="16" y="17"/>
                </a:lnTo>
                <a:lnTo>
                  <a:pt x="16" y="17"/>
                </a:lnTo>
                <a:lnTo>
                  <a:pt x="16" y="17"/>
                </a:lnTo>
                <a:lnTo>
                  <a:pt x="16" y="18"/>
                </a:lnTo>
                <a:lnTo>
                  <a:pt x="16" y="18"/>
                </a:lnTo>
                <a:lnTo>
                  <a:pt x="16" y="18"/>
                </a:lnTo>
                <a:lnTo>
                  <a:pt x="16" y="18"/>
                </a:lnTo>
                <a:lnTo>
                  <a:pt x="16" y="18"/>
                </a:lnTo>
                <a:lnTo>
                  <a:pt x="16" y="18"/>
                </a:lnTo>
                <a:lnTo>
                  <a:pt x="16" y="18"/>
                </a:lnTo>
                <a:lnTo>
                  <a:pt x="15" y="18"/>
                </a:lnTo>
                <a:lnTo>
                  <a:pt x="15" y="19"/>
                </a:lnTo>
                <a:lnTo>
                  <a:pt x="15" y="19"/>
                </a:lnTo>
                <a:lnTo>
                  <a:pt x="15" y="19"/>
                </a:lnTo>
                <a:lnTo>
                  <a:pt x="15" y="19"/>
                </a:lnTo>
                <a:lnTo>
                  <a:pt x="15" y="19"/>
                </a:lnTo>
                <a:lnTo>
                  <a:pt x="15" y="19"/>
                </a:lnTo>
                <a:lnTo>
                  <a:pt x="15" y="19"/>
                </a:lnTo>
                <a:lnTo>
                  <a:pt x="15" y="19"/>
                </a:lnTo>
                <a:lnTo>
                  <a:pt x="15" y="20"/>
                </a:lnTo>
                <a:lnTo>
                  <a:pt x="14" y="20"/>
                </a:lnTo>
                <a:lnTo>
                  <a:pt x="14" y="20"/>
                </a:lnTo>
                <a:lnTo>
                  <a:pt x="14" y="20"/>
                </a:lnTo>
                <a:lnTo>
                  <a:pt x="14" y="20"/>
                </a:lnTo>
                <a:lnTo>
                  <a:pt x="14" y="20"/>
                </a:lnTo>
                <a:lnTo>
                  <a:pt x="14" y="20"/>
                </a:lnTo>
                <a:lnTo>
                  <a:pt x="14" y="20"/>
                </a:lnTo>
                <a:lnTo>
                  <a:pt x="14" y="21"/>
                </a:lnTo>
                <a:lnTo>
                  <a:pt x="14" y="21"/>
                </a:lnTo>
                <a:lnTo>
                  <a:pt x="14" y="21"/>
                </a:lnTo>
                <a:lnTo>
                  <a:pt x="14" y="21"/>
                </a:lnTo>
                <a:lnTo>
                  <a:pt x="13" y="21"/>
                </a:lnTo>
                <a:lnTo>
                  <a:pt x="13" y="21"/>
                </a:lnTo>
                <a:lnTo>
                  <a:pt x="13" y="21"/>
                </a:lnTo>
                <a:lnTo>
                  <a:pt x="13" y="22"/>
                </a:lnTo>
                <a:lnTo>
                  <a:pt x="13" y="22"/>
                </a:lnTo>
                <a:lnTo>
                  <a:pt x="13" y="22"/>
                </a:lnTo>
                <a:lnTo>
                  <a:pt x="13" y="22"/>
                </a:lnTo>
                <a:lnTo>
                  <a:pt x="13" y="22"/>
                </a:lnTo>
                <a:lnTo>
                  <a:pt x="13" y="22"/>
                </a:lnTo>
                <a:lnTo>
                  <a:pt x="13" y="22"/>
                </a:lnTo>
                <a:lnTo>
                  <a:pt x="13" y="23"/>
                </a:lnTo>
                <a:lnTo>
                  <a:pt x="13" y="23"/>
                </a:lnTo>
                <a:lnTo>
                  <a:pt x="13" y="23"/>
                </a:lnTo>
                <a:lnTo>
                  <a:pt x="12" y="23"/>
                </a:lnTo>
                <a:lnTo>
                  <a:pt x="12" y="23"/>
                </a:lnTo>
                <a:lnTo>
                  <a:pt x="12" y="23"/>
                </a:lnTo>
                <a:lnTo>
                  <a:pt x="12" y="23"/>
                </a:lnTo>
                <a:lnTo>
                  <a:pt x="12" y="25"/>
                </a:lnTo>
                <a:lnTo>
                  <a:pt x="12" y="25"/>
                </a:lnTo>
                <a:lnTo>
                  <a:pt x="12" y="25"/>
                </a:lnTo>
                <a:lnTo>
                  <a:pt x="12" y="25"/>
                </a:lnTo>
                <a:lnTo>
                  <a:pt x="12" y="25"/>
                </a:lnTo>
                <a:lnTo>
                  <a:pt x="12" y="25"/>
                </a:lnTo>
                <a:lnTo>
                  <a:pt x="12" y="25"/>
                </a:lnTo>
                <a:lnTo>
                  <a:pt x="12" y="26"/>
                </a:lnTo>
                <a:lnTo>
                  <a:pt x="12" y="26"/>
                </a:lnTo>
                <a:lnTo>
                  <a:pt x="12" y="26"/>
                </a:lnTo>
                <a:lnTo>
                  <a:pt x="12" y="26"/>
                </a:lnTo>
                <a:lnTo>
                  <a:pt x="10" y="26"/>
                </a:lnTo>
                <a:lnTo>
                  <a:pt x="10" y="26"/>
                </a:lnTo>
                <a:lnTo>
                  <a:pt x="10" y="26"/>
                </a:lnTo>
                <a:lnTo>
                  <a:pt x="10" y="27"/>
                </a:lnTo>
                <a:lnTo>
                  <a:pt x="10" y="27"/>
                </a:lnTo>
                <a:lnTo>
                  <a:pt x="10" y="27"/>
                </a:lnTo>
                <a:lnTo>
                  <a:pt x="10" y="27"/>
                </a:lnTo>
                <a:lnTo>
                  <a:pt x="10" y="27"/>
                </a:lnTo>
                <a:lnTo>
                  <a:pt x="10" y="27"/>
                </a:lnTo>
                <a:lnTo>
                  <a:pt x="10" y="27"/>
                </a:lnTo>
                <a:lnTo>
                  <a:pt x="10" y="28"/>
                </a:lnTo>
                <a:lnTo>
                  <a:pt x="10" y="28"/>
                </a:lnTo>
                <a:lnTo>
                  <a:pt x="10" y="28"/>
                </a:lnTo>
                <a:lnTo>
                  <a:pt x="10" y="28"/>
                </a:lnTo>
                <a:lnTo>
                  <a:pt x="10" y="28"/>
                </a:lnTo>
                <a:lnTo>
                  <a:pt x="10" y="28"/>
                </a:lnTo>
                <a:lnTo>
                  <a:pt x="10" y="29"/>
                </a:lnTo>
                <a:lnTo>
                  <a:pt x="10" y="29"/>
                </a:lnTo>
                <a:lnTo>
                  <a:pt x="10" y="29"/>
                </a:lnTo>
                <a:lnTo>
                  <a:pt x="9" y="29"/>
                </a:lnTo>
                <a:lnTo>
                  <a:pt x="9" y="29"/>
                </a:lnTo>
                <a:lnTo>
                  <a:pt x="9" y="29"/>
                </a:lnTo>
                <a:lnTo>
                  <a:pt x="9" y="29"/>
                </a:lnTo>
                <a:lnTo>
                  <a:pt x="9" y="30"/>
                </a:lnTo>
                <a:lnTo>
                  <a:pt x="9" y="30"/>
                </a:lnTo>
                <a:lnTo>
                  <a:pt x="9" y="30"/>
                </a:lnTo>
                <a:lnTo>
                  <a:pt x="9" y="30"/>
                </a:lnTo>
                <a:lnTo>
                  <a:pt x="9" y="30"/>
                </a:lnTo>
                <a:lnTo>
                  <a:pt x="9" y="30"/>
                </a:lnTo>
                <a:lnTo>
                  <a:pt x="9" y="31"/>
                </a:lnTo>
                <a:lnTo>
                  <a:pt x="9" y="31"/>
                </a:lnTo>
                <a:lnTo>
                  <a:pt x="9" y="31"/>
                </a:lnTo>
                <a:lnTo>
                  <a:pt x="9" y="31"/>
                </a:lnTo>
                <a:lnTo>
                  <a:pt x="9" y="31"/>
                </a:lnTo>
                <a:lnTo>
                  <a:pt x="9" y="31"/>
                </a:lnTo>
                <a:lnTo>
                  <a:pt x="9" y="32"/>
                </a:lnTo>
                <a:lnTo>
                  <a:pt x="9" y="32"/>
                </a:lnTo>
                <a:lnTo>
                  <a:pt x="9" y="32"/>
                </a:lnTo>
                <a:lnTo>
                  <a:pt x="9" y="32"/>
                </a:lnTo>
                <a:lnTo>
                  <a:pt x="9" y="32"/>
                </a:lnTo>
                <a:lnTo>
                  <a:pt x="9" y="32"/>
                </a:lnTo>
                <a:lnTo>
                  <a:pt x="9" y="34"/>
                </a:lnTo>
                <a:lnTo>
                  <a:pt x="9" y="34"/>
                </a:lnTo>
                <a:lnTo>
                  <a:pt x="9" y="34"/>
                </a:lnTo>
                <a:lnTo>
                  <a:pt x="9" y="34"/>
                </a:lnTo>
                <a:lnTo>
                  <a:pt x="9" y="34"/>
                </a:lnTo>
                <a:lnTo>
                  <a:pt x="9" y="34"/>
                </a:lnTo>
                <a:lnTo>
                  <a:pt x="9" y="35"/>
                </a:lnTo>
                <a:lnTo>
                  <a:pt x="9" y="35"/>
                </a:lnTo>
                <a:lnTo>
                  <a:pt x="9" y="35"/>
                </a:lnTo>
                <a:lnTo>
                  <a:pt x="9" y="35"/>
                </a:lnTo>
                <a:lnTo>
                  <a:pt x="9" y="35"/>
                </a:lnTo>
                <a:lnTo>
                  <a:pt x="9" y="35"/>
                </a:lnTo>
                <a:lnTo>
                  <a:pt x="9" y="36"/>
                </a:lnTo>
                <a:lnTo>
                  <a:pt x="9" y="36"/>
                </a:lnTo>
                <a:lnTo>
                  <a:pt x="9" y="36"/>
                </a:lnTo>
                <a:lnTo>
                  <a:pt x="9" y="36"/>
                </a:lnTo>
                <a:lnTo>
                  <a:pt x="9" y="36"/>
                </a:lnTo>
                <a:lnTo>
                  <a:pt x="9" y="36"/>
                </a:lnTo>
                <a:lnTo>
                  <a:pt x="9" y="37"/>
                </a:lnTo>
                <a:lnTo>
                  <a:pt x="9" y="37"/>
                </a:lnTo>
                <a:lnTo>
                  <a:pt x="9" y="37"/>
                </a:lnTo>
                <a:lnTo>
                  <a:pt x="9" y="37"/>
                </a:lnTo>
                <a:lnTo>
                  <a:pt x="9" y="37"/>
                </a:lnTo>
                <a:lnTo>
                  <a:pt x="9" y="37"/>
                </a:lnTo>
                <a:lnTo>
                  <a:pt x="9" y="38"/>
                </a:lnTo>
                <a:lnTo>
                  <a:pt x="9" y="38"/>
                </a:lnTo>
                <a:lnTo>
                  <a:pt x="9" y="38"/>
                </a:lnTo>
                <a:lnTo>
                  <a:pt x="9" y="38"/>
                </a:lnTo>
                <a:lnTo>
                  <a:pt x="9" y="38"/>
                </a:lnTo>
                <a:lnTo>
                  <a:pt x="9" y="38"/>
                </a:lnTo>
                <a:lnTo>
                  <a:pt x="9" y="39"/>
                </a:lnTo>
                <a:lnTo>
                  <a:pt x="9" y="39"/>
                </a:lnTo>
                <a:lnTo>
                  <a:pt x="9" y="39"/>
                </a:lnTo>
                <a:lnTo>
                  <a:pt x="9" y="39"/>
                </a:lnTo>
                <a:lnTo>
                  <a:pt x="9" y="39"/>
                </a:lnTo>
                <a:lnTo>
                  <a:pt x="9" y="39"/>
                </a:lnTo>
                <a:lnTo>
                  <a:pt x="9" y="40"/>
                </a:lnTo>
                <a:lnTo>
                  <a:pt x="9" y="40"/>
                </a:lnTo>
                <a:lnTo>
                  <a:pt x="9" y="40"/>
                </a:lnTo>
                <a:lnTo>
                  <a:pt x="9" y="40"/>
                </a:lnTo>
                <a:lnTo>
                  <a:pt x="9" y="40"/>
                </a:lnTo>
                <a:lnTo>
                  <a:pt x="9" y="40"/>
                </a:lnTo>
                <a:lnTo>
                  <a:pt x="9" y="41"/>
                </a:lnTo>
                <a:lnTo>
                  <a:pt x="9" y="41"/>
                </a:lnTo>
                <a:lnTo>
                  <a:pt x="9" y="41"/>
                </a:lnTo>
                <a:lnTo>
                  <a:pt x="9" y="41"/>
                </a:lnTo>
                <a:lnTo>
                  <a:pt x="9" y="41"/>
                </a:lnTo>
                <a:lnTo>
                  <a:pt x="9" y="41"/>
                </a:lnTo>
                <a:lnTo>
                  <a:pt x="9" y="43"/>
                </a:lnTo>
                <a:lnTo>
                  <a:pt x="9" y="43"/>
                </a:lnTo>
                <a:lnTo>
                  <a:pt x="9" y="43"/>
                </a:lnTo>
                <a:lnTo>
                  <a:pt x="9" y="43"/>
                </a:lnTo>
                <a:lnTo>
                  <a:pt x="9" y="43"/>
                </a:lnTo>
                <a:lnTo>
                  <a:pt x="9" y="43"/>
                </a:lnTo>
                <a:lnTo>
                  <a:pt x="9" y="44"/>
                </a:lnTo>
                <a:lnTo>
                  <a:pt x="9" y="44"/>
                </a:lnTo>
                <a:lnTo>
                  <a:pt x="9" y="44"/>
                </a:lnTo>
                <a:lnTo>
                  <a:pt x="9" y="44"/>
                </a:lnTo>
                <a:lnTo>
                  <a:pt x="9" y="44"/>
                </a:lnTo>
                <a:lnTo>
                  <a:pt x="9" y="44"/>
                </a:lnTo>
                <a:lnTo>
                  <a:pt x="9" y="44"/>
                </a:lnTo>
                <a:lnTo>
                  <a:pt x="9" y="45"/>
                </a:lnTo>
                <a:lnTo>
                  <a:pt x="9" y="45"/>
                </a:lnTo>
                <a:lnTo>
                  <a:pt x="9" y="45"/>
                </a:lnTo>
                <a:lnTo>
                  <a:pt x="9" y="45"/>
                </a:lnTo>
                <a:lnTo>
                  <a:pt x="10" y="45"/>
                </a:lnTo>
                <a:lnTo>
                  <a:pt x="10" y="45"/>
                </a:lnTo>
                <a:lnTo>
                  <a:pt x="10" y="46"/>
                </a:lnTo>
                <a:lnTo>
                  <a:pt x="10" y="46"/>
                </a:lnTo>
                <a:lnTo>
                  <a:pt x="10" y="46"/>
                </a:lnTo>
                <a:lnTo>
                  <a:pt x="10" y="46"/>
                </a:lnTo>
                <a:lnTo>
                  <a:pt x="10" y="46"/>
                </a:lnTo>
                <a:lnTo>
                  <a:pt x="10" y="46"/>
                </a:lnTo>
                <a:lnTo>
                  <a:pt x="10" y="47"/>
                </a:lnTo>
                <a:lnTo>
                  <a:pt x="10" y="47"/>
                </a:lnTo>
                <a:lnTo>
                  <a:pt x="10" y="47"/>
                </a:lnTo>
                <a:lnTo>
                  <a:pt x="10" y="47"/>
                </a:lnTo>
                <a:lnTo>
                  <a:pt x="10" y="47"/>
                </a:lnTo>
                <a:lnTo>
                  <a:pt x="10" y="47"/>
                </a:lnTo>
                <a:lnTo>
                  <a:pt x="10" y="47"/>
                </a:lnTo>
                <a:lnTo>
                  <a:pt x="10" y="48"/>
                </a:lnTo>
                <a:lnTo>
                  <a:pt x="10" y="48"/>
                </a:lnTo>
                <a:lnTo>
                  <a:pt x="10" y="48"/>
                </a:lnTo>
                <a:lnTo>
                  <a:pt x="10" y="48"/>
                </a:lnTo>
                <a:lnTo>
                  <a:pt x="12" y="48"/>
                </a:lnTo>
                <a:lnTo>
                  <a:pt x="12" y="48"/>
                </a:lnTo>
                <a:lnTo>
                  <a:pt x="12" y="48"/>
                </a:lnTo>
                <a:lnTo>
                  <a:pt x="12" y="49"/>
                </a:lnTo>
                <a:lnTo>
                  <a:pt x="12" y="49"/>
                </a:lnTo>
                <a:lnTo>
                  <a:pt x="12" y="49"/>
                </a:lnTo>
                <a:lnTo>
                  <a:pt x="12" y="49"/>
                </a:lnTo>
                <a:lnTo>
                  <a:pt x="12" y="49"/>
                </a:lnTo>
                <a:lnTo>
                  <a:pt x="12" y="49"/>
                </a:lnTo>
                <a:lnTo>
                  <a:pt x="12" y="49"/>
                </a:lnTo>
                <a:lnTo>
                  <a:pt x="12" y="50"/>
                </a:lnTo>
                <a:lnTo>
                  <a:pt x="12" y="50"/>
                </a:lnTo>
                <a:lnTo>
                  <a:pt x="12" y="50"/>
                </a:lnTo>
                <a:lnTo>
                  <a:pt x="12" y="50"/>
                </a:lnTo>
                <a:lnTo>
                  <a:pt x="12" y="50"/>
                </a:lnTo>
                <a:lnTo>
                  <a:pt x="13" y="50"/>
                </a:lnTo>
                <a:lnTo>
                  <a:pt x="13" y="50"/>
                </a:lnTo>
                <a:lnTo>
                  <a:pt x="13" y="52"/>
                </a:lnTo>
                <a:lnTo>
                  <a:pt x="13" y="52"/>
                </a:lnTo>
                <a:lnTo>
                  <a:pt x="13" y="52"/>
                </a:lnTo>
                <a:lnTo>
                  <a:pt x="13" y="52"/>
                </a:lnTo>
                <a:lnTo>
                  <a:pt x="13" y="52"/>
                </a:lnTo>
                <a:lnTo>
                  <a:pt x="13" y="52"/>
                </a:lnTo>
                <a:lnTo>
                  <a:pt x="13" y="52"/>
                </a:lnTo>
                <a:lnTo>
                  <a:pt x="13" y="53"/>
                </a:lnTo>
                <a:lnTo>
                  <a:pt x="13" y="53"/>
                </a:lnTo>
                <a:lnTo>
                  <a:pt x="13" y="53"/>
                </a:lnTo>
                <a:lnTo>
                  <a:pt x="13" y="53"/>
                </a:lnTo>
                <a:lnTo>
                  <a:pt x="14" y="53"/>
                </a:lnTo>
                <a:lnTo>
                  <a:pt x="14" y="53"/>
                </a:lnTo>
                <a:lnTo>
                  <a:pt x="14" y="53"/>
                </a:lnTo>
                <a:lnTo>
                  <a:pt x="14" y="54"/>
                </a:lnTo>
                <a:lnTo>
                  <a:pt x="14" y="54"/>
                </a:lnTo>
                <a:lnTo>
                  <a:pt x="14" y="54"/>
                </a:lnTo>
                <a:lnTo>
                  <a:pt x="14" y="54"/>
                </a:lnTo>
                <a:lnTo>
                  <a:pt x="14" y="54"/>
                </a:lnTo>
                <a:lnTo>
                  <a:pt x="14" y="54"/>
                </a:lnTo>
                <a:lnTo>
                  <a:pt x="14" y="54"/>
                </a:lnTo>
                <a:lnTo>
                  <a:pt x="14" y="54"/>
                </a:lnTo>
                <a:lnTo>
                  <a:pt x="15" y="55"/>
                </a:lnTo>
                <a:lnTo>
                  <a:pt x="15" y="55"/>
                </a:lnTo>
                <a:lnTo>
                  <a:pt x="15" y="55"/>
                </a:lnTo>
                <a:lnTo>
                  <a:pt x="15" y="55"/>
                </a:lnTo>
                <a:lnTo>
                  <a:pt x="15" y="55"/>
                </a:lnTo>
                <a:lnTo>
                  <a:pt x="15" y="55"/>
                </a:lnTo>
                <a:lnTo>
                  <a:pt x="15" y="55"/>
                </a:lnTo>
                <a:lnTo>
                  <a:pt x="15" y="55"/>
                </a:lnTo>
                <a:lnTo>
                  <a:pt x="15" y="56"/>
                </a:lnTo>
                <a:lnTo>
                  <a:pt x="15" y="56"/>
                </a:lnTo>
                <a:lnTo>
                  <a:pt x="16" y="56"/>
                </a:lnTo>
                <a:lnTo>
                  <a:pt x="16" y="56"/>
                </a:lnTo>
                <a:lnTo>
                  <a:pt x="16" y="56"/>
                </a:lnTo>
                <a:lnTo>
                  <a:pt x="16" y="56"/>
                </a:lnTo>
                <a:lnTo>
                  <a:pt x="16" y="56"/>
                </a:lnTo>
                <a:lnTo>
                  <a:pt x="16" y="56"/>
                </a:lnTo>
                <a:lnTo>
                  <a:pt x="16" y="57"/>
                </a:lnTo>
                <a:lnTo>
                  <a:pt x="16" y="57"/>
                </a:lnTo>
                <a:lnTo>
                  <a:pt x="16" y="57"/>
                </a:lnTo>
                <a:lnTo>
                  <a:pt x="16" y="57"/>
                </a:lnTo>
                <a:lnTo>
                  <a:pt x="17" y="57"/>
                </a:lnTo>
                <a:lnTo>
                  <a:pt x="17" y="57"/>
                </a:lnTo>
                <a:lnTo>
                  <a:pt x="17" y="57"/>
                </a:lnTo>
                <a:lnTo>
                  <a:pt x="17" y="57"/>
                </a:lnTo>
                <a:lnTo>
                  <a:pt x="17" y="57"/>
                </a:lnTo>
                <a:lnTo>
                  <a:pt x="17" y="58"/>
                </a:lnTo>
                <a:lnTo>
                  <a:pt x="17" y="58"/>
                </a:lnTo>
                <a:lnTo>
                  <a:pt x="17" y="58"/>
                </a:lnTo>
                <a:lnTo>
                  <a:pt x="17" y="58"/>
                </a:lnTo>
                <a:lnTo>
                  <a:pt x="18" y="58"/>
                </a:lnTo>
                <a:lnTo>
                  <a:pt x="18" y="58"/>
                </a:lnTo>
                <a:lnTo>
                  <a:pt x="18" y="58"/>
                </a:lnTo>
                <a:lnTo>
                  <a:pt x="18" y="58"/>
                </a:lnTo>
                <a:lnTo>
                  <a:pt x="18" y="58"/>
                </a:lnTo>
                <a:lnTo>
                  <a:pt x="18" y="59"/>
                </a:lnTo>
                <a:lnTo>
                  <a:pt x="18" y="59"/>
                </a:lnTo>
                <a:lnTo>
                  <a:pt x="18" y="59"/>
                </a:lnTo>
                <a:lnTo>
                  <a:pt x="19" y="59"/>
                </a:lnTo>
                <a:lnTo>
                  <a:pt x="19" y="59"/>
                </a:lnTo>
                <a:lnTo>
                  <a:pt x="19" y="59"/>
                </a:lnTo>
                <a:lnTo>
                  <a:pt x="19" y="59"/>
                </a:lnTo>
                <a:lnTo>
                  <a:pt x="19" y="59"/>
                </a:lnTo>
                <a:lnTo>
                  <a:pt x="19" y="59"/>
                </a:lnTo>
                <a:lnTo>
                  <a:pt x="19" y="59"/>
                </a:lnTo>
                <a:lnTo>
                  <a:pt x="19" y="61"/>
                </a:lnTo>
                <a:lnTo>
                  <a:pt x="19" y="61"/>
                </a:lnTo>
                <a:lnTo>
                  <a:pt x="21" y="61"/>
                </a:lnTo>
                <a:lnTo>
                  <a:pt x="21" y="61"/>
                </a:lnTo>
                <a:lnTo>
                  <a:pt x="21" y="61"/>
                </a:lnTo>
                <a:lnTo>
                  <a:pt x="21" y="61"/>
                </a:lnTo>
                <a:lnTo>
                  <a:pt x="21" y="61"/>
                </a:lnTo>
                <a:lnTo>
                  <a:pt x="21" y="61"/>
                </a:lnTo>
                <a:lnTo>
                  <a:pt x="21" y="61"/>
                </a:lnTo>
                <a:lnTo>
                  <a:pt x="22" y="61"/>
                </a:lnTo>
                <a:lnTo>
                  <a:pt x="22" y="62"/>
                </a:lnTo>
                <a:lnTo>
                  <a:pt x="22" y="62"/>
                </a:lnTo>
                <a:lnTo>
                  <a:pt x="22" y="62"/>
                </a:lnTo>
                <a:lnTo>
                  <a:pt x="22" y="62"/>
                </a:lnTo>
                <a:lnTo>
                  <a:pt x="22" y="62"/>
                </a:lnTo>
                <a:lnTo>
                  <a:pt x="22" y="62"/>
                </a:lnTo>
                <a:lnTo>
                  <a:pt x="22" y="62"/>
                </a:lnTo>
                <a:lnTo>
                  <a:pt x="23" y="62"/>
                </a:lnTo>
                <a:lnTo>
                  <a:pt x="23" y="62"/>
                </a:lnTo>
                <a:lnTo>
                  <a:pt x="23" y="62"/>
                </a:lnTo>
                <a:lnTo>
                  <a:pt x="23" y="62"/>
                </a:lnTo>
                <a:lnTo>
                  <a:pt x="23" y="63"/>
                </a:lnTo>
                <a:lnTo>
                  <a:pt x="23" y="63"/>
                </a:lnTo>
                <a:lnTo>
                  <a:pt x="23" y="63"/>
                </a:lnTo>
                <a:lnTo>
                  <a:pt x="24" y="63"/>
                </a:lnTo>
                <a:lnTo>
                  <a:pt x="24" y="63"/>
                </a:lnTo>
                <a:lnTo>
                  <a:pt x="24" y="63"/>
                </a:lnTo>
                <a:lnTo>
                  <a:pt x="24" y="63"/>
                </a:lnTo>
                <a:lnTo>
                  <a:pt x="24" y="63"/>
                </a:lnTo>
                <a:lnTo>
                  <a:pt x="24" y="63"/>
                </a:lnTo>
                <a:lnTo>
                  <a:pt x="24" y="63"/>
                </a:lnTo>
                <a:lnTo>
                  <a:pt x="24" y="63"/>
                </a:lnTo>
                <a:lnTo>
                  <a:pt x="25" y="63"/>
                </a:lnTo>
                <a:lnTo>
                  <a:pt x="25" y="63"/>
                </a:lnTo>
                <a:lnTo>
                  <a:pt x="25" y="64"/>
                </a:lnTo>
                <a:lnTo>
                  <a:pt x="25" y="64"/>
                </a:lnTo>
                <a:lnTo>
                  <a:pt x="25" y="64"/>
                </a:lnTo>
                <a:lnTo>
                  <a:pt x="25" y="64"/>
                </a:lnTo>
                <a:lnTo>
                  <a:pt x="25" y="64"/>
                </a:lnTo>
                <a:lnTo>
                  <a:pt x="26" y="64"/>
                </a:lnTo>
                <a:lnTo>
                  <a:pt x="26" y="64"/>
                </a:lnTo>
                <a:lnTo>
                  <a:pt x="26" y="64"/>
                </a:lnTo>
                <a:lnTo>
                  <a:pt x="26" y="64"/>
                </a:lnTo>
                <a:lnTo>
                  <a:pt x="26" y="64"/>
                </a:lnTo>
                <a:lnTo>
                  <a:pt x="26" y="64"/>
                </a:lnTo>
                <a:lnTo>
                  <a:pt x="26" y="64"/>
                </a:lnTo>
                <a:lnTo>
                  <a:pt x="27" y="64"/>
                </a:lnTo>
                <a:lnTo>
                  <a:pt x="27" y="64"/>
                </a:lnTo>
                <a:lnTo>
                  <a:pt x="27" y="64"/>
                </a:lnTo>
                <a:lnTo>
                  <a:pt x="27" y="65"/>
                </a:lnTo>
                <a:lnTo>
                  <a:pt x="27" y="65"/>
                </a:lnTo>
                <a:lnTo>
                  <a:pt x="27" y="65"/>
                </a:lnTo>
                <a:lnTo>
                  <a:pt x="28" y="65"/>
                </a:lnTo>
                <a:lnTo>
                  <a:pt x="28" y="65"/>
                </a:lnTo>
                <a:lnTo>
                  <a:pt x="28" y="65"/>
                </a:lnTo>
                <a:lnTo>
                  <a:pt x="28" y="65"/>
                </a:lnTo>
                <a:lnTo>
                  <a:pt x="28" y="65"/>
                </a:lnTo>
                <a:lnTo>
                  <a:pt x="28" y="65"/>
                </a:lnTo>
                <a:lnTo>
                  <a:pt x="28" y="65"/>
                </a:lnTo>
                <a:lnTo>
                  <a:pt x="30" y="65"/>
                </a:lnTo>
                <a:lnTo>
                  <a:pt x="30" y="65"/>
                </a:lnTo>
                <a:lnTo>
                  <a:pt x="30" y="65"/>
                </a:lnTo>
                <a:lnTo>
                  <a:pt x="30" y="65"/>
                </a:lnTo>
                <a:lnTo>
                  <a:pt x="30" y="65"/>
                </a:lnTo>
                <a:lnTo>
                  <a:pt x="30" y="65"/>
                </a:lnTo>
                <a:lnTo>
                  <a:pt x="31" y="65"/>
                </a:lnTo>
                <a:lnTo>
                  <a:pt x="31" y="65"/>
                </a:lnTo>
                <a:lnTo>
                  <a:pt x="31" y="65"/>
                </a:lnTo>
                <a:lnTo>
                  <a:pt x="31" y="66"/>
                </a:lnTo>
                <a:lnTo>
                  <a:pt x="31" y="66"/>
                </a:lnTo>
                <a:lnTo>
                  <a:pt x="31" y="66"/>
                </a:lnTo>
                <a:lnTo>
                  <a:pt x="31" y="66"/>
                </a:lnTo>
                <a:lnTo>
                  <a:pt x="32" y="66"/>
                </a:lnTo>
                <a:lnTo>
                  <a:pt x="32" y="66"/>
                </a:lnTo>
                <a:lnTo>
                  <a:pt x="32" y="66"/>
                </a:lnTo>
                <a:lnTo>
                  <a:pt x="32" y="66"/>
                </a:lnTo>
                <a:lnTo>
                  <a:pt x="32" y="66"/>
                </a:lnTo>
                <a:lnTo>
                  <a:pt x="32" y="66"/>
                </a:lnTo>
                <a:lnTo>
                  <a:pt x="33" y="66"/>
                </a:lnTo>
                <a:lnTo>
                  <a:pt x="33" y="66"/>
                </a:lnTo>
                <a:lnTo>
                  <a:pt x="33" y="66"/>
                </a:lnTo>
                <a:lnTo>
                  <a:pt x="33" y="66"/>
                </a:lnTo>
                <a:lnTo>
                  <a:pt x="33" y="66"/>
                </a:lnTo>
                <a:lnTo>
                  <a:pt x="33" y="66"/>
                </a:lnTo>
                <a:lnTo>
                  <a:pt x="34" y="66"/>
                </a:lnTo>
                <a:lnTo>
                  <a:pt x="34" y="66"/>
                </a:lnTo>
                <a:lnTo>
                  <a:pt x="34" y="66"/>
                </a:lnTo>
                <a:lnTo>
                  <a:pt x="34" y="66"/>
                </a:lnTo>
                <a:lnTo>
                  <a:pt x="34" y="66"/>
                </a:lnTo>
                <a:lnTo>
                  <a:pt x="34" y="66"/>
                </a:lnTo>
                <a:lnTo>
                  <a:pt x="35" y="66"/>
                </a:lnTo>
                <a:lnTo>
                  <a:pt x="35" y="66"/>
                </a:lnTo>
                <a:lnTo>
                  <a:pt x="35" y="66"/>
                </a:lnTo>
                <a:lnTo>
                  <a:pt x="35" y="66"/>
                </a:lnTo>
                <a:lnTo>
                  <a:pt x="35" y="66"/>
                </a:lnTo>
                <a:lnTo>
                  <a:pt x="35" y="66"/>
                </a:lnTo>
                <a:lnTo>
                  <a:pt x="36" y="66"/>
                </a:lnTo>
                <a:lnTo>
                  <a:pt x="36" y="66"/>
                </a:lnTo>
                <a:lnTo>
                  <a:pt x="36" y="66"/>
                </a:lnTo>
                <a:lnTo>
                  <a:pt x="36" y="66"/>
                </a:lnTo>
                <a:lnTo>
                  <a:pt x="36" y="66"/>
                </a:lnTo>
                <a:lnTo>
                  <a:pt x="36" y="66"/>
                </a:lnTo>
                <a:lnTo>
                  <a:pt x="37" y="66"/>
                </a:lnTo>
                <a:lnTo>
                  <a:pt x="37" y="66"/>
                </a:lnTo>
                <a:lnTo>
                  <a:pt x="37" y="66"/>
                </a:lnTo>
                <a:lnTo>
                  <a:pt x="37" y="66"/>
                </a:lnTo>
                <a:lnTo>
                  <a:pt x="37" y="66"/>
                </a:lnTo>
                <a:lnTo>
                  <a:pt x="37" y="66"/>
                </a:lnTo>
                <a:lnTo>
                  <a:pt x="39" y="66"/>
                </a:lnTo>
                <a:lnTo>
                  <a:pt x="39" y="66"/>
                </a:lnTo>
                <a:lnTo>
                  <a:pt x="39" y="66"/>
                </a:lnTo>
                <a:lnTo>
                  <a:pt x="39" y="66"/>
                </a:lnTo>
                <a:close/>
                <a:moveTo>
                  <a:pt x="76" y="37"/>
                </a:moveTo>
                <a:lnTo>
                  <a:pt x="76" y="37"/>
                </a:lnTo>
                <a:lnTo>
                  <a:pt x="76" y="37"/>
                </a:lnTo>
                <a:lnTo>
                  <a:pt x="76" y="38"/>
                </a:lnTo>
                <a:lnTo>
                  <a:pt x="76" y="38"/>
                </a:lnTo>
                <a:lnTo>
                  <a:pt x="76" y="38"/>
                </a:lnTo>
                <a:lnTo>
                  <a:pt x="76" y="38"/>
                </a:lnTo>
                <a:lnTo>
                  <a:pt x="76" y="39"/>
                </a:lnTo>
                <a:lnTo>
                  <a:pt x="76" y="39"/>
                </a:lnTo>
                <a:lnTo>
                  <a:pt x="76" y="39"/>
                </a:lnTo>
                <a:lnTo>
                  <a:pt x="76" y="39"/>
                </a:lnTo>
                <a:lnTo>
                  <a:pt x="76" y="39"/>
                </a:lnTo>
                <a:lnTo>
                  <a:pt x="76" y="40"/>
                </a:lnTo>
                <a:lnTo>
                  <a:pt x="76" y="40"/>
                </a:lnTo>
                <a:lnTo>
                  <a:pt x="76" y="40"/>
                </a:lnTo>
                <a:lnTo>
                  <a:pt x="76" y="40"/>
                </a:lnTo>
                <a:lnTo>
                  <a:pt x="76" y="40"/>
                </a:lnTo>
                <a:lnTo>
                  <a:pt x="76" y="41"/>
                </a:lnTo>
                <a:lnTo>
                  <a:pt x="76" y="41"/>
                </a:lnTo>
                <a:lnTo>
                  <a:pt x="76" y="41"/>
                </a:lnTo>
                <a:lnTo>
                  <a:pt x="76" y="41"/>
                </a:lnTo>
                <a:lnTo>
                  <a:pt x="76" y="43"/>
                </a:lnTo>
                <a:lnTo>
                  <a:pt x="76" y="43"/>
                </a:lnTo>
                <a:lnTo>
                  <a:pt x="76" y="43"/>
                </a:lnTo>
                <a:lnTo>
                  <a:pt x="76" y="43"/>
                </a:lnTo>
                <a:lnTo>
                  <a:pt x="76" y="43"/>
                </a:lnTo>
                <a:lnTo>
                  <a:pt x="76" y="44"/>
                </a:lnTo>
                <a:lnTo>
                  <a:pt x="76" y="44"/>
                </a:lnTo>
                <a:lnTo>
                  <a:pt x="76" y="44"/>
                </a:lnTo>
                <a:lnTo>
                  <a:pt x="76" y="44"/>
                </a:lnTo>
                <a:lnTo>
                  <a:pt x="76" y="44"/>
                </a:lnTo>
                <a:lnTo>
                  <a:pt x="76" y="45"/>
                </a:lnTo>
                <a:lnTo>
                  <a:pt x="76" y="45"/>
                </a:lnTo>
                <a:lnTo>
                  <a:pt x="76" y="45"/>
                </a:lnTo>
                <a:lnTo>
                  <a:pt x="75" y="45"/>
                </a:lnTo>
                <a:lnTo>
                  <a:pt x="75" y="45"/>
                </a:lnTo>
                <a:lnTo>
                  <a:pt x="75" y="46"/>
                </a:lnTo>
                <a:lnTo>
                  <a:pt x="75" y="46"/>
                </a:lnTo>
                <a:lnTo>
                  <a:pt x="75" y="46"/>
                </a:lnTo>
                <a:lnTo>
                  <a:pt x="75" y="46"/>
                </a:lnTo>
                <a:lnTo>
                  <a:pt x="75" y="46"/>
                </a:lnTo>
                <a:lnTo>
                  <a:pt x="75" y="47"/>
                </a:lnTo>
                <a:lnTo>
                  <a:pt x="75" y="47"/>
                </a:lnTo>
                <a:lnTo>
                  <a:pt x="75" y="47"/>
                </a:lnTo>
                <a:lnTo>
                  <a:pt x="75" y="47"/>
                </a:lnTo>
                <a:lnTo>
                  <a:pt x="75" y="47"/>
                </a:lnTo>
                <a:lnTo>
                  <a:pt x="75" y="48"/>
                </a:lnTo>
                <a:lnTo>
                  <a:pt x="75" y="48"/>
                </a:lnTo>
                <a:lnTo>
                  <a:pt x="75" y="48"/>
                </a:lnTo>
                <a:lnTo>
                  <a:pt x="75" y="48"/>
                </a:lnTo>
                <a:lnTo>
                  <a:pt x="75" y="48"/>
                </a:lnTo>
                <a:lnTo>
                  <a:pt x="75" y="49"/>
                </a:lnTo>
                <a:lnTo>
                  <a:pt x="75" y="49"/>
                </a:lnTo>
                <a:lnTo>
                  <a:pt x="73" y="49"/>
                </a:lnTo>
                <a:lnTo>
                  <a:pt x="73" y="49"/>
                </a:lnTo>
                <a:lnTo>
                  <a:pt x="73" y="49"/>
                </a:lnTo>
                <a:lnTo>
                  <a:pt x="73" y="50"/>
                </a:lnTo>
                <a:lnTo>
                  <a:pt x="73" y="50"/>
                </a:lnTo>
                <a:lnTo>
                  <a:pt x="73" y="50"/>
                </a:lnTo>
                <a:lnTo>
                  <a:pt x="73" y="50"/>
                </a:lnTo>
                <a:lnTo>
                  <a:pt x="73" y="50"/>
                </a:lnTo>
                <a:lnTo>
                  <a:pt x="73" y="50"/>
                </a:lnTo>
                <a:lnTo>
                  <a:pt x="73" y="52"/>
                </a:lnTo>
                <a:lnTo>
                  <a:pt x="73" y="52"/>
                </a:lnTo>
                <a:lnTo>
                  <a:pt x="73" y="52"/>
                </a:lnTo>
                <a:lnTo>
                  <a:pt x="73" y="52"/>
                </a:lnTo>
                <a:lnTo>
                  <a:pt x="72" y="52"/>
                </a:lnTo>
                <a:lnTo>
                  <a:pt x="72" y="53"/>
                </a:lnTo>
                <a:lnTo>
                  <a:pt x="72" y="53"/>
                </a:lnTo>
                <a:lnTo>
                  <a:pt x="72" y="53"/>
                </a:lnTo>
                <a:lnTo>
                  <a:pt x="72" y="53"/>
                </a:lnTo>
                <a:lnTo>
                  <a:pt x="72" y="53"/>
                </a:lnTo>
                <a:lnTo>
                  <a:pt x="72" y="54"/>
                </a:lnTo>
                <a:lnTo>
                  <a:pt x="72" y="54"/>
                </a:lnTo>
                <a:lnTo>
                  <a:pt x="72" y="54"/>
                </a:lnTo>
                <a:lnTo>
                  <a:pt x="72" y="54"/>
                </a:lnTo>
                <a:lnTo>
                  <a:pt x="72" y="54"/>
                </a:lnTo>
                <a:lnTo>
                  <a:pt x="72" y="54"/>
                </a:lnTo>
                <a:lnTo>
                  <a:pt x="71" y="55"/>
                </a:lnTo>
                <a:lnTo>
                  <a:pt x="71" y="55"/>
                </a:lnTo>
                <a:lnTo>
                  <a:pt x="71" y="55"/>
                </a:lnTo>
                <a:lnTo>
                  <a:pt x="71" y="55"/>
                </a:lnTo>
                <a:lnTo>
                  <a:pt x="71" y="55"/>
                </a:lnTo>
                <a:lnTo>
                  <a:pt x="71" y="56"/>
                </a:lnTo>
                <a:lnTo>
                  <a:pt x="71" y="56"/>
                </a:lnTo>
                <a:lnTo>
                  <a:pt x="71" y="56"/>
                </a:lnTo>
                <a:lnTo>
                  <a:pt x="71" y="56"/>
                </a:lnTo>
                <a:lnTo>
                  <a:pt x="71" y="56"/>
                </a:lnTo>
                <a:lnTo>
                  <a:pt x="70" y="56"/>
                </a:lnTo>
                <a:lnTo>
                  <a:pt x="70" y="57"/>
                </a:lnTo>
                <a:lnTo>
                  <a:pt x="70" y="57"/>
                </a:lnTo>
                <a:lnTo>
                  <a:pt x="70" y="57"/>
                </a:lnTo>
                <a:lnTo>
                  <a:pt x="70" y="57"/>
                </a:lnTo>
                <a:lnTo>
                  <a:pt x="70" y="57"/>
                </a:lnTo>
                <a:lnTo>
                  <a:pt x="70" y="57"/>
                </a:lnTo>
                <a:lnTo>
                  <a:pt x="70" y="58"/>
                </a:lnTo>
                <a:lnTo>
                  <a:pt x="70" y="58"/>
                </a:lnTo>
                <a:lnTo>
                  <a:pt x="69" y="58"/>
                </a:lnTo>
                <a:lnTo>
                  <a:pt x="69" y="58"/>
                </a:lnTo>
                <a:lnTo>
                  <a:pt x="69" y="58"/>
                </a:lnTo>
                <a:lnTo>
                  <a:pt x="69" y="58"/>
                </a:lnTo>
                <a:lnTo>
                  <a:pt x="69" y="59"/>
                </a:lnTo>
                <a:lnTo>
                  <a:pt x="69" y="59"/>
                </a:lnTo>
                <a:lnTo>
                  <a:pt x="69" y="59"/>
                </a:lnTo>
                <a:lnTo>
                  <a:pt x="69" y="59"/>
                </a:lnTo>
                <a:lnTo>
                  <a:pt x="69" y="59"/>
                </a:lnTo>
                <a:lnTo>
                  <a:pt x="68" y="59"/>
                </a:lnTo>
                <a:lnTo>
                  <a:pt x="68" y="61"/>
                </a:lnTo>
                <a:lnTo>
                  <a:pt x="68" y="61"/>
                </a:lnTo>
                <a:lnTo>
                  <a:pt x="68" y="61"/>
                </a:lnTo>
                <a:lnTo>
                  <a:pt x="68" y="61"/>
                </a:lnTo>
                <a:lnTo>
                  <a:pt x="68" y="61"/>
                </a:lnTo>
                <a:lnTo>
                  <a:pt x="68" y="61"/>
                </a:lnTo>
                <a:lnTo>
                  <a:pt x="67" y="61"/>
                </a:lnTo>
                <a:lnTo>
                  <a:pt x="67" y="62"/>
                </a:lnTo>
                <a:lnTo>
                  <a:pt x="67" y="62"/>
                </a:lnTo>
                <a:lnTo>
                  <a:pt x="67" y="62"/>
                </a:lnTo>
                <a:lnTo>
                  <a:pt x="67" y="62"/>
                </a:lnTo>
                <a:lnTo>
                  <a:pt x="67" y="62"/>
                </a:lnTo>
                <a:lnTo>
                  <a:pt x="67" y="62"/>
                </a:lnTo>
                <a:lnTo>
                  <a:pt x="67" y="63"/>
                </a:lnTo>
                <a:lnTo>
                  <a:pt x="66" y="63"/>
                </a:lnTo>
                <a:lnTo>
                  <a:pt x="66" y="63"/>
                </a:lnTo>
                <a:lnTo>
                  <a:pt x="66" y="63"/>
                </a:lnTo>
                <a:lnTo>
                  <a:pt x="66" y="63"/>
                </a:lnTo>
                <a:lnTo>
                  <a:pt x="66" y="63"/>
                </a:lnTo>
                <a:lnTo>
                  <a:pt x="66" y="63"/>
                </a:lnTo>
                <a:lnTo>
                  <a:pt x="66" y="64"/>
                </a:lnTo>
                <a:lnTo>
                  <a:pt x="64" y="64"/>
                </a:lnTo>
                <a:lnTo>
                  <a:pt x="64" y="64"/>
                </a:lnTo>
                <a:lnTo>
                  <a:pt x="64" y="64"/>
                </a:lnTo>
                <a:lnTo>
                  <a:pt x="64" y="64"/>
                </a:lnTo>
                <a:lnTo>
                  <a:pt x="64" y="64"/>
                </a:lnTo>
                <a:lnTo>
                  <a:pt x="64" y="64"/>
                </a:lnTo>
                <a:lnTo>
                  <a:pt x="64" y="65"/>
                </a:lnTo>
                <a:lnTo>
                  <a:pt x="63" y="65"/>
                </a:lnTo>
                <a:lnTo>
                  <a:pt x="63" y="65"/>
                </a:lnTo>
                <a:lnTo>
                  <a:pt x="63" y="65"/>
                </a:lnTo>
                <a:lnTo>
                  <a:pt x="63" y="65"/>
                </a:lnTo>
                <a:lnTo>
                  <a:pt x="63" y="65"/>
                </a:lnTo>
                <a:lnTo>
                  <a:pt x="63" y="65"/>
                </a:lnTo>
                <a:lnTo>
                  <a:pt x="63" y="65"/>
                </a:lnTo>
                <a:lnTo>
                  <a:pt x="62" y="66"/>
                </a:lnTo>
                <a:lnTo>
                  <a:pt x="62" y="66"/>
                </a:lnTo>
                <a:lnTo>
                  <a:pt x="62" y="66"/>
                </a:lnTo>
                <a:lnTo>
                  <a:pt x="62" y="66"/>
                </a:lnTo>
                <a:lnTo>
                  <a:pt x="62" y="66"/>
                </a:lnTo>
                <a:lnTo>
                  <a:pt x="62" y="66"/>
                </a:lnTo>
                <a:lnTo>
                  <a:pt x="61" y="66"/>
                </a:lnTo>
                <a:lnTo>
                  <a:pt x="61" y="66"/>
                </a:lnTo>
                <a:lnTo>
                  <a:pt x="61" y="67"/>
                </a:lnTo>
                <a:lnTo>
                  <a:pt x="61" y="67"/>
                </a:lnTo>
                <a:lnTo>
                  <a:pt x="61" y="67"/>
                </a:lnTo>
                <a:lnTo>
                  <a:pt x="61" y="67"/>
                </a:lnTo>
                <a:lnTo>
                  <a:pt x="61" y="67"/>
                </a:lnTo>
                <a:lnTo>
                  <a:pt x="60" y="67"/>
                </a:lnTo>
                <a:lnTo>
                  <a:pt x="60" y="67"/>
                </a:lnTo>
                <a:lnTo>
                  <a:pt x="60" y="67"/>
                </a:lnTo>
                <a:lnTo>
                  <a:pt x="60" y="68"/>
                </a:lnTo>
                <a:lnTo>
                  <a:pt x="60" y="68"/>
                </a:lnTo>
                <a:lnTo>
                  <a:pt x="60" y="68"/>
                </a:lnTo>
                <a:lnTo>
                  <a:pt x="59" y="68"/>
                </a:lnTo>
                <a:lnTo>
                  <a:pt x="59" y="68"/>
                </a:lnTo>
                <a:lnTo>
                  <a:pt x="59" y="68"/>
                </a:lnTo>
                <a:lnTo>
                  <a:pt x="59" y="68"/>
                </a:lnTo>
                <a:lnTo>
                  <a:pt x="59" y="68"/>
                </a:lnTo>
                <a:lnTo>
                  <a:pt x="59" y="68"/>
                </a:lnTo>
                <a:lnTo>
                  <a:pt x="58" y="70"/>
                </a:lnTo>
                <a:lnTo>
                  <a:pt x="58" y="70"/>
                </a:lnTo>
                <a:lnTo>
                  <a:pt x="58" y="70"/>
                </a:lnTo>
                <a:lnTo>
                  <a:pt x="58" y="70"/>
                </a:lnTo>
                <a:lnTo>
                  <a:pt x="58" y="70"/>
                </a:lnTo>
                <a:lnTo>
                  <a:pt x="57" y="70"/>
                </a:lnTo>
                <a:lnTo>
                  <a:pt x="57" y="70"/>
                </a:lnTo>
                <a:lnTo>
                  <a:pt x="57" y="70"/>
                </a:lnTo>
                <a:lnTo>
                  <a:pt x="57" y="70"/>
                </a:lnTo>
                <a:lnTo>
                  <a:pt x="57" y="70"/>
                </a:lnTo>
                <a:lnTo>
                  <a:pt x="57" y="71"/>
                </a:lnTo>
                <a:lnTo>
                  <a:pt x="55" y="71"/>
                </a:lnTo>
                <a:lnTo>
                  <a:pt x="55" y="71"/>
                </a:lnTo>
                <a:lnTo>
                  <a:pt x="55" y="71"/>
                </a:lnTo>
                <a:lnTo>
                  <a:pt x="55" y="71"/>
                </a:lnTo>
                <a:lnTo>
                  <a:pt x="55" y="71"/>
                </a:lnTo>
                <a:lnTo>
                  <a:pt x="55" y="71"/>
                </a:lnTo>
                <a:lnTo>
                  <a:pt x="54" y="71"/>
                </a:lnTo>
                <a:lnTo>
                  <a:pt x="54" y="71"/>
                </a:lnTo>
                <a:lnTo>
                  <a:pt x="54" y="71"/>
                </a:lnTo>
                <a:lnTo>
                  <a:pt x="54" y="71"/>
                </a:lnTo>
                <a:lnTo>
                  <a:pt x="54" y="72"/>
                </a:lnTo>
                <a:lnTo>
                  <a:pt x="53" y="72"/>
                </a:lnTo>
                <a:lnTo>
                  <a:pt x="53" y="72"/>
                </a:lnTo>
                <a:lnTo>
                  <a:pt x="53" y="72"/>
                </a:lnTo>
                <a:lnTo>
                  <a:pt x="53" y="72"/>
                </a:lnTo>
                <a:lnTo>
                  <a:pt x="53" y="72"/>
                </a:lnTo>
                <a:lnTo>
                  <a:pt x="52" y="72"/>
                </a:lnTo>
                <a:lnTo>
                  <a:pt x="52" y="72"/>
                </a:lnTo>
                <a:lnTo>
                  <a:pt x="52" y="72"/>
                </a:lnTo>
                <a:lnTo>
                  <a:pt x="52" y="72"/>
                </a:lnTo>
                <a:lnTo>
                  <a:pt x="52" y="72"/>
                </a:lnTo>
                <a:lnTo>
                  <a:pt x="52" y="72"/>
                </a:lnTo>
                <a:lnTo>
                  <a:pt x="51" y="72"/>
                </a:lnTo>
                <a:lnTo>
                  <a:pt x="51" y="73"/>
                </a:lnTo>
                <a:lnTo>
                  <a:pt x="51" y="73"/>
                </a:lnTo>
                <a:lnTo>
                  <a:pt x="51" y="73"/>
                </a:lnTo>
                <a:lnTo>
                  <a:pt x="51" y="73"/>
                </a:lnTo>
                <a:lnTo>
                  <a:pt x="50" y="73"/>
                </a:lnTo>
                <a:lnTo>
                  <a:pt x="50" y="73"/>
                </a:lnTo>
                <a:lnTo>
                  <a:pt x="50" y="73"/>
                </a:lnTo>
                <a:lnTo>
                  <a:pt x="50" y="73"/>
                </a:lnTo>
                <a:lnTo>
                  <a:pt x="50" y="73"/>
                </a:lnTo>
                <a:lnTo>
                  <a:pt x="49" y="73"/>
                </a:lnTo>
                <a:lnTo>
                  <a:pt x="49" y="73"/>
                </a:lnTo>
                <a:lnTo>
                  <a:pt x="49" y="73"/>
                </a:lnTo>
                <a:lnTo>
                  <a:pt x="49" y="73"/>
                </a:lnTo>
                <a:lnTo>
                  <a:pt x="49" y="73"/>
                </a:lnTo>
                <a:lnTo>
                  <a:pt x="48" y="73"/>
                </a:lnTo>
                <a:lnTo>
                  <a:pt x="48" y="73"/>
                </a:lnTo>
                <a:lnTo>
                  <a:pt x="48" y="73"/>
                </a:lnTo>
                <a:lnTo>
                  <a:pt x="48" y="74"/>
                </a:lnTo>
                <a:lnTo>
                  <a:pt x="48" y="74"/>
                </a:lnTo>
                <a:lnTo>
                  <a:pt x="46" y="74"/>
                </a:lnTo>
                <a:lnTo>
                  <a:pt x="46" y="74"/>
                </a:lnTo>
                <a:lnTo>
                  <a:pt x="46" y="74"/>
                </a:lnTo>
                <a:lnTo>
                  <a:pt x="46" y="74"/>
                </a:lnTo>
                <a:lnTo>
                  <a:pt x="46" y="74"/>
                </a:lnTo>
                <a:lnTo>
                  <a:pt x="45" y="74"/>
                </a:lnTo>
                <a:lnTo>
                  <a:pt x="45" y="74"/>
                </a:lnTo>
                <a:lnTo>
                  <a:pt x="45" y="74"/>
                </a:lnTo>
                <a:lnTo>
                  <a:pt x="45" y="74"/>
                </a:lnTo>
                <a:lnTo>
                  <a:pt x="45" y="74"/>
                </a:lnTo>
                <a:lnTo>
                  <a:pt x="44" y="74"/>
                </a:lnTo>
                <a:lnTo>
                  <a:pt x="44" y="74"/>
                </a:lnTo>
                <a:lnTo>
                  <a:pt x="44" y="74"/>
                </a:lnTo>
                <a:lnTo>
                  <a:pt x="44" y="74"/>
                </a:lnTo>
                <a:lnTo>
                  <a:pt x="44" y="74"/>
                </a:lnTo>
                <a:lnTo>
                  <a:pt x="43" y="74"/>
                </a:lnTo>
                <a:lnTo>
                  <a:pt x="43" y="74"/>
                </a:lnTo>
                <a:lnTo>
                  <a:pt x="43" y="74"/>
                </a:lnTo>
                <a:lnTo>
                  <a:pt x="43" y="74"/>
                </a:lnTo>
                <a:lnTo>
                  <a:pt x="42" y="74"/>
                </a:lnTo>
                <a:lnTo>
                  <a:pt x="42" y="74"/>
                </a:lnTo>
                <a:lnTo>
                  <a:pt x="42" y="74"/>
                </a:lnTo>
                <a:lnTo>
                  <a:pt x="42" y="74"/>
                </a:lnTo>
                <a:lnTo>
                  <a:pt x="42" y="74"/>
                </a:lnTo>
                <a:lnTo>
                  <a:pt x="41" y="74"/>
                </a:lnTo>
                <a:lnTo>
                  <a:pt x="41" y="74"/>
                </a:lnTo>
                <a:lnTo>
                  <a:pt x="41" y="74"/>
                </a:lnTo>
                <a:lnTo>
                  <a:pt x="41" y="74"/>
                </a:lnTo>
                <a:lnTo>
                  <a:pt x="41" y="74"/>
                </a:lnTo>
                <a:lnTo>
                  <a:pt x="40" y="74"/>
                </a:lnTo>
                <a:lnTo>
                  <a:pt x="40" y="74"/>
                </a:lnTo>
                <a:lnTo>
                  <a:pt x="40" y="74"/>
                </a:lnTo>
                <a:lnTo>
                  <a:pt x="40" y="74"/>
                </a:lnTo>
                <a:lnTo>
                  <a:pt x="40" y="74"/>
                </a:lnTo>
                <a:lnTo>
                  <a:pt x="39" y="74"/>
                </a:lnTo>
                <a:lnTo>
                  <a:pt x="39" y="74"/>
                </a:lnTo>
                <a:lnTo>
                  <a:pt x="39" y="74"/>
                </a:lnTo>
                <a:lnTo>
                  <a:pt x="39" y="74"/>
                </a:lnTo>
                <a:lnTo>
                  <a:pt x="37" y="74"/>
                </a:lnTo>
                <a:lnTo>
                  <a:pt x="37" y="74"/>
                </a:lnTo>
                <a:lnTo>
                  <a:pt x="37" y="74"/>
                </a:lnTo>
                <a:lnTo>
                  <a:pt x="37" y="74"/>
                </a:lnTo>
                <a:lnTo>
                  <a:pt x="37" y="74"/>
                </a:lnTo>
                <a:lnTo>
                  <a:pt x="36" y="74"/>
                </a:lnTo>
                <a:lnTo>
                  <a:pt x="36" y="74"/>
                </a:lnTo>
                <a:lnTo>
                  <a:pt x="36" y="74"/>
                </a:lnTo>
                <a:lnTo>
                  <a:pt x="36" y="74"/>
                </a:lnTo>
                <a:lnTo>
                  <a:pt x="36" y="74"/>
                </a:lnTo>
                <a:lnTo>
                  <a:pt x="35" y="74"/>
                </a:lnTo>
                <a:lnTo>
                  <a:pt x="35" y="74"/>
                </a:lnTo>
                <a:lnTo>
                  <a:pt x="35" y="74"/>
                </a:lnTo>
                <a:lnTo>
                  <a:pt x="35" y="74"/>
                </a:lnTo>
                <a:lnTo>
                  <a:pt x="34" y="74"/>
                </a:lnTo>
                <a:lnTo>
                  <a:pt x="34" y="74"/>
                </a:lnTo>
                <a:lnTo>
                  <a:pt x="34" y="74"/>
                </a:lnTo>
                <a:lnTo>
                  <a:pt x="34" y="74"/>
                </a:lnTo>
                <a:lnTo>
                  <a:pt x="34" y="74"/>
                </a:lnTo>
                <a:lnTo>
                  <a:pt x="33" y="74"/>
                </a:lnTo>
                <a:lnTo>
                  <a:pt x="33" y="74"/>
                </a:lnTo>
                <a:lnTo>
                  <a:pt x="33" y="74"/>
                </a:lnTo>
                <a:lnTo>
                  <a:pt x="33" y="74"/>
                </a:lnTo>
                <a:lnTo>
                  <a:pt x="33" y="74"/>
                </a:lnTo>
                <a:lnTo>
                  <a:pt x="32" y="74"/>
                </a:lnTo>
                <a:lnTo>
                  <a:pt x="32" y="74"/>
                </a:lnTo>
                <a:lnTo>
                  <a:pt x="32" y="74"/>
                </a:lnTo>
                <a:lnTo>
                  <a:pt x="32" y="74"/>
                </a:lnTo>
                <a:lnTo>
                  <a:pt x="32" y="74"/>
                </a:lnTo>
                <a:lnTo>
                  <a:pt x="31" y="74"/>
                </a:lnTo>
                <a:lnTo>
                  <a:pt x="31" y="74"/>
                </a:lnTo>
                <a:lnTo>
                  <a:pt x="31" y="74"/>
                </a:lnTo>
                <a:lnTo>
                  <a:pt x="31" y="74"/>
                </a:lnTo>
                <a:lnTo>
                  <a:pt x="31" y="74"/>
                </a:lnTo>
                <a:lnTo>
                  <a:pt x="30" y="74"/>
                </a:lnTo>
                <a:lnTo>
                  <a:pt x="30" y="74"/>
                </a:lnTo>
                <a:lnTo>
                  <a:pt x="30" y="74"/>
                </a:lnTo>
                <a:lnTo>
                  <a:pt x="30" y="73"/>
                </a:lnTo>
                <a:lnTo>
                  <a:pt x="30" y="73"/>
                </a:lnTo>
                <a:lnTo>
                  <a:pt x="28" y="73"/>
                </a:lnTo>
                <a:lnTo>
                  <a:pt x="28" y="73"/>
                </a:lnTo>
                <a:lnTo>
                  <a:pt x="28" y="73"/>
                </a:lnTo>
                <a:lnTo>
                  <a:pt x="28" y="73"/>
                </a:lnTo>
                <a:lnTo>
                  <a:pt x="28" y="73"/>
                </a:lnTo>
                <a:lnTo>
                  <a:pt x="27" y="73"/>
                </a:lnTo>
                <a:lnTo>
                  <a:pt x="27" y="73"/>
                </a:lnTo>
                <a:lnTo>
                  <a:pt x="27" y="73"/>
                </a:lnTo>
                <a:lnTo>
                  <a:pt x="27" y="73"/>
                </a:lnTo>
                <a:lnTo>
                  <a:pt x="27" y="73"/>
                </a:lnTo>
                <a:lnTo>
                  <a:pt x="26" y="73"/>
                </a:lnTo>
                <a:lnTo>
                  <a:pt x="26" y="73"/>
                </a:lnTo>
                <a:lnTo>
                  <a:pt x="26" y="73"/>
                </a:lnTo>
                <a:lnTo>
                  <a:pt x="26" y="73"/>
                </a:lnTo>
                <a:lnTo>
                  <a:pt x="26" y="73"/>
                </a:lnTo>
                <a:lnTo>
                  <a:pt x="25" y="72"/>
                </a:lnTo>
                <a:lnTo>
                  <a:pt x="25" y="72"/>
                </a:lnTo>
                <a:lnTo>
                  <a:pt x="25" y="72"/>
                </a:lnTo>
                <a:lnTo>
                  <a:pt x="25" y="72"/>
                </a:lnTo>
                <a:lnTo>
                  <a:pt x="25" y="72"/>
                </a:lnTo>
                <a:lnTo>
                  <a:pt x="24" y="72"/>
                </a:lnTo>
                <a:lnTo>
                  <a:pt x="24" y="72"/>
                </a:lnTo>
                <a:lnTo>
                  <a:pt x="24" y="72"/>
                </a:lnTo>
                <a:lnTo>
                  <a:pt x="24" y="72"/>
                </a:lnTo>
                <a:lnTo>
                  <a:pt x="24" y="72"/>
                </a:lnTo>
                <a:lnTo>
                  <a:pt x="24" y="72"/>
                </a:lnTo>
                <a:lnTo>
                  <a:pt x="23" y="72"/>
                </a:lnTo>
                <a:lnTo>
                  <a:pt x="23" y="72"/>
                </a:lnTo>
                <a:lnTo>
                  <a:pt x="23" y="71"/>
                </a:lnTo>
                <a:lnTo>
                  <a:pt x="23" y="71"/>
                </a:lnTo>
                <a:lnTo>
                  <a:pt x="23" y="71"/>
                </a:lnTo>
                <a:lnTo>
                  <a:pt x="22" y="71"/>
                </a:lnTo>
                <a:lnTo>
                  <a:pt x="22" y="71"/>
                </a:lnTo>
                <a:lnTo>
                  <a:pt x="22" y="71"/>
                </a:lnTo>
                <a:lnTo>
                  <a:pt x="22" y="71"/>
                </a:lnTo>
                <a:lnTo>
                  <a:pt x="22" y="71"/>
                </a:lnTo>
                <a:lnTo>
                  <a:pt x="22" y="71"/>
                </a:lnTo>
                <a:lnTo>
                  <a:pt x="21" y="71"/>
                </a:lnTo>
                <a:lnTo>
                  <a:pt x="21" y="71"/>
                </a:lnTo>
                <a:lnTo>
                  <a:pt x="21" y="70"/>
                </a:lnTo>
                <a:lnTo>
                  <a:pt x="21" y="70"/>
                </a:lnTo>
                <a:lnTo>
                  <a:pt x="21" y="70"/>
                </a:lnTo>
                <a:lnTo>
                  <a:pt x="19" y="70"/>
                </a:lnTo>
                <a:lnTo>
                  <a:pt x="19" y="70"/>
                </a:lnTo>
                <a:lnTo>
                  <a:pt x="19" y="70"/>
                </a:lnTo>
                <a:lnTo>
                  <a:pt x="19" y="70"/>
                </a:lnTo>
                <a:lnTo>
                  <a:pt x="19" y="70"/>
                </a:lnTo>
                <a:lnTo>
                  <a:pt x="19" y="70"/>
                </a:lnTo>
                <a:lnTo>
                  <a:pt x="18" y="70"/>
                </a:lnTo>
                <a:lnTo>
                  <a:pt x="18" y="68"/>
                </a:lnTo>
                <a:lnTo>
                  <a:pt x="18" y="68"/>
                </a:lnTo>
                <a:lnTo>
                  <a:pt x="18" y="68"/>
                </a:lnTo>
                <a:lnTo>
                  <a:pt x="18" y="68"/>
                </a:lnTo>
                <a:lnTo>
                  <a:pt x="18" y="68"/>
                </a:lnTo>
                <a:lnTo>
                  <a:pt x="17" y="68"/>
                </a:lnTo>
                <a:lnTo>
                  <a:pt x="17" y="68"/>
                </a:lnTo>
                <a:lnTo>
                  <a:pt x="17" y="68"/>
                </a:lnTo>
                <a:lnTo>
                  <a:pt x="17" y="68"/>
                </a:lnTo>
                <a:lnTo>
                  <a:pt x="17" y="67"/>
                </a:lnTo>
                <a:lnTo>
                  <a:pt x="17" y="67"/>
                </a:lnTo>
                <a:lnTo>
                  <a:pt x="16" y="67"/>
                </a:lnTo>
                <a:lnTo>
                  <a:pt x="16" y="67"/>
                </a:lnTo>
                <a:lnTo>
                  <a:pt x="16" y="67"/>
                </a:lnTo>
                <a:lnTo>
                  <a:pt x="16" y="67"/>
                </a:lnTo>
                <a:lnTo>
                  <a:pt x="16" y="67"/>
                </a:lnTo>
                <a:lnTo>
                  <a:pt x="16" y="67"/>
                </a:lnTo>
                <a:lnTo>
                  <a:pt x="15" y="66"/>
                </a:lnTo>
                <a:lnTo>
                  <a:pt x="15" y="66"/>
                </a:lnTo>
                <a:lnTo>
                  <a:pt x="15" y="66"/>
                </a:lnTo>
                <a:lnTo>
                  <a:pt x="15" y="66"/>
                </a:lnTo>
                <a:lnTo>
                  <a:pt x="15" y="66"/>
                </a:lnTo>
                <a:lnTo>
                  <a:pt x="15" y="66"/>
                </a:lnTo>
                <a:lnTo>
                  <a:pt x="14" y="66"/>
                </a:lnTo>
                <a:lnTo>
                  <a:pt x="14" y="66"/>
                </a:lnTo>
                <a:lnTo>
                  <a:pt x="14" y="65"/>
                </a:lnTo>
                <a:lnTo>
                  <a:pt x="14" y="65"/>
                </a:lnTo>
                <a:lnTo>
                  <a:pt x="14" y="65"/>
                </a:lnTo>
                <a:lnTo>
                  <a:pt x="14" y="65"/>
                </a:lnTo>
                <a:lnTo>
                  <a:pt x="14" y="65"/>
                </a:lnTo>
                <a:lnTo>
                  <a:pt x="13" y="65"/>
                </a:lnTo>
                <a:lnTo>
                  <a:pt x="13" y="65"/>
                </a:lnTo>
                <a:lnTo>
                  <a:pt x="13" y="65"/>
                </a:lnTo>
                <a:lnTo>
                  <a:pt x="13" y="64"/>
                </a:lnTo>
                <a:lnTo>
                  <a:pt x="13" y="64"/>
                </a:lnTo>
                <a:lnTo>
                  <a:pt x="13" y="64"/>
                </a:lnTo>
                <a:lnTo>
                  <a:pt x="13" y="64"/>
                </a:lnTo>
                <a:lnTo>
                  <a:pt x="12" y="64"/>
                </a:lnTo>
                <a:lnTo>
                  <a:pt x="12" y="64"/>
                </a:lnTo>
                <a:lnTo>
                  <a:pt x="12" y="64"/>
                </a:lnTo>
                <a:lnTo>
                  <a:pt x="12" y="63"/>
                </a:lnTo>
                <a:lnTo>
                  <a:pt x="12" y="63"/>
                </a:lnTo>
                <a:lnTo>
                  <a:pt x="12" y="63"/>
                </a:lnTo>
                <a:lnTo>
                  <a:pt x="12" y="63"/>
                </a:lnTo>
                <a:lnTo>
                  <a:pt x="10" y="63"/>
                </a:lnTo>
                <a:lnTo>
                  <a:pt x="10" y="63"/>
                </a:lnTo>
                <a:lnTo>
                  <a:pt x="10" y="63"/>
                </a:lnTo>
                <a:lnTo>
                  <a:pt x="10" y="62"/>
                </a:lnTo>
                <a:lnTo>
                  <a:pt x="10" y="62"/>
                </a:lnTo>
                <a:lnTo>
                  <a:pt x="10" y="62"/>
                </a:lnTo>
                <a:lnTo>
                  <a:pt x="10" y="62"/>
                </a:lnTo>
                <a:lnTo>
                  <a:pt x="10" y="62"/>
                </a:lnTo>
                <a:lnTo>
                  <a:pt x="9" y="62"/>
                </a:lnTo>
                <a:lnTo>
                  <a:pt x="9" y="61"/>
                </a:lnTo>
                <a:lnTo>
                  <a:pt x="9" y="61"/>
                </a:lnTo>
                <a:lnTo>
                  <a:pt x="9" y="61"/>
                </a:lnTo>
                <a:lnTo>
                  <a:pt x="9" y="61"/>
                </a:lnTo>
                <a:lnTo>
                  <a:pt x="9" y="61"/>
                </a:lnTo>
                <a:lnTo>
                  <a:pt x="9" y="61"/>
                </a:lnTo>
                <a:lnTo>
                  <a:pt x="8" y="61"/>
                </a:lnTo>
                <a:lnTo>
                  <a:pt x="8" y="59"/>
                </a:lnTo>
                <a:lnTo>
                  <a:pt x="8" y="59"/>
                </a:lnTo>
                <a:lnTo>
                  <a:pt x="8" y="59"/>
                </a:lnTo>
                <a:lnTo>
                  <a:pt x="8" y="59"/>
                </a:lnTo>
                <a:lnTo>
                  <a:pt x="8" y="59"/>
                </a:lnTo>
                <a:lnTo>
                  <a:pt x="8" y="59"/>
                </a:lnTo>
                <a:lnTo>
                  <a:pt x="8" y="58"/>
                </a:lnTo>
                <a:lnTo>
                  <a:pt x="8" y="58"/>
                </a:lnTo>
                <a:lnTo>
                  <a:pt x="7" y="58"/>
                </a:lnTo>
                <a:lnTo>
                  <a:pt x="7" y="58"/>
                </a:lnTo>
                <a:lnTo>
                  <a:pt x="7" y="58"/>
                </a:lnTo>
                <a:lnTo>
                  <a:pt x="7" y="58"/>
                </a:lnTo>
                <a:lnTo>
                  <a:pt x="7" y="57"/>
                </a:lnTo>
                <a:lnTo>
                  <a:pt x="7" y="57"/>
                </a:lnTo>
                <a:lnTo>
                  <a:pt x="7" y="57"/>
                </a:lnTo>
                <a:lnTo>
                  <a:pt x="7" y="57"/>
                </a:lnTo>
                <a:lnTo>
                  <a:pt x="7" y="57"/>
                </a:lnTo>
                <a:lnTo>
                  <a:pt x="6" y="57"/>
                </a:lnTo>
                <a:lnTo>
                  <a:pt x="6" y="56"/>
                </a:lnTo>
                <a:lnTo>
                  <a:pt x="6" y="56"/>
                </a:lnTo>
                <a:lnTo>
                  <a:pt x="6" y="56"/>
                </a:lnTo>
                <a:lnTo>
                  <a:pt x="6" y="56"/>
                </a:lnTo>
                <a:lnTo>
                  <a:pt x="6" y="56"/>
                </a:lnTo>
                <a:lnTo>
                  <a:pt x="6" y="56"/>
                </a:lnTo>
                <a:lnTo>
                  <a:pt x="6" y="55"/>
                </a:lnTo>
                <a:lnTo>
                  <a:pt x="6" y="55"/>
                </a:lnTo>
                <a:lnTo>
                  <a:pt x="6" y="55"/>
                </a:lnTo>
                <a:lnTo>
                  <a:pt x="5" y="55"/>
                </a:lnTo>
                <a:lnTo>
                  <a:pt x="5" y="55"/>
                </a:lnTo>
                <a:lnTo>
                  <a:pt x="5" y="54"/>
                </a:lnTo>
                <a:lnTo>
                  <a:pt x="5" y="54"/>
                </a:lnTo>
                <a:lnTo>
                  <a:pt x="5" y="54"/>
                </a:lnTo>
                <a:lnTo>
                  <a:pt x="5" y="54"/>
                </a:lnTo>
                <a:lnTo>
                  <a:pt x="5" y="54"/>
                </a:lnTo>
                <a:lnTo>
                  <a:pt x="5" y="54"/>
                </a:lnTo>
                <a:lnTo>
                  <a:pt x="5" y="53"/>
                </a:lnTo>
                <a:lnTo>
                  <a:pt x="5" y="53"/>
                </a:lnTo>
                <a:lnTo>
                  <a:pt x="5" y="53"/>
                </a:lnTo>
                <a:lnTo>
                  <a:pt x="4" y="53"/>
                </a:lnTo>
                <a:lnTo>
                  <a:pt x="4" y="53"/>
                </a:lnTo>
                <a:lnTo>
                  <a:pt x="4" y="52"/>
                </a:lnTo>
                <a:lnTo>
                  <a:pt x="4" y="52"/>
                </a:lnTo>
                <a:lnTo>
                  <a:pt x="4" y="52"/>
                </a:lnTo>
                <a:lnTo>
                  <a:pt x="4" y="52"/>
                </a:lnTo>
                <a:lnTo>
                  <a:pt x="4" y="52"/>
                </a:lnTo>
                <a:lnTo>
                  <a:pt x="4" y="50"/>
                </a:lnTo>
                <a:lnTo>
                  <a:pt x="4" y="50"/>
                </a:lnTo>
                <a:lnTo>
                  <a:pt x="4" y="50"/>
                </a:lnTo>
                <a:lnTo>
                  <a:pt x="4" y="50"/>
                </a:lnTo>
                <a:lnTo>
                  <a:pt x="4" y="50"/>
                </a:lnTo>
                <a:lnTo>
                  <a:pt x="4" y="50"/>
                </a:lnTo>
                <a:lnTo>
                  <a:pt x="3" y="49"/>
                </a:lnTo>
                <a:lnTo>
                  <a:pt x="3" y="49"/>
                </a:lnTo>
                <a:lnTo>
                  <a:pt x="3" y="49"/>
                </a:lnTo>
                <a:lnTo>
                  <a:pt x="3" y="49"/>
                </a:lnTo>
                <a:lnTo>
                  <a:pt x="3" y="49"/>
                </a:lnTo>
                <a:lnTo>
                  <a:pt x="3" y="48"/>
                </a:lnTo>
                <a:lnTo>
                  <a:pt x="3" y="48"/>
                </a:lnTo>
                <a:lnTo>
                  <a:pt x="3" y="48"/>
                </a:lnTo>
                <a:lnTo>
                  <a:pt x="3" y="48"/>
                </a:lnTo>
                <a:lnTo>
                  <a:pt x="3" y="48"/>
                </a:lnTo>
                <a:lnTo>
                  <a:pt x="3" y="47"/>
                </a:lnTo>
                <a:lnTo>
                  <a:pt x="3" y="47"/>
                </a:lnTo>
                <a:lnTo>
                  <a:pt x="3" y="47"/>
                </a:lnTo>
                <a:lnTo>
                  <a:pt x="3" y="47"/>
                </a:lnTo>
                <a:lnTo>
                  <a:pt x="3" y="47"/>
                </a:lnTo>
                <a:lnTo>
                  <a:pt x="3" y="46"/>
                </a:lnTo>
                <a:lnTo>
                  <a:pt x="1" y="46"/>
                </a:lnTo>
                <a:lnTo>
                  <a:pt x="1" y="46"/>
                </a:lnTo>
                <a:lnTo>
                  <a:pt x="1" y="46"/>
                </a:lnTo>
                <a:lnTo>
                  <a:pt x="1" y="46"/>
                </a:lnTo>
                <a:lnTo>
                  <a:pt x="1" y="45"/>
                </a:lnTo>
                <a:lnTo>
                  <a:pt x="1" y="45"/>
                </a:lnTo>
                <a:lnTo>
                  <a:pt x="1" y="45"/>
                </a:lnTo>
                <a:lnTo>
                  <a:pt x="1" y="45"/>
                </a:lnTo>
                <a:lnTo>
                  <a:pt x="1" y="45"/>
                </a:lnTo>
                <a:lnTo>
                  <a:pt x="1" y="44"/>
                </a:lnTo>
                <a:lnTo>
                  <a:pt x="1" y="44"/>
                </a:lnTo>
                <a:lnTo>
                  <a:pt x="1" y="44"/>
                </a:lnTo>
                <a:lnTo>
                  <a:pt x="1" y="44"/>
                </a:lnTo>
                <a:lnTo>
                  <a:pt x="1" y="44"/>
                </a:lnTo>
                <a:lnTo>
                  <a:pt x="1" y="43"/>
                </a:lnTo>
                <a:lnTo>
                  <a:pt x="1" y="43"/>
                </a:lnTo>
                <a:lnTo>
                  <a:pt x="1" y="43"/>
                </a:lnTo>
                <a:lnTo>
                  <a:pt x="1" y="43"/>
                </a:lnTo>
                <a:lnTo>
                  <a:pt x="1" y="43"/>
                </a:lnTo>
                <a:lnTo>
                  <a:pt x="1" y="41"/>
                </a:lnTo>
                <a:lnTo>
                  <a:pt x="1" y="41"/>
                </a:lnTo>
                <a:lnTo>
                  <a:pt x="1" y="41"/>
                </a:lnTo>
                <a:lnTo>
                  <a:pt x="1" y="41"/>
                </a:lnTo>
                <a:lnTo>
                  <a:pt x="1" y="40"/>
                </a:lnTo>
                <a:lnTo>
                  <a:pt x="1" y="40"/>
                </a:lnTo>
                <a:lnTo>
                  <a:pt x="1" y="40"/>
                </a:lnTo>
                <a:lnTo>
                  <a:pt x="1" y="40"/>
                </a:lnTo>
                <a:lnTo>
                  <a:pt x="1" y="40"/>
                </a:lnTo>
                <a:lnTo>
                  <a:pt x="1" y="39"/>
                </a:lnTo>
                <a:lnTo>
                  <a:pt x="1" y="39"/>
                </a:lnTo>
                <a:lnTo>
                  <a:pt x="1" y="39"/>
                </a:lnTo>
                <a:lnTo>
                  <a:pt x="1" y="39"/>
                </a:lnTo>
                <a:lnTo>
                  <a:pt x="0" y="39"/>
                </a:lnTo>
                <a:lnTo>
                  <a:pt x="0" y="38"/>
                </a:lnTo>
                <a:lnTo>
                  <a:pt x="0" y="38"/>
                </a:lnTo>
                <a:lnTo>
                  <a:pt x="0" y="38"/>
                </a:lnTo>
                <a:lnTo>
                  <a:pt x="0" y="38"/>
                </a:lnTo>
                <a:lnTo>
                  <a:pt x="0" y="37"/>
                </a:lnTo>
                <a:lnTo>
                  <a:pt x="0" y="37"/>
                </a:lnTo>
                <a:lnTo>
                  <a:pt x="0" y="37"/>
                </a:lnTo>
                <a:lnTo>
                  <a:pt x="0" y="37"/>
                </a:lnTo>
                <a:lnTo>
                  <a:pt x="0" y="37"/>
                </a:lnTo>
                <a:lnTo>
                  <a:pt x="0" y="36"/>
                </a:lnTo>
                <a:lnTo>
                  <a:pt x="0" y="36"/>
                </a:lnTo>
                <a:lnTo>
                  <a:pt x="0" y="36"/>
                </a:lnTo>
                <a:lnTo>
                  <a:pt x="0" y="36"/>
                </a:lnTo>
                <a:lnTo>
                  <a:pt x="0" y="36"/>
                </a:lnTo>
                <a:lnTo>
                  <a:pt x="1" y="35"/>
                </a:lnTo>
                <a:lnTo>
                  <a:pt x="1" y="35"/>
                </a:lnTo>
                <a:lnTo>
                  <a:pt x="1" y="35"/>
                </a:lnTo>
                <a:lnTo>
                  <a:pt x="1" y="35"/>
                </a:lnTo>
                <a:lnTo>
                  <a:pt x="1" y="34"/>
                </a:lnTo>
                <a:lnTo>
                  <a:pt x="1" y="34"/>
                </a:lnTo>
                <a:lnTo>
                  <a:pt x="1" y="34"/>
                </a:lnTo>
                <a:lnTo>
                  <a:pt x="1" y="34"/>
                </a:lnTo>
                <a:lnTo>
                  <a:pt x="1" y="34"/>
                </a:lnTo>
                <a:lnTo>
                  <a:pt x="1" y="32"/>
                </a:lnTo>
                <a:lnTo>
                  <a:pt x="1" y="32"/>
                </a:lnTo>
                <a:lnTo>
                  <a:pt x="1" y="32"/>
                </a:lnTo>
                <a:lnTo>
                  <a:pt x="1" y="32"/>
                </a:lnTo>
                <a:lnTo>
                  <a:pt x="1" y="32"/>
                </a:lnTo>
                <a:lnTo>
                  <a:pt x="1" y="31"/>
                </a:lnTo>
                <a:lnTo>
                  <a:pt x="1" y="31"/>
                </a:lnTo>
                <a:lnTo>
                  <a:pt x="1" y="31"/>
                </a:lnTo>
                <a:lnTo>
                  <a:pt x="1" y="31"/>
                </a:lnTo>
                <a:lnTo>
                  <a:pt x="1" y="31"/>
                </a:lnTo>
                <a:lnTo>
                  <a:pt x="1" y="30"/>
                </a:lnTo>
                <a:lnTo>
                  <a:pt x="1" y="30"/>
                </a:lnTo>
                <a:lnTo>
                  <a:pt x="1" y="30"/>
                </a:lnTo>
                <a:lnTo>
                  <a:pt x="1" y="30"/>
                </a:lnTo>
                <a:lnTo>
                  <a:pt x="1" y="30"/>
                </a:lnTo>
                <a:lnTo>
                  <a:pt x="1" y="29"/>
                </a:lnTo>
                <a:lnTo>
                  <a:pt x="1" y="29"/>
                </a:lnTo>
                <a:lnTo>
                  <a:pt x="1" y="29"/>
                </a:lnTo>
                <a:lnTo>
                  <a:pt x="1" y="29"/>
                </a:lnTo>
                <a:lnTo>
                  <a:pt x="1" y="29"/>
                </a:lnTo>
                <a:lnTo>
                  <a:pt x="1" y="28"/>
                </a:lnTo>
                <a:lnTo>
                  <a:pt x="1" y="28"/>
                </a:lnTo>
                <a:lnTo>
                  <a:pt x="1" y="28"/>
                </a:lnTo>
                <a:lnTo>
                  <a:pt x="3" y="28"/>
                </a:lnTo>
                <a:lnTo>
                  <a:pt x="3" y="28"/>
                </a:lnTo>
                <a:lnTo>
                  <a:pt x="3" y="27"/>
                </a:lnTo>
                <a:lnTo>
                  <a:pt x="3" y="27"/>
                </a:lnTo>
                <a:lnTo>
                  <a:pt x="3" y="27"/>
                </a:lnTo>
                <a:lnTo>
                  <a:pt x="3" y="27"/>
                </a:lnTo>
                <a:lnTo>
                  <a:pt x="3" y="27"/>
                </a:lnTo>
                <a:lnTo>
                  <a:pt x="3" y="26"/>
                </a:lnTo>
                <a:lnTo>
                  <a:pt x="3" y="26"/>
                </a:lnTo>
                <a:lnTo>
                  <a:pt x="3" y="26"/>
                </a:lnTo>
                <a:lnTo>
                  <a:pt x="3" y="26"/>
                </a:lnTo>
                <a:lnTo>
                  <a:pt x="3" y="26"/>
                </a:lnTo>
                <a:lnTo>
                  <a:pt x="3" y="25"/>
                </a:lnTo>
                <a:lnTo>
                  <a:pt x="3" y="25"/>
                </a:lnTo>
                <a:lnTo>
                  <a:pt x="3" y="25"/>
                </a:lnTo>
                <a:lnTo>
                  <a:pt x="3" y="25"/>
                </a:lnTo>
                <a:lnTo>
                  <a:pt x="4" y="25"/>
                </a:lnTo>
                <a:lnTo>
                  <a:pt x="4" y="23"/>
                </a:lnTo>
                <a:lnTo>
                  <a:pt x="4" y="23"/>
                </a:lnTo>
                <a:lnTo>
                  <a:pt x="4" y="23"/>
                </a:lnTo>
                <a:lnTo>
                  <a:pt x="4" y="23"/>
                </a:lnTo>
                <a:lnTo>
                  <a:pt x="4" y="23"/>
                </a:lnTo>
                <a:lnTo>
                  <a:pt x="4" y="22"/>
                </a:lnTo>
                <a:lnTo>
                  <a:pt x="4" y="22"/>
                </a:lnTo>
                <a:lnTo>
                  <a:pt x="4" y="22"/>
                </a:lnTo>
                <a:lnTo>
                  <a:pt x="4" y="22"/>
                </a:lnTo>
                <a:lnTo>
                  <a:pt x="4" y="22"/>
                </a:lnTo>
                <a:lnTo>
                  <a:pt x="4" y="22"/>
                </a:lnTo>
                <a:lnTo>
                  <a:pt x="4" y="21"/>
                </a:lnTo>
                <a:lnTo>
                  <a:pt x="5" y="21"/>
                </a:lnTo>
                <a:lnTo>
                  <a:pt x="5" y="21"/>
                </a:lnTo>
                <a:lnTo>
                  <a:pt x="5" y="21"/>
                </a:lnTo>
                <a:lnTo>
                  <a:pt x="5" y="21"/>
                </a:lnTo>
                <a:lnTo>
                  <a:pt x="5" y="20"/>
                </a:lnTo>
                <a:lnTo>
                  <a:pt x="5" y="20"/>
                </a:lnTo>
                <a:lnTo>
                  <a:pt x="5" y="20"/>
                </a:lnTo>
                <a:lnTo>
                  <a:pt x="5" y="20"/>
                </a:lnTo>
                <a:lnTo>
                  <a:pt x="5" y="20"/>
                </a:lnTo>
                <a:lnTo>
                  <a:pt x="5" y="20"/>
                </a:lnTo>
                <a:lnTo>
                  <a:pt x="5" y="19"/>
                </a:lnTo>
                <a:lnTo>
                  <a:pt x="6" y="19"/>
                </a:lnTo>
                <a:lnTo>
                  <a:pt x="6" y="19"/>
                </a:lnTo>
                <a:lnTo>
                  <a:pt x="6" y="19"/>
                </a:lnTo>
                <a:lnTo>
                  <a:pt x="6" y="19"/>
                </a:lnTo>
                <a:lnTo>
                  <a:pt x="6" y="18"/>
                </a:lnTo>
                <a:lnTo>
                  <a:pt x="6" y="18"/>
                </a:lnTo>
                <a:lnTo>
                  <a:pt x="6" y="18"/>
                </a:lnTo>
                <a:lnTo>
                  <a:pt x="6" y="18"/>
                </a:lnTo>
                <a:lnTo>
                  <a:pt x="6" y="18"/>
                </a:lnTo>
                <a:lnTo>
                  <a:pt x="6" y="18"/>
                </a:lnTo>
                <a:lnTo>
                  <a:pt x="7" y="17"/>
                </a:lnTo>
                <a:lnTo>
                  <a:pt x="7" y="17"/>
                </a:lnTo>
                <a:lnTo>
                  <a:pt x="7" y="17"/>
                </a:lnTo>
                <a:lnTo>
                  <a:pt x="7" y="17"/>
                </a:lnTo>
                <a:lnTo>
                  <a:pt x="7" y="17"/>
                </a:lnTo>
                <a:lnTo>
                  <a:pt x="7" y="17"/>
                </a:lnTo>
                <a:lnTo>
                  <a:pt x="7" y="16"/>
                </a:lnTo>
                <a:lnTo>
                  <a:pt x="7" y="16"/>
                </a:lnTo>
                <a:lnTo>
                  <a:pt x="7" y="16"/>
                </a:lnTo>
                <a:lnTo>
                  <a:pt x="8" y="16"/>
                </a:lnTo>
                <a:lnTo>
                  <a:pt x="8" y="16"/>
                </a:lnTo>
                <a:lnTo>
                  <a:pt x="8" y="16"/>
                </a:lnTo>
                <a:lnTo>
                  <a:pt x="8" y="14"/>
                </a:lnTo>
                <a:lnTo>
                  <a:pt x="8" y="14"/>
                </a:lnTo>
                <a:lnTo>
                  <a:pt x="8" y="14"/>
                </a:lnTo>
                <a:lnTo>
                  <a:pt x="8" y="14"/>
                </a:lnTo>
                <a:lnTo>
                  <a:pt x="8" y="14"/>
                </a:lnTo>
                <a:lnTo>
                  <a:pt x="8" y="14"/>
                </a:lnTo>
                <a:lnTo>
                  <a:pt x="9" y="13"/>
                </a:lnTo>
                <a:lnTo>
                  <a:pt x="9" y="13"/>
                </a:lnTo>
                <a:lnTo>
                  <a:pt x="9" y="13"/>
                </a:lnTo>
                <a:lnTo>
                  <a:pt x="9" y="13"/>
                </a:lnTo>
                <a:lnTo>
                  <a:pt x="9" y="13"/>
                </a:lnTo>
                <a:lnTo>
                  <a:pt x="9" y="13"/>
                </a:lnTo>
                <a:lnTo>
                  <a:pt x="9" y="13"/>
                </a:lnTo>
                <a:lnTo>
                  <a:pt x="10" y="12"/>
                </a:lnTo>
                <a:lnTo>
                  <a:pt x="10" y="12"/>
                </a:lnTo>
                <a:lnTo>
                  <a:pt x="10" y="12"/>
                </a:lnTo>
                <a:lnTo>
                  <a:pt x="10" y="12"/>
                </a:lnTo>
                <a:lnTo>
                  <a:pt x="10" y="12"/>
                </a:lnTo>
                <a:lnTo>
                  <a:pt x="10" y="12"/>
                </a:lnTo>
                <a:lnTo>
                  <a:pt x="10" y="11"/>
                </a:lnTo>
                <a:lnTo>
                  <a:pt x="10" y="11"/>
                </a:lnTo>
                <a:lnTo>
                  <a:pt x="12" y="11"/>
                </a:lnTo>
                <a:lnTo>
                  <a:pt x="12" y="11"/>
                </a:lnTo>
                <a:lnTo>
                  <a:pt x="12" y="11"/>
                </a:lnTo>
                <a:lnTo>
                  <a:pt x="12" y="11"/>
                </a:lnTo>
                <a:lnTo>
                  <a:pt x="12" y="11"/>
                </a:lnTo>
                <a:lnTo>
                  <a:pt x="12" y="10"/>
                </a:lnTo>
                <a:lnTo>
                  <a:pt x="12" y="10"/>
                </a:lnTo>
                <a:lnTo>
                  <a:pt x="13" y="10"/>
                </a:lnTo>
                <a:lnTo>
                  <a:pt x="13" y="10"/>
                </a:lnTo>
                <a:lnTo>
                  <a:pt x="13" y="10"/>
                </a:lnTo>
                <a:lnTo>
                  <a:pt x="13" y="10"/>
                </a:lnTo>
                <a:lnTo>
                  <a:pt x="13" y="10"/>
                </a:lnTo>
                <a:lnTo>
                  <a:pt x="13" y="9"/>
                </a:lnTo>
                <a:lnTo>
                  <a:pt x="13" y="9"/>
                </a:lnTo>
                <a:lnTo>
                  <a:pt x="14" y="9"/>
                </a:lnTo>
                <a:lnTo>
                  <a:pt x="14" y="9"/>
                </a:lnTo>
                <a:lnTo>
                  <a:pt x="14" y="9"/>
                </a:lnTo>
                <a:lnTo>
                  <a:pt x="14" y="9"/>
                </a:lnTo>
                <a:lnTo>
                  <a:pt x="14" y="9"/>
                </a:lnTo>
                <a:lnTo>
                  <a:pt x="14" y="9"/>
                </a:lnTo>
                <a:lnTo>
                  <a:pt x="14" y="8"/>
                </a:lnTo>
                <a:lnTo>
                  <a:pt x="15" y="8"/>
                </a:lnTo>
                <a:lnTo>
                  <a:pt x="15" y="8"/>
                </a:lnTo>
                <a:lnTo>
                  <a:pt x="15" y="8"/>
                </a:lnTo>
                <a:lnTo>
                  <a:pt x="15" y="8"/>
                </a:lnTo>
                <a:lnTo>
                  <a:pt x="15" y="8"/>
                </a:lnTo>
                <a:lnTo>
                  <a:pt x="15" y="8"/>
                </a:lnTo>
                <a:lnTo>
                  <a:pt x="16" y="8"/>
                </a:lnTo>
                <a:lnTo>
                  <a:pt x="16" y="7"/>
                </a:lnTo>
                <a:lnTo>
                  <a:pt x="16" y="7"/>
                </a:lnTo>
                <a:lnTo>
                  <a:pt x="16" y="7"/>
                </a:lnTo>
                <a:lnTo>
                  <a:pt x="16" y="7"/>
                </a:lnTo>
                <a:lnTo>
                  <a:pt x="16" y="7"/>
                </a:lnTo>
                <a:lnTo>
                  <a:pt x="17" y="7"/>
                </a:lnTo>
                <a:lnTo>
                  <a:pt x="17" y="7"/>
                </a:lnTo>
                <a:lnTo>
                  <a:pt x="17" y="7"/>
                </a:lnTo>
                <a:lnTo>
                  <a:pt x="17" y="5"/>
                </a:lnTo>
                <a:lnTo>
                  <a:pt x="17" y="5"/>
                </a:lnTo>
                <a:lnTo>
                  <a:pt x="17" y="5"/>
                </a:lnTo>
                <a:lnTo>
                  <a:pt x="18" y="5"/>
                </a:lnTo>
                <a:lnTo>
                  <a:pt x="18" y="5"/>
                </a:lnTo>
                <a:lnTo>
                  <a:pt x="18" y="5"/>
                </a:lnTo>
                <a:lnTo>
                  <a:pt x="18" y="5"/>
                </a:lnTo>
                <a:lnTo>
                  <a:pt x="18" y="5"/>
                </a:lnTo>
                <a:lnTo>
                  <a:pt x="18" y="5"/>
                </a:lnTo>
                <a:lnTo>
                  <a:pt x="19" y="5"/>
                </a:lnTo>
                <a:lnTo>
                  <a:pt x="19" y="4"/>
                </a:lnTo>
                <a:lnTo>
                  <a:pt x="19" y="4"/>
                </a:lnTo>
                <a:lnTo>
                  <a:pt x="19" y="4"/>
                </a:lnTo>
                <a:lnTo>
                  <a:pt x="19" y="4"/>
                </a:lnTo>
                <a:lnTo>
                  <a:pt x="19" y="4"/>
                </a:lnTo>
                <a:lnTo>
                  <a:pt x="21" y="4"/>
                </a:lnTo>
                <a:lnTo>
                  <a:pt x="21" y="4"/>
                </a:lnTo>
                <a:lnTo>
                  <a:pt x="21" y="4"/>
                </a:lnTo>
                <a:lnTo>
                  <a:pt x="21" y="4"/>
                </a:lnTo>
                <a:lnTo>
                  <a:pt x="21" y="4"/>
                </a:lnTo>
                <a:lnTo>
                  <a:pt x="22" y="3"/>
                </a:lnTo>
                <a:lnTo>
                  <a:pt x="22" y="3"/>
                </a:lnTo>
                <a:lnTo>
                  <a:pt x="22" y="3"/>
                </a:lnTo>
                <a:lnTo>
                  <a:pt x="22" y="3"/>
                </a:lnTo>
                <a:lnTo>
                  <a:pt x="22" y="3"/>
                </a:lnTo>
                <a:lnTo>
                  <a:pt x="22" y="3"/>
                </a:lnTo>
                <a:lnTo>
                  <a:pt x="23" y="3"/>
                </a:lnTo>
                <a:lnTo>
                  <a:pt x="23" y="3"/>
                </a:lnTo>
                <a:lnTo>
                  <a:pt x="23" y="3"/>
                </a:lnTo>
                <a:lnTo>
                  <a:pt x="23" y="3"/>
                </a:lnTo>
                <a:lnTo>
                  <a:pt x="23" y="3"/>
                </a:lnTo>
                <a:lnTo>
                  <a:pt x="24" y="2"/>
                </a:lnTo>
                <a:lnTo>
                  <a:pt x="24" y="2"/>
                </a:lnTo>
                <a:lnTo>
                  <a:pt x="24" y="2"/>
                </a:lnTo>
                <a:lnTo>
                  <a:pt x="24" y="2"/>
                </a:lnTo>
                <a:lnTo>
                  <a:pt x="24" y="2"/>
                </a:lnTo>
                <a:lnTo>
                  <a:pt x="24" y="2"/>
                </a:lnTo>
                <a:lnTo>
                  <a:pt x="25" y="2"/>
                </a:lnTo>
                <a:lnTo>
                  <a:pt x="25" y="2"/>
                </a:lnTo>
                <a:lnTo>
                  <a:pt x="25" y="2"/>
                </a:lnTo>
                <a:lnTo>
                  <a:pt x="25" y="2"/>
                </a:lnTo>
                <a:lnTo>
                  <a:pt x="25" y="2"/>
                </a:lnTo>
                <a:lnTo>
                  <a:pt x="26" y="2"/>
                </a:lnTo>
                <a:lnTo>
                  <a:pt x="26" y="2"/>
                </a:lnTo>
                <a:lnTo>
                  <a:pt x="26" y="1"/>
                </a:lnTo>
                <a:lnTo>
                  <a:pt x="26" y="1"/>
                </a:lnTo>
                <a:lnTo>
                  <a:pt x="26" y="1"/>
                </a:lnTo>
                <a:lnTo>
                  <a:pt x="27" y="1"/>
                </a:lnTo>
                <a:lnTo>
                  <a:pt x="27" y="1"/>
                </a:lnTo>
                <a:lnTo>
                  <a:pt x="27" y="1"/>
                </a:lnTo>
                <a:lnTo>
                  <a:pt x="27" y="1"/>
                </a:lnTo>
                <a:lnTo>
                  <a:pt x="27" y="1"/>
                </a:lnTo>
                <a:lnTo>
                  <a:pt x="28" y="1"/>
                </a:lnTo>
                <a:lnTo>
                  <a:pt x="28" y="1"/>
                </a:lnTo>
                <a:lnTo>
                  <a:pt x="28" y="1"/>
                </a:lnTo>
                <a:lnTo>
                  <a:pt x="28" y="1"/>
                </a:lnTo>
                <a:lnTo>
                  <a:pt x="28" y="1"/>
                </a:lnTo>
                <a:lnTo>
                  <a:pt x="30" y="1"/>
                </a:lnTo>
                <a:lnTo>
                  <a:pt x="30" y="1"/>
                </a:lnTo>
                <a:lnTo>
                  <a:pt x="30" y="1"/>
                </a:lnTo>
                <a:lnTo>
                  <a:pt x="30" y="1"/>
                </a:lnTo>
                <a:lnTo>
                  <a:pt x="30" y="1"/>
                </a:lnTo>
                <a:lnTo>
                  <a:pt x="31" y="0"/>
                </a:lnTo>
                <a:lnTo>
                  <a:pt x="31" y="0"/>
                </a:lnTo>
                <a:lnTo>
                  <a:pt x="31" y="0"/>
                </a:lnTo>
                <a:lnTo>
                  <a:pt x="31" y="0"/>
                </a:lnTo>
                <a:lnTo>
                  <a:pt x="31" y="0"/>
                </a:lnTo>
                <a:lnTo>
                  <a:pt x="32" y="0"/>
                </a:lnTo>
                <a:lnTo>
                  <a:pt x="32" y="0"/>
                </a:lnTo>
                <a:lnTo>
                  <a:pt x="32" y="0"/>
                </a:lnTo>
                <a:lnTo>
                  <a:pt x="32" y="0"/>
                </a:lnTo>
                <a:lnTo>
                  <a:pt x="32" y="0"/>
                </a:lnTo>
                <a:lnTo>
                  <a:pt x="33" y="0"/>
                </a:lnTo>
                <a:lnTo>
                  <a:pt x="33" y="0"/>
                </a:lnTo>
                <a:lnTo>
                  <a:pt x="33" y="0"/>
                </a:lnTo>
                <a:lnTo>
                  <a:pt x="33" y="0"/>
                </a:lnTo>
                <a:lnTo>
                  <a:pt x="33" y="0"/>
                </a:lnTo>
                <a:lnTo>
                  <a:pt x="34" y="0"/>
                </a:lnTo>
                <a:lnTo>
                  <a:pt x="34" y="0"/>
                </a:lnTo>
                <a:lnTo>
                  <a:pt x="34" y="0"/>
                </a:lnTo>
                <a:lnTo>
                  <a:pt x="34" y="0"/>
                </a:lnTo>
                <a:lnTo>
                  <a:pt x="34" y="0"/>
                </a:lnTo>
                <a:lnTo>
                  <a:pt x="35" y="0"/>
                </a:lnTo>
                <a:lnTo>
                  <a:pt x="35" y="0"/>
                </a:lnTo>
                <a:lnTo>
                  <a:pt x="35" y="0"/>
                </a:lnTo>
                <a:lnTo>
                  <a:pt x="35" y="0"/>
                </a:lnTo>
                <a:lnTo>
                  <a:pt x="36" y="0"/>
                </a:lnTo>
                <a:lnTo>
                  <a:pt x="36" y="0"/>
                </a:lnTo>
                <a:lnTo>
                  <a:pt x="36" y="0"/>
                </a:lnTo>
                <a:lnTo>
                  <a:pt x="36" y="0"/>
                </a:lnTo>
                <a:lnTo>
                  <a:pt x="36" y="0"/>
                </a:lnTo>
                <a:lnTo>
                  <a:pt x="37" y="0"/>
                </a:lnTo>
                <a:lnTo>
                  <a:pt x="37" y="0"/>
                </a:lnTo>
                <a:lnTo>
                  <a:pt x="37" y="0"/>
                </a:lnTo>
                <a:lnTo>
                  <a:pt x="37" y="0"/>
                </a:lnTo>
                <a:lnTo>
                  <a:pt x="37" y="0"/>
                </a:lnTo>
                <a:lnTo>
                  <a:pt x="39" y="0"/>
                </a:lnTo>
                <a:lnTo>
                  <a:pt x="39" y="0"/>
                </a:lnTo>
                <a:lnTo>
                  <a:pt x="39" y="0"/>
                </a:lnTo>
                <a:lnTo>
                  <a:pt x="39" y="0"/>
                </a:lnTo>
                <a:lnTo>
                  <a:pt x="40" y="0"/>
                </a:lnTo>
                <a:lnTo>
                  <a:pt x="40" y="0"/>
                </a:lnTo>
                <a:lnTo>
                  <a:pt x="40" y="0"/>
                </a:lnTo>
                <a:lnTo>
                  <a:pt x="40" y="0"/>
                </a:lnTo>
                <a:lnTo>
                  <a:pt x="40" y="0"/>
                </a:lnTo>
                <a:lnTo>
                  <a:pt x="41" y="0"/>
                </a:lnTo>
                <a:lnTo>
                  <a:pt x="41" y="0"/>
                </a:lnTo>
                <a:lnTo>
                  <a:pt x="41" y="0"/>
                </a:lnTo>
                <a:lnTo>
                  <a:pt x="41" y="0"/>
                </a:lnTo>
                <a:lnTo>
                  <a:pt x="41" y="0"/>
                </a:lnTo>
                <a:lnTo>
                  <a:pt x="42" y="0"/>
                </a:lnTo>
                <a:lnTo>
                  <a:pt x="42" y="0"/>
                </a:lnTo>
                <a:lnTo>
                  <a:pt x="42" y="0"/>
                </a:lnTo>
                <a:lnTo>
                  <a:pt x="42" y="0"/>
                </a:lnTo>
                <a:lnTo>
                  <a:pt x="42" y="0"/>
                </a:lnTo>
                <a:lnTo>
                  <a:pt x="43" y="0"/>
                </a:lnTo>
                <a:lnTo>
                  <a:pt x="43" y="0"/>
                </a:lnTo>
                <a:lnTo>
                  <a:pt x="43" y="0"/>
                </a:lnTo>
                <a:lnTo>
                  <a:pt x="43" y="0"/>
                </a:lnTo>
                <a:lnTo>
                  <a:pt x="44" y="0"/>
                </a:lnTo>
                <a:lnTo>
                  <a:pt x="44" y="0"/>
                </a:lnTo>
                <a:lnTo>
                  <a:pt x="44" y="0"/>
                </a:lnTo>
                <a:lnTo>
                  <a:pt x="44" y="0"/>
                </a:lnTo>
                <a:lnTo>
                  <a:pt x="44" y="0"/>
                </a:lnTo>
                <a:lnTo>
                  <a:pt x="45" y="0"/>
                </a:lnTo>
                <a:lnTo>
                  <a:pt x="45" y="0"/>
                </a:lnTo>
                <a:lnTo>
                  <a:pt x="45" y="0"/>
                </a:lnTo>
                <a:lnTo>
                  <a:pt x="45" y="0"/>
                </a:lnTo>
                <a:lnTo>
                  <a:pt x="45" y="0"/>
                </a:lnTo>
                <a:lnTo>
                  <a:pt x="46" y="0"/>
                </a:lnTo>
                <a:lnTo>
                  <a:pt x="46" y="0"/>
                </a:lnTo>
                <a:lnTo>
                  <a:pt x="46" y="0"/>
                </a:lnTo>
                <a:lnTo>
                  <a:pt x="46" y="0"/>
                </a:lnTo>
                <a:lnTo>
                  <a:pt x="46" y="1"/>
                </a:lnTo>
                <a:lnTo>
                  <a:pt x="48" y="1"/>
                </a:lnTo>
                <a:lnTo>
                  <a:pt x="48" y="1"/>
                </a:lnTo>
                <a:lnTo>
                  <a:pt x="48" y="1"/>
                </a:lnTo>
                <a:lnTo>
                  <a:pt x="48" y="1"/>
                </a:lnTo>
                <a:lnTo>
                  <a:pt x="48" y="1"/>
                </a:lnTo>
                <a:lnTo>
                  <a:pt x="49" y="1"/>
                </a:lnTo>
                <a:lnTo>
                  <a:pt x="49" y="1"/>
                </a:lnTo>
                <a:lnTo>
                  <a:pt x="49" y="1"/>
                </a:lnTo>
                <a:lnTo>
                  <a:pt x="49" y="1"/>
                </a:lnTo>
                <a:lnTo>
                  <a:pt x="49" y="1"/>
                </a:lnTo>
                <a:lnTo>
                  <a:pt x="50" y="1"/>
                </a:lnTo>
                <a:lnTo>
                  <a:pt x="50" y="1"/>
                </a:lnTo>
                <a:lnTo>
                  <a:pt x="50" y="1"/>
                </a:lnTo>
                <a:lnTo>
                  <a:pt x="50" y="1"/>
                </a:lnTo>
                <a:lnTo>
                  <a:pt x="50" y="1"/>
                </a:lnTo>
                <a:lnTo>
                  <a:pt x="51" y="1"/>
                </a:lnTo>
                <a:lnTo>
                  <a:pt x="51" y="1"/>
                </a:lnTo>
                <a:lnTo>
                  <a:pt x="51" y="2"/>
                </a:lnTo>
                <a:lnTo>
                  <a:pt x="51" y="2"/>
                </a:lnTo>
                <a:lnTo>
                  <a:pt x="51" y="2"/>
                </a:lnTo>
                <a:lnTo>
                  <a:pt x="52" y="2"/>
                </a:lnTo>
                <a:lnTo>
                  <a:pt x="52" y="2"/>
                </a:lnTo>
                <a:lnTo>
                  <a:pt x="52" y="2"/>
                </a:lnTo>
                <a:lnTo>
                  <a:pt x="52" y="2"/>
                </a:lnTo>
                <a:lnTo>
                  <a:pt x="52" y="2"/>
                </a:lnTo>
                <a:lnTo>
                  <a:pt x="52" y="2"/>
                </a:lnTo>
                <a:lnTo>
                  <a:pt x="53" y="2"/>
                </a:lnTo>
                <a:lnTo>
                  <a:pt x="53" y="2"/>
                </a:lnTo>
                <a:lnTo>
                  <a:pt x="53" y="2"/>
                </a:lnTo>
                <a:lnTo>
                  <a:pt x="53" y="2"/>
                </a:lnTo>
                <a:lnTo>
                  <a:pt x="53" y="3"/>
                </a:lnTo>
                <a:lnTo>
                  <a:pt x="54" y="3"/>
                </a:lnTo>
                <a:lnTo>
                  <a:pt x="54" y="3"/>
                </a:lnTo>
                <a:lnTo>
                  <a:pt x="54" y="3"/>
                </a:lnTo>
                <a:lnTo>
                  <a:pt x="54" y="3"/>
                </a:lnTo>
                <a:lnTo>
                  <a:pt x="54" y="3"/>
                </a:lnTo>
                <a:lnTo>
                  <a:pt x="55" y="3"/>
                </a:lnTo>
                <a:lnTo>
                  <a:pt x="55" y="3"/>
                </a:lnTo>
                <a:lnTo>
                  <a:pt x="55" y="3"/>
                </a:lnTo>
                <a:lnTo>
                  <a:pt x="55" y="3"/>
                </a:lnTo>
                <a:lnTo>
                  <a:pt x="55" y="3"/>
                </a:lnTo>
                <a:lnTo>
                  <a:pt x="55" y="4"/>
                </a:lnTo>
                <a:lnTo>
                  <a:pt x="57" y="4"/>
                </a:lnTo>
                <a:lnTo>
                  <a:pt x="57" y="4"/>
                </a:lnTo>
                <a:lnTo>
                  <a:pt x="57" y="4"/>
                </a:lnTo>
                <a:lnTo>
                  <a:pt x="57" y="4"/>
                </a:lnTo>
                <a:lnTo>
                  <a:pt x="57" y="4"/>
                </a:lnTo>
                <a:lnTo>
                  <a:pt x="57" y="4"/>
                </a:lnTo>
                <a:lnTo>
                  <a:pt x="58" y="4"/>
                </a:lnTo>
                <a:lnTo>
                  <a:pt x="58" y="4"/>
                </a:lnTo>
                <a:lnTo>
                  <a:pt x="58" y="4"/>
                </a:lnTo>
                <a:lnTo>
                  <a:pt x="58" y="5"/>
                </a:lnTo>
                <a:lnTo>
                  <a:pt x="58" y="5"/>
                </a:lnTo>
                <a:lnTo>
                  <a:pt x="59" y="5"/>
                </a:lnTo>
                <a:lnTo>
                  <a:pt x="59" y="5"/>
                </a:lnTo>
                <a:lnTo>
                  <a:pt x="59" y="5"/>
                </a:lnTo>
                <a:lnTo>
                  <a:pt x="59" y="5"/>
                </a:lnTo>
                <a:lnTo>
                  <a:pt x="59" y="5"/>
                </a:lnTo>
                <a:lnTo>
                  <a:pt x="59" y="5"/>
                </a:lnTo>
                <a:lnTo>
                  <a:pt x="60" y="5"/>
                </a:lnTo>
                <a:lnTo>
                  <a:pt x="60" y="5"/>
                </a:lnTo>
                <a:lnTo>
                  <a:pt x="60" y="7"/>
                </a:lnTo>
                <a:lnTo>
                  <a:pt x="60" y="7"/>
                </a:lnTo>
                <a:lnTo>
                  <a:pt x="60" y="7"/>
                </a:lnTo>
                <a:lnTo>
                  <a:pt x="60" y="7"/>
                </a:lnTo>
                <a:lnTo>
                  <a:pt x="61" y="7"/>
                </a:lnTo>
                <a:lnTo>
                  <a:pt x="61" y="7"/>
                </a:lnTo>
                <a:lnTo>
                  <a:pt x="61" y="7"/>
                </a:lnTo>
                <a:lnTo>
                  <a:pt x="61" y="7"/>
                </a:lnTo>
                <a:lnTo>
                  <a:pt x="61" y="8"/>
                </a:lnTo>
                <a:lnTo>
                  <a:pt x="61" y="8"/>
                </a:lnTo>
                <a:lnTo>
                  <a:pt x="61" y="8"/>
                </a:lnTo>
                <a:lnTo>
                  <a:pt x="62" y="8"/>
                </a:lnTo>
                <a:lnTo>
                  <a:pt x="62" y="8"/>
                </a:lnTo>
                <a:lnTo>
                  <a:pt x="62" y="8"/>
                </a:lnTo>
                <a:lnTo>
                  <a:pt x="62" y="8"/>
                </a:lnTo>
                <a:lnTo>
                  <a:pt x="62" y="8"/>
                </a:lnTo>
                <a:lnTo>
                  <a:pt x="62" y="9"/>
                </a:lnTo>
                <a:lnTo>
                  <a:pt x="63" y="9"/>
                </a:lnTo>
                <a:lnTo>
                  <a:pt x="63" y="9"/>
                </a:lnTo>
                <a:lnTo>
                  <a:pt x="63" y="9"/>
                </a:lnTo>
                <a:lnTo>
                  <a:pt x="63" y="9"/>
                </a:lnTo>
                <a:lnTo>
                  <a:pt x="63" y="9"/>
                </a:lnTo>
                <a:lnTo>
                  <a:pt x="63" y="9"/>
                </a:lnTo>
                <a:lnTo>
                  <a:pt x="63" y="9"/>
                </a:lnTo>
                <a:lnTo>
                  <a:pt x="64" y="10"/>
                </a:lnTo>
                <a:lnTo>
                  <a:pt x="64" y="10"/>
                </a:lnTo>
                <a:lnTo>
                  <a:pt x="64" y="10"/>
                </a:lnTo>
                <a:lnTo>
                  <a:pt x="64" y="10"/>
                </a:lnTo>
                <a:lnTo>
                  <a:pt x="64" y="10"/>
                </a:lnTo>
                <a:lnTo>
                  <a:pt x="64" y="10"/>
                </a:lnTo>
                <a:lnTo>
                  <a:pt x="64" y="10"/>
                </a:lnTo>
                <a:lnTo>
                  <a:pt x="66" y="11"/>
                </a:lnTo>
                <a:lnTo>
                  <a:pt x="66" y="11"/>
                </a:lnTo>
                <a:lnTo>
                  <a:pt x="66" y="11"/>
                </a:lnTo>
                <a:lnTo>
                  <a:pt x="66" y="11"/>
                </a:lnTo>
                <a:lnTo>
                  <a:pt x="66" y="11"/>
                </a:lnTo>
                <a:lnTo>
                  <a:pt x="66" y="11"/>
                </a:lnTo>
                <a:lnTo>
                  <a:pt x="66" y="11"/>
                </a:lnTo>
                <a:lnTo>
                  <a:pt x="67" y="12"/>
                </a:lnTo>
                <a:lnTo>
                  <a:pt x="67" y="12"/>
                </a:lnTo>
                <a:lnTo>
                  <a:pt x="67" y="12"/>
                </a:lnTo>
                <a:lnTo>
                  <a:pt x="67" y="12"/>
                </a:lnTo>
                <a:lnTo>
                  <a:pt x="67" y="12"/>
                </a:lnTo>
                <a:lnTo>
                  <a:pt x="67" y="12"/>
                </a:lnTo>
                <a:lnTo>
                  <a:pt x="67" y="13"/>
                </a:lnTo>
                <a:lnTo>
                  <a:pt x="67" y="13"/>
                </a:lnTo>
                <a:lnTo>
                  <a:pt x="68" y="13"/>
                </a:lnTo>
                <a:lnTo>
                  <a:pt x="68" y="13"/>
                </a:lnTo>
                <a:lnTo>
                  <a:pt x="68" y="13"/>
                </a:lnTo>
                <a:lnTo>
                  <a:pt x="68" y="13"/>
                </a:lnTo>
                <a:lnTo>
                  <a:pt x="68" y="13"/>
                </a:lnTo>
                <a:lnTo>
                  <a:pt x="68" y="14"/>
                </a:lnTo>
                <a:lnTo>
                  <a:pt x="68" y="14"/>
                </a:lnTo>
                <a:lnTo>
                  <a:pt x="68" y="14"/>
                </a:lnTo>
                <a:lnTo>
                  <a:pt x="69" y="14"/>
                </a:lnTo>
                <a:lnTo>
                  <a:pt x="69" y="14"/>
                </a:lnTo>
                <a:lnTo>
                  <a:pt x="69" y="14"/>
                </a:lnTo>
                <a:lnTo>
                  <a:pt x="69" y="16"/>
                </a:lnTo>
                <a:lnTo>
                  <a:pt x="69" y="16"/>
                </a:lnTo>
                <a:lnTo>
                  <a:pt x="69" y="16"/>
                </a:lnTo>
                <a:lnTo>
                  <a:pt x="69" y="16"/>
                </a:lnTo>
                <a:lnTo>
                  <a:pt x="69" y="16"/>
                </a:lnTo>
                <a:lnTo>
                  <a:pt x="70" y="16"/>
                </a:lnTo>
                <a:lnTo>
                  <a:pt x="70" y="17"/>
                </a:lnTo>
                <a:lnTo>
                  <a:pt x="70" y="17"/>
                </a:lnTo>
                <a:lnTo>
                  <a:pt x="70" y="17"/>
                </a:lnTo>
                <a:lnTo>
                  <a:pt x="70" y="17"/>
                </a:lnTo>
                <a:lnTo>
                  <a:pt x="70" y="17"/>
                </a:lnTo>
                <a:lnTo>
                  <a:pt x="70" y="17"/>
                </a:lnTo>
                <a:lnTo>
                  <a:pt x="70" y="18"/>
                </a:lnTo>
                <a:lnTo>
                  <a:pt x="70" y="18"/>
                </a:lnTo>
                <a:lnTo>
                  <a:pt x="71" y="18"/>
                </a:lnTo>
                <a:lnTo>
                  <a:pt x="71" y="18"/>
                </a:lnTo>
                <a:lnTo>
                  <a:pt x="71" y="18"/>
                </a:lnTo>
                <a:lnTo>
                  <a:pt x="71" y="18"/>
                </a:lnTo>
                <a:lnTo>
                  <a:pt x="71" y="19"/>
                </a:lnTo>
                <a:lnTo>
                  <a:pt x="71" y="19"/>
                </a:lnTo>
                <a:lnTo>
                  <a:pt x="71" y="19"/>
                </a:lnTo>
                <a:lnTo>
                  <a:pt x="71" y="19"/>
                </a:lnTo>
                <a:lnTo>
                  <a:pt x="71" y="19"/>
                </a:lnTo>
                <a:lnTo>
                  <a:pt x="71" y="20"/>
                </a:lnTo>
                <a:lnTo>
                  <a:pt x="72" y="20"/>
                </a:lnTo>
                <a:lnTo>
                  <a:pt x="72" y="20"/>
                </a:lnTo>
                <a:lnTo>
                  <a:pt x="72" y="20"/>
                </a:lnTo>
                <a:lnTo>
                  <a:pt x="72" y="20"/>
                </a:lnTo>
                <a:lnTo>
                  <a:pt x="72" y="20"/>
                </a:lnTo>
                <a:lnTo>
                  <a:pt x="72" y="21"/>
                </a:lnTo>
                <a:lnTo>
                  <a:pt x="72" y="21"/>
                </a:lnTo>
                <a:lnTo>
                  <a:pt x="72" y="21"/>
                </a:lnTo>
                <a:lnTo>
                  <a:pt x="72" y="21"/>
                </a:lnTo>
                <a:lnTo>
                  <a:pt x="72" y="21"/>
                </a:lnTo>
                <a:lnTo>
                  <a:pt x="72" y="22"/>
                </a:lnTo>
                <a:lnTo>
                  <a:pt x="72" y="22"/>
                </a:lnTo>
                <a:lnTo>
                  <a:pt x="73" y="22"/>
                </a:lnTo>
                <a:lnTo>
                  <a:pt x="73" y="22"/>
                </a:lnTo>
                <a:lnTo>
                  <a:pt x="73" y="22"/>
                </a:lnTo>
                <a:lnTo>
                  <a:pt x="73" y="22"/>
                </a:lnTo>
                <a:lnTo>
                  <a:pt x="73" y="23"/>
                </a:lnTo>
                <a:lnTo>
                  <a:pt x="73" y="23"/>
                </a:lnTo>
                <a:lnTo>
                  <a:pt x="73" y="23"/>
                </a:lnTo>
                <a:lnTo>
                  <a:pt x="73" y="23"/>
                </a:lnTo>
                <a:lnTo>
                  <a:pt x="73" y="23"/>
                </a:lnTo>
                <a:lnTo>
                  <a:pt x="73" y="25"/>
                </a:lnTo>
                <a:lnTo>
                  <a:pt x="73" y="25"/>
                </a:lnTo>
                <a:lnTo>
                  <a:pt x="73" y="25"/>
                </a:lnTo>
                <a:lnTo>
                  <a:pt x="73" y="25"/>
                </a:lnTo>
                <a:lnTo>
                  <a:pt x="75" y="25"/>
                </a:lnTo>
                <a:lnTo>
                  <a:pt x="75" y="26"/>
                </a:lnTo>
                <a:lnTo>
                  <a:pt x="75" y="26"/>
                </a:lnTo>
                <a:lnTo>
                  <a:pt x="75" y="26"/>
                </a:lnTo>
                <a:lnTo>
                  <a:pt x="75" y="26"/>
                </a:lnTo>
                <a:lnTo>
                  <a:pt x="75" y="26"/>
                </a:lnTo>
                <a:lnTo>
                  <a:pt x="75" y="27"/>
                </a:lnTo>
                <a:lnTo>
                  <a:pt x="75" y="27"/>
                </a:lnTo>
                <a:lnTo>
                  <a:pt x="75" y="27"/>
                </a:lnTo>
                <a:lnTo>
                  <a:pt x="75" y="27"/>
                </a:lnTo>
                <a:lnTo>
                  <a:pt x="75" y="27"/>
                </a:lnTo>
                <a:lnTo>
                  <a:pt x="75" y="28"/>
                </a:lnTo>
                <a:lnTo>
                  <a:pt x="75" y="28"/>
                </a:lnTo>
                <a:lnTo>
                  <a:pt x="75" y="28"/>
                </a:lnTo>
                <a:lnTo>
                  <a:pt x="75" y="28"/>
                </a:lnTo>
                <a:lnTo>
                  <a:pt x="75" y="28"/>
                </a:lnTo>
                <a:lnTo>
                  <a:pt x="75" y="29"/>
                </a:lnTo>
                <a:lnTo>
                  <a:pt x="75" y="29"/>
                </a:lnTo>
                <a:lnTo>
                  <a:pt x="75" y="29"/>
                </a:lnTo>
                <a:lnTo>
                  <a:pt x="76" y="29"/>
                </a:lnTo>
                <a:lnTo>
                  <a:pt x="76" y="29"/>
                </a:lnTo>
                <a:lnTo>
                  <a:pt x="76" y="30"/>
                </a:lnTo>
                <a:lnTo>
                  <a:pt x="76" y="30"/>
                </a:lnTo>
                <a:lnTo>
                  <a:pt x="76" y="30"/>
                </a:lnTo>
                <a:lnTo>
                  <a:pt x="76" y="30"/>
                </a:lnTo>
                <a:lnTo>
                  <a:pt x="76" y="30"/>
                </a:lnTo>
                <a:lnTo>
                  <a:pt x="76" y="31"/>
                </a:lnTo>
                <a:lnTo>
                  <a:pt x="76" y="31"/>
                </a:lnTo>
                <a:lnTo>
                  <a:pt x="76" y="31"/>
                </a:lnTo>
                <a:lnTo>
                  <a:pt x="76" y="31"/>
                </a:lnTo>
                <a:lnTo>
                  <a:pt x="76" y="31"/>
                </a:lnTo>
                <a:lnTo>
                  <a:pt x="76" y="32"/>
                </a:lnTo>
                <a:lnTo>
                  <a:pt x="76" y="32"/>
                </a:lnTo>
                <a:lnTo>
                  <a:pt x="76" y="32"/>
                </a:lnTo>
                <a:lnTo>
                  <a:pt x="76" y="32"/>
                </a:lnTo>
                <a:lnTo>
                  <a:pt x="76" y="32"/>
                </a:lnTo>
                <a:lnTo>
                  <a:pt x="76" y="34"/>
                </a:lnTo>
                <a:lnTo>
                  <a:pt x="76" y="34"/>
                </a:lnTo>
                <a:lnTo>
                  <a:pt x="76" y="34"/>
                </a:lnTo>
                <a:lnTo>
                  <a:pt x="76" y="34"/>
                </a:lnTo>
                <a:lnTo>
                  <a:pt x="76" y="34"/>
                </a:lnTo>
                <a:lnTo>
                  <a:pt x="76" y="35"/>
                </a:lnTo>
                <a:lnTo>
                  <a:pt x="76" y="35"/>
                </a:lnTo>
                <a:lnTo>
                  <a:pt x="76" y="35"/>
                </a:lnTo>
                <a:lnTo>
                  <a:pt x="76" y="35"/>
                </a:lnTo>
                <a:lnTo>
                  <a:pt x="76" y="36"/>
                </a:lnTo>
                <a:lnTo>
                  <a:pt x="76" y="36"/>
                </a:lnTo>
                <a:lnTo>
                  <a:pt x="76" y="36"/>
                </a:lnTo>
                <a:lnTo>
                  <a:pt x="76" y="36"/>
                </a:lnTo>
                <a:lnTo>
                  <a:pt x="76" y="36"/>
                </a:lnTo>
                <a:lnTo>
                  <a:pt x="76" y="37"/>
                </a:lnTo>
                <a:lnTo>
                  <a:pt x="76" y="37"/>
                </a:lnTo>
                <a:lnTo>
                  <a:pt x="76" y="37"/>
                </a:lnTo>
                <a:lnTo>
                  <a:pt x="76" y="37"/>
                </a:lnTo>
                <a:close/>
                <a:moveTo>
                  <a:pt x="78" y="41"/>
                </a:moveTo>
                <a:lnTo>
                  <a:pt x="78" y="34"/>
                </a:lnTo>
                <a:lnTo>
                  <a:pt x="94" y="34"/>
                </a:lnTo>
                <a:lnTo>
                  <a:pt x="94" y="41"/>
                </a:lnTo>
                <a:lnTo>
                  <a:pt x="78" y="41"/>
                </a:lnTo>
                <a:lnTo>
                  <a:pt x="78" y="41"/>
                </a:lnTo>
                <a:close/>
                <a:moveTo>
                  <a:pt x="125" y="41"/>
                </a:moveTo>
                <a:lnTo>
                  <a:pt x="125" y="34"/>
                </a:lnTo>
                <a:lnTo>
                  <a:pt x="141" y="34"/>
                </a:lnTo>
                <a:lnTo>
                  <a:pt x="141" y="41"/>
                </a:lnTo>
                <a:lnTo>
                  <a:pt x="125" y="41"/>
                </a:lnTo>
                <a:lnTo>
                  <a:pt x="125" y="41"/>
                </a:lnTo>
                <a:close/>
                <a:moveTo>
                  <a:pt x="173" y="41"/>
                </a:moveTo>
                <a:lnTo>
                  <a:pt x="173" y="34"/>
                </a:lnTo>
                <a:lnTo>
                  <a:pt x="188" y="34"/>
                </a:lnTo>
                <a:lnTo>
                  <a:pt x="188" y="41"/>
                </a:lnTo>
                <a:lnTo>
                  <a:pt x="173" y="41"/>
                </a:lnTo>
                <a:lnTo>
                  <a:pt x="173" y="41"/>
                </a:lnTo>
                <a:close/>
                <a:moveTo>
                  <a:pt x="220" y="41"/>
                </a:moveTo>
                <a:lnTo>
                  <a:pt x="220" y="34"/>
                </a:lnTo>
                <a:lnTo>
                  <a:pt x="236" y="34"/>
                </a:lnTo>
                <a:lnTo>
                  <a:pt x="236" y="41"/>
                </a:lnTo>
                <a:lnTo>
                  <a:pt x="220" y="41"/>
                </a:lnTo>
                <a:lnTo>
                  <a:pt x="220" y="41"/>
                </a:lnTo>
                <a:close/>
                <a:moveTo>
                  <a:pt x="267" y="41"/>
                </a:moveTo>
                <a:lnTo>
                  <a:pt x="267" y="34"/>
                </a:lnTo>
                <a:lnTo>
                  <a:pt x="283" y="34"/>
                </a:lnTo>
                <a:lnTo>
                  <a:pt x="283" y="41"/>
                </a:lnTo>
                <a:lnTo>
                  <a:pt x="267" y="41"/>
                </a:lnTo>
                <a:lnTo>
                  <a:pt x="267" y="41"/>
                </a:lnTo>
                <a:close/>
                <a:moveTo>
                  <a:pt x="314" y="41"/>
                </a:moveTo>
                <a:lnTo>
                  <a:pt x="314" y="34"/>
                </a:lnTo>
                <a:lnTo>
                  <a:pt x="330" y="34"/>
                </a:lnTo>
                <a:lnTo>
                  <a:pt x="330" y="41"/>
                </a:lnTo>
                <a:lnTo>
                  <a:pt x="314" y="41"/>
                </a:lnTo>
                <a:lnTo>
                  <a:pt x="314" y="41"/>
                </a:lnTo>
                <a:close/>
                <a:moveTo>
                  <a:pt x="362" y="41"/>
                </a:moveTo>
                <a:lnTo>
                  <a:pt x="362" y="34"/>
                </a:lnTo>
                <a:lnTo>
                  <a:pt x="376" y="34"/>
                </a:lnTo>
                <a:lnTo>
                  <a:pt x="376" y="41"/>
                </a:lnTo>
                <a:lnTo>
                  <a:pt x="362" y="41"/>
                </a:lnTo>
                <a:lnTo>
                  <a:pt x="362" y="41"/>
                </a:lnTo>
                <a:close/>
                <a:moveTo>
                  <a:pt x="408" y="41"/>
                </a:moveTo>
                <a:lnTo>
                  <a:pt x="408" y="34"/>
                </a:lnTo>
                <a:lnTo>
                  <a:pt x="424" y="34"/>
                </a:lnTo>
                <a:lnTo>
                  <a:pt x="424" y="41"/>
                </a:lnTo>
                <a:lnTo>
                  <a:pt x="408" y="41"/>
                </a:lnTo>
                <a:lnTo>
                  <a:pt x="408" y="41"/>
                </a:lnTo>
                <a:close/>
                <a:moveTo>
                  <a:pt x="455" y="41"/>
                </a:moveTo>
                <a:lnTo>
                  <a:pt x="455" y="34"/>
                </a:lnTo>
                <a:lnTo>
                  <a:pt x="471" y="34"/>
                </a:lnTo>
                <a:lnTo>
                  <a:pt x="471" y="41"/>
                </a:lnTo>
                <a:lnTo>
                  <a:pt x="455" y="41"/>
                </a:lnTo>
                <a:close/>
              </a:path>
            </a:pathLst>
          </a:custGeom>
          <a:solidFill>
            <a:srgbClr val="8497B0"/>
          </a:solidFill>
          <a:ln>
            <a:solidFill>
              <a:schemeClr val="accent3">
                <a:lumMod val="60000"/>
                <a:lumOff val="40000"/>
              </a:schemeClr>
            </a:solidFill>
          </a:ln>
        </p:spPr>
        <p:txBody>
          <a:bodyPr vert="horz" wrap="square" lIns="91440" tIns="45720" rIns="91440" bIns="45720" numCol="1" anchor="t" anchorCtr="0" compatLnSpc="1">
            <a:prstTxWarp prst="textNoShape">
              <a:avLst/>
            </a:prstTxWarp>
          </a:bodyPr>
          <a:lstStyle/>
          <a:p>
            <a:endParaRPr lang="en-US"/>
          </a:p>
        </p:txBody>
      </p:sp>
      <p:sp>
        <p:nvSpPr>
          <p:cNvPr id="111" name="Oval 69">
            <a:extLst>
              <a:ext uri="{FF2B5EF4-FFF2-40B4-BE49-F238E27FC236}">
                <a16:creationId xmlns:a16="http://schemas.microsoft.com/office/drawing/2014/main" id="{DB4D3688-7E3C-431F-9EDE-7AF63550D8E9}"/>
              </a:ext>
            </a:extLst>
          </p:cNvPr>
          <p:cNvSpPr>
            <a:spLocks noChangeArrowheads="1"/>
          </p:cNvSpPr>
          <p:nvPr/>
        </p:nvSpPr>
        <p:spPr bwMode="auto">
          <a:xfrm>
            <a:off x="8729603" y="3052762"/>
            <a:ext cx="798513" cy="798512"/>
          </a:xfrm>
          <a:prstGeom prst="ellipse">
            <a:avLst/>
          </a:prstGeom>
          <a:solidFill>
            <a:schemeClr val="accent3">
              <a:lumMod val="60000"/>
              <a:lumOff val="40000"/>
            </a:schemeClr>
          </a:solidFill>
          <a:ln>
            <a:noFill/>
          </a:ln>
          <a:effectLst/>
        </p:spPr>
        <p:txBody>
          <a:bodyPr vert="horz" wrap="square" lIns="91440" tIns="45720" rIns="91440" bIns="45720" numCol="1" anchor="ctr" anchorCtr="0" compatLnSpc="1">
            <a:prstTxWarp prst="textNoShape">
              <a:avLst/>
            </a:prstTxWarp>
          </a:bodyPr>
          <a:lstStyle/>
          <a:p>
            <a:pPr algn="ctr"/>
            <a:r>
              <a:rPr lang="uz-Cyrl-UZ" b="1" dirty="0"/>
              <a:t>5</a:t>
            </a:r>
            <a:endParaRPr lang="ru-RU" b="1" dirty="0"/>
          </a:p>
        </p:txBody>
      </p:sp>
      <p:sp>
        <p:nvSpPr>
          <p:cNvPr id="113" name="Freeform 71">
            <a:extLst>
              <a:ext uri="{FF2B5EF4-FFF2-40B4-BE49-F238E27FC236}">
                <a16:creationId xmlns:a16="http://schemas.microsoft.com/office/drawing/2014/main" id="{A541A53F-4E06-4E6E-8CFB-98C7B6EFB13F}"/>
              </a:ext>
            </a:extLst>
          </p:cNvPr>
          <p:cNvSpPr>
            <a:spLocks/>
          </p:cNvSpPr>
          <p:nvPr/>
        </p:nvSpPr>
        <p:spPr bwMode="auto">
          <a:xfrm>
            <a:off x="8735159" y="3055829"/>
            <a:ext cx="787400" cy="787400"/>
          </a:xfrm>
          <a:custGeom>
            <a:avLst/>
            <a:gdLst>
              <a:gd name="T0" fmla="*/ 62 w 510"/>
              <a:gd name="T1" fmla="*/ 367 h 510"/>
              <a:gd name="T2" fmla="*/ 144 w 510"/>
              <a:gd name="T3" fmla="*/ 62 h 510"/>
              <a:gd name="T4" fmla="*/ 449 w 510"/>
              <a:gd name="T5" fmla="*/ 144 h 510"/>
              <a:gd name="T6" fmla="*/ 367 w 510"/>
              <a:gd name="T7" fmla="*/ 449 h 510"/>
              <a:gd name="T8" fmla="*/ 62 w 510"/>
              <a:gd name="T9" fmla="*/ 367 h 510"/>
            </a:gdLst>
            <a:ahLst/>
            <a:cxnLst>
              <a:cxn ang="0">
                <a:pos x="T0" y="T1"/>
              </a:cxn>
              <a:cxn ang="0">
                <a:pos x="T2" y="T3"/>
              </a:cxn>
              <a:cxn ang="0">
                <a:pos x="T4" y="T5"/>
              </a:cxn>
              <a:cxn ang="0">
                <a:pos x="T6" y="T7"/>
              </a:cxn>
              <a:cxn ang="0">
                <a:pos x="T8" y="T9"/>
              </a:cxn>
            </a:cxnLst>
            <a:rect l="0" t="0" r="r" b="b"/>
            <a:pathLst>
              <a:path w="510" h="510">
                <a:moveTo>
                  <a:pt x="62" y="367"/>
                </a:moveTo>
                <a:cubicBezTo>
                  <a:pt x="0" y="260"/>
                  <a:pt x="37" y="124"/>
                  <a:pt x="144" y="62"/>
                </a:cubicBezTo>
                <a:cubicBezTo>
                  <a:pt x="250" y="0"/>
                  <a:pt x="387" y="37"/>
                  <a:pt x="449" y="144"/>
                </a:cubicBezTo>
                <a:cubicBezTo>
                  <a:pt x="510" y="251"/>
                  <a:pt x="474" y="387"/>
                  <a:pt x="367" y="449"/>
                </a:cubicBezTo>
                <a:cubicBezTo>
                  <a:pt x="260" y="510"/>
                  <a:pt x="124" y="474"/>
                  <a:pt x="62" y="367"/>
                </a:cubicBezTo>
                <a:close/>
              </a:path>
            </a:pathLst>
          </a:custGeom>
          <a:noFill/>
          <a:ln w="19050">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sp>
        <p:nvSpPr>
          <p:cNvPr id="114" name="TextBox 113">
            <a:extLst>
              <a:ext uri="{FF2B5EF4-FFF2-40B4-BE49-F238E27FC236}">
                <a16:creationId xmlns:a16="http://schemas.microsoft.com/office/drawing/2014/main" id="{758FEE6E-1510-435A-8104-6F460D51AF41}"/>
              </a:ext>
            </a:extLst>
          </p:cNvPr>
          <p:cNvSpPr txBox="1"/>
          <p:nvPr/>
        </p:nvSpPr>
        <p:spPr>
          <a:xfrm flipH="1">
            <a:off x="9522559" y="3015338"/>
            <a:ext cx="2243981" cy="646331"/>
          </a:xfrm>
          <a:prstGeom prst="rect">
            <a:avLst/>
          </a:prstGeom>
          <a:noFill/>
        </p:spPr>
        <p:txBody>
          <a:bodyPr wrap="square" lIns="0" tIns="0" rIns="0" bIns="0" rtlCol="0" anchor="ctr">
            <a:spAutoFit/>
          </a:bodyPr>
          <a:lstStyle/>
          <a:p>
            <a:pPr algn="r"/>
            <a:r>
              <a:rPr lang="ru-RU" sz="1400" dirty="0" smtClean="0"/>
              <a:t>Театр </a:t>
            </a:r>
            <a:r>
              <a:rPr lang="ru-RU" sz="1400" dirty="0" err="1" smtClean="0"/>
              <a:t>ва</a:t>
            </a:r>
            <a:r>
              <a:rPr lang="ru-RU" sz="1400" dirty="0" smtClean="0"/>
              <a:t> музей, </a:t>
            </a:r>
            <a:r>
              <a:rPr lang="ru-RU" sz="1400" dirty="0" err="1" smtClean="0"/>
              <a:t>хиёбон</a:t>
            </a:r>
            <a:r>
              <a:rPr lang="ru-RU" sz="1400" dirty="0" smtClean="0"/>
              <a:t>, кино, </a:t>
            </a:r>
            <a:r>
              <a:rPr lang="ru-RU" sz="1400" dirty="0" err="1" smtClean="0"/>
              <a:t>тарихий</a:t>
            </a:r>
            <a:r>
              <a:rPr lang="ru-RU" sz="1400" dirty="0" smtClean="0"/>
              <a:t> </a:t>
            </a:r>
            <a:r>
              <a:rPr lang="ru-RU" sz="1400" dirty="0" err="1" smtClean="0"/>
              <a:t>қадамжоларга</a:t>
            </a:r>
            <a:r>
              <a:rPr lang="ru-RU" sz="1400" dirty="0" smtClean="0"/>
              <a:t> </a:t>
            </a:r>
            <a:r>
              <a:rPr lang="ru-RU" sz="1400" dirty="0" err="1" smtClean="0"/>
              <a:t>ташрифлар</a:t>
            </a:r>
            <a:endParaRPr lang="ru-RU" sz="1400" dirty="0"/>
          </a:p>
        </p:txBody>
      </p:sp>
      <p:sp>
        <p:nvSpPr>
          <p:cNvPr id="115" name="Freeform 83">
            <a:extLst>
              <a:ext uri="{FF2B5EF4-FFF2-40B4-BE49-F238E27FC236}">
                <a16:creationId xmlns:a16="http://schemas.microsoft.com/office/drawing/2014/main" id="{6F60578B-3CE5-44FD-BACE-0057E9ED854E}"/>
              </a:ext>
            </a:extLst>
          </p:cNvPr>
          <p:cNvSpPr>
            <a:spLocks noEditPoints="1"/>
          </p:cNvSpPr>
          <p:nvPr/>
        </p:nvSpPr>
        <p:spPr bwMode="auto">
          <a:xfrm>
            <a:off x="7915058" y="4886570"/>
            <a:ext cx="822325" cy="117475"/>
          </a:xfrm>
          <a:custGeom>
            <a:avLst/>
            <a:gdLst>
              <a:gd name="T0" fmla="*/ 43 w 518"/>
              <a:gd name="T1" fmla="*/ 66 h 74"/>
              <a:gd name="T2" fmla="*/ 49 w 518"/>
              <a:gd name="T3" fmla="*/ 65 h 74"/>
              <a:gd name="T4" fmla="*/ 54 w 518"/>
              <a:gd name="T5" fmla="*/ 62 h 74"/>
              <a:gd name="T6" fmla="*/ 59 w 518"/>
              <a:gd name="T7" fmla="*/ 58 h 74"/>
              <a:gd name="T8" fmla="*/ 63 w 518"/>
              <a:gd name="T9" fmla="*/ 54 h 74"/>
              <a:gd name="T10" fmla="*/ 66 w 518"/>
              <a:gd name="T11" fmla="*/ 48 h 74"/>
              <a:gd name="T12" fmla="*/ 68 w 518"/>
              <a:gd name="T13" fmla="*/ 43 h 74"/>
              <a:gd name="T14" fmla="*/ 68 w 518"/>
              <a:gd name="T15" fmla="*/ 37 h 74"/>
              <a:gd name="T16" fmla="*/ 68 w 518"/>
              <a:gd name="T17" fmla="*/ 30 h 74"/>
              <a:gd name="T18" fmla="*/ 66 w 518"/>
              <a:gd name="T19" fmla="*/ 25 h 74"/>
              <a:gd name="T20" fmla="*/ 62 w 518"/>
              <a:gd name="T21" fmla="*/ 20 h 74"/>
              <a:gd name="T22" fmla="*/ 59 w 518"/>
              <a:gd name="T23" fmla="*/ 16 h 74"/>
              <a:gd name="T24" fmla="*/ 54 w 518"/>
              <a:gd name="T25" fmla="*/ 12 h 74"/>
              <a:gd name="T26" fmla="*/ 49 w 518"/>
              <a:gd name="T27" fmla="*/ 9 h 74"/>
              <a:gd name="T28" fmla="*/ 43 w 518"/>
              <a:gd name="T29" fmla="*/ 8 h 74"/>
              <a:gd name="T30" fmla="*/ 36 w 518"/>
              <a:gd name="T31" fmla="*/ 8 h 74"/>
              <a:gd name="T32" fmla="*/ 31 w 518"/>
              <a:gd name="T33" fmla="*/ 9 h 74"/>
              <a:gd name="T34" fmla="*/ 25 w 518"/>
              <a:gd name="T35" fmla="*/ 11 h 74"/>
              <a:gd name="T36" fmla="*/ 21 w 518"/>
              <a:gd name="T37" fmla="*/ 13 h 74"/>
              <a:gd name="T38" fmla="*/ 16 w 518"/>
              <a:gd name="T39" fmla="*/ 18 h 74"/>
              <a:gd name="T40" fmla="*/ 13 w 518"/>
              <a:gd name="T41" fmla="*/ 22 h 74"/>
              <a:gd name="T42" fmla="*/ 10 w 518"/>
              <a:gd name="T43" fmla="*/ 28 h 74"/>
              <a:gd name="T44" fmla="*/ 9 w 518"/>
              <a:gd name="T45" fmla="*/ 34 h 74"/>
              <a:gd name="T46" fmla="*/ 9 w 518"/>
              <a:gd name="T47" fmla="*/ 40 h 74"/>
              <a:gd name="T48" fmla="*/ 10 w 518"/>
              <a:gd name="T49" fmla="*/ 46 h 74"/>
              <a:gd name="T50" fmla="*/ 13 w 518"/>
              <a:gd name="T51" fmla="*/ 52 h 74"/>
              <a:gd name="T52" fmla="*/ 16 w 518"/>
              <a:gd name="T53" fmla="*/ 56 h 74"/>
              <a:gd name="T54" fmla="*/ 21 w 518"/>
              <a:gd name="T55" fmla="*/ 61 h 74"/>
              <a:gd name="T56" fmla="*/ 25 w 518"/>
              <a:gd name="T57" fmla="*/ 64 h 74"/>
              <a:gd name="T58" fmla="*/ 31 w 518"/>
              <a:gd name="T59" fmla="*/ 66 h 74"/>
              <a:gd name="T60" fmla="*/ 37 w 518"/>
              <a:gd name="T61" fmla="*/ 66 h 74"/>
              <a:gd name="T62" fmla="*/ 76 w 518"/>
              <a:gd name="T63" fmla="*/ 43 h 74"/>
              <a:gd name="T64" fmla="*/ 73 w 518"/>
              <a:gd name="T65" fmla="*/ 50 h 74"/>
              <a:gd name="T66" fmla="*/ 70 w 518"/>
              <a:gd name="T67" fmla="*/ 57 h 74"/>
              <a:gd name="T68" fmla="*/ 66 w 518"/>
              <a:gd name="T69" fmla="*/ 63 h 74"/>
              <a:gd name="T70" fmla="*/ 60 w 518"/>
              <a:gd name="T71" fmla="*/ 67 h 74"/>
              <a:gd name="T72" fmla="*/ 54 w 518"/>
              <a:gd name="T73" fmla="*/ 72 h 74"/>
              <a:gd name="T74" fmla="*/ 46 w 518"/>
              <a:gd name="T75" fmla="*/ 74 h 74"/>
              <a:gd name="T76" fmla="*/ 39 w 518"/>
              <a:gd name="T77" fmla="*/ 74 h 74"/>
              <a:gd name="T78" fmla="*/ 31 w 518"/>
              <a:gd name="T79" fmla="*/ 74 h 74"/>
              <a:gd name="T80" fmla="*/ 24 w 518"/>
              <a:gd name="T81" fmla="*/ 72 h 74"/>
              <a:gd name="T82" fmla="*/ 17 w 518"/>
              <a:gd name="T83" fmla="*/ 68 h 74"/>
              <a:gd name="T84" fmla="*/ 12 w 518"/>
              <a:gd name="T85" fmla="*/ 63 h 74"/>
              <a:gd name="T86" fmla="*/ 7 w 518"/>
              <a:gd name="T87" fmla="*/ 57 h 74"/>
              <a:gd name="T88" fmla="*/ 4 w 518"/>
              <a:gd name="T89" fmla="*/ 50 h 74"/>
              <a:gd name="T90" fmla="*/ 1 w 518"/>
              <a:gd name="T91" fmla="*/ 44 h 74"/>
              <a:gd name="T92" fmla="*/ 0 w 518"/>
              <a:gd name="T93" fmla="*/ 36 h 74"/>
              <a:gd name="T94" fmla="*/ 1 w 518"/>
              <a:gd name="T95" fmla="*/ 28 h 74"/>
              <a:gd name="T96" fmla="*/ 5 w 518"/>
              <a:gd name="T97" fmla="*/ 21 h 74"/>
              <a:gd name="T98" fmla="*/ 8 w 518"/>
              <a:gd name="T99" fmla="*/ 14 h 74"/>
              <a:gd name="T100" fmla="*/ 14 w 518"/>
              <a:gd name="T101" fmla="*/ 9 h 74"/>
              <a:gd name="T102" fmla="*/ 19 w 518"/>
              <a:gd name="T103" fmla="*/ 4 h 74"/>
              <a:gd name="T104" fmla="*/ 26 w 518"/>
              <a:gd name="T105" fmla="*/ 1 h 74"/>
              <a:gd name="T106" fmla="*/ 34 w 518"/>
              <a:gd name="T107" fmla="*/ 0 h 74"/>
              <a:gd name="T108" fmla="*/ 42 w 518"/>
              <a:gd name="T109" fmla="*/ 0 h 74"/>
              <a:gd name="T110" fmla="*/ 50 w 518"/>
              <a:gd name="T111" fmla="*/ 1 h 74"/>
              <a:gd name="T112" fmla="*/ 57 w 518"/>
              <a:gd name="T113" fmla="*/ 4 h 74"/>
              <a:gd name="T114" fmla="*/ 62 w 518"/>
              <a:gd name="T115" fmla="*/ 8 h 74"/>
              <a:gd name="T116" fmla="*/ 68 w 518"/>
              <a:gd name="T117" fmla="*/ 13 h 74"/>
              <a:gd name="T118" fmla="*/ 72 w 518"/>
              <a:gd name="T119" fmla="*/ 20 h 74"/>
              <a:gd name="T120" fmla="*/ 75 w 518"/>
              <a:gd name="T121" fmla="*/ 27 h 74"/>
              <a:gd name="T122" fmla="*/ 76 w 518"/>
              <a:gd name="T123" fmla="*/ 35 h 74"/>
              <a:gd name="T124" fmla="*/ 236 w 518"/>
              <a:gd name="T125" fmla="*/ 3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8" h="74">
                <a:moveTo>
                  <a:pt x="502" y="41"/>
                </a:moveTo>
                <a:lnTo>
                  <a:pt x="502" y="34"/>
                </a:lnTo>
                <a:lnTo>
                  <a:pt x="518" y="34"/>
                </a:lnTo>
                <a:lnTo>
                  <a:pt x="518" y="41"/>
                </a:lnTo>
                <a:lnTo>
                  <a:pt x="502" y="41"/>
                </a:lnTo>
                <a:lnTo>
                  <a:pt x="502" y="41"/>
                </a:lnTo>
                <a:close/>
                <a:moveTo>
                  <a:pt x="39" y="66"/>
                </a:moveTo>
                <a:lnTo>
                  <a:pt x="39" y="66"/>
                </a:lnTo>
                <a:lnTo>
                  <a:pt x="39" y="66"/>
                </a:lnTo>
                <a:lnTo>
                  <a:pt x="39" y="66"/>
                </a:lnTo>
                <a:lnTo>
                  <a:pt x="40" y="66"/>
                </a:lnTo>
                <a:lnTo>
                  <a:pt x="40" y="66"/>
                </a:lnTo>
                <a:lnTo>
                  <a:pt x="40" y="66"/>
                </a:lnTo>
                <a:lnTo>
                  <a:pt x="40" y="66"/>
                </a:lnTo>
                <a:lnTo>
                  <a:pt x="40" y="66"/>
                </a:lnTo>
                <a:lnTo>
                  <a:pt x="40" y="66"/>
                </a:lnTo>
                <a:lnTo>
                  <a:pt x="41" y="66"/>
                </a:lnTo>
                <a:lnTo>
                  <a:pt x="41" y="66"/>
                </a:lnTo>
                <a:lnTo>
                  <a:pt x="41" y="66"/>
                </a:lnTo>
                <a:lnTo>
                  <a:pt x="41" y="66"/>
                </a:lnTo>
                <a:lnTo>
                  <a:pt x="41" y="66"/>
                </a:lnTo>
                <a:lnTo>
                  <a:pt x="41" y="66"/>
                </a:lnTo>
                <a:lnTo>
                  <a:pt x="42" y="66"/>
                </a:lnTo>
                <a:lnTo>
                  <a:pt x="42" y="66"/>
                </a:lnTo>
                <a:lnTo>
                  <a:pt x="42" y="66"/>
                </a:lnTo>
                <a:lnTo>
                  <a:pt x="42" y="66"/>
                </a:lnTo>
                <a:lnTo>
                  <a:pt x="42" y="66"/>
                </a:lnTo>
                <a:lnTo>
                  <a:pt x="42" y="66"/>
                </a:lnTo>
                <a:lnTo>
                  <a:pt x="43" y="66"/>
                </a:lnTo>
                <a:lnTo>
                  <a:pt x="43" y="66"/>
                </a:lnTo>
                <a:lnTo>
                  <a:pt x="43" y="66"/>
                </a:lnTo>
                <a:lnTo>
                  <a:pt x="43" y="66"/>
                </a:lnTo>
                <a:lnTo>
                  <a:pt x="43" y="66"/>
                </a:lnTo>
                <a:lnTo>
                  <a:pt x="43" y="66"/>
                </a:lnTo>
                <a:lnTo>
                  <a:pt x="44" y="66"/>
                </a:lnTo>
                <a:lnTo>
                  <a:pt x="44" y="66"/>
                </a:lnTo>
                <a:lnTo>
                  <a:pt x="44" y="66"/>
                </a:lnTo>
                <a:lnTo>
                  <a:pt x="44" y="66"/>
                </a:lnTo>
                <a:lnTo>
                  <a:pt x="44" y="66"/>
                </a:lnTo>
                <a:lnTo>
                  <a:pt x="44" y="66"/>
                </a:lnTo>
                <a:lnTo>
                  <a:pt x="45" y="66"/>
                </a:lnTo>
                <a:lnTo>
                  <a:pt x="45" y="66"/>
                </a:lnTo>
                <a:lnTo>
                  <a:pt x="45" y="66"/>
                </a:lnTo>
                <a:lnTo>
                  <a:pt x="45" y="66"/>
                </a:lnTo>
                <a:lnTo>
                  <a:pt x="45" y="66"/>
                </a:lnTo>
                <a:lnTo>
                  <a:pt x="45" y="66"/>
                </a:lnTo>
                <a:lnTo>
                  <a:pt x="45" y="66"/>
                </a:lnTo>
                <a:lnTo>
                  <a:pt x="46" y="66"/>
                </a:lnTo>
                <a:lnTo>
                  <a:pt x="46" y="66"/>
                </a:lnTo>
                <a:lnTo>
                  <a:pt x="46" y="65"/>
                </a:lnTo>
                <a:lnTo>
                  <a:pt x="46" y="65"/>
                </a:lnTo>
                <a:lnTo>
                  <a:pt x="46" y="65"/>
                </a:lnTo>
                <a:lnTo>
                  <a:pt x="46" y="65"/>
                </a:lnTo>
                <a:lnTo>
                  <a:pt x="48" y="65"/>
                </a:lnTo>
                <a:lnTo>
                  <a:pt x="48" y="65"/>
                </a:lnTo>
                <a:lnTo>
                  <a:pt x="48" y="65"/>
                </a:lnTo>
                <a:lnTo>
                  <a:pt x="48" y="65"/>
                </a:lnTo>
                <a:lnTo>
                  <a:pt x="48" y="65"/>
                </a:lnTo>
                <a:lnTo>
                  <a:pt x="48" y="65"/>
                </a:lnTo>
                <a:lnTo>
                  <a:pt x="48" y="65"/>
                </a:lnTo>
                <a:lnTo>
                  <a:pt x="49" y="65"/>
                </a:lnTo>
                <a:lnTo>
                  <a:pt x="49" y="65"/>
                </a:lnTo>
                <a:lnTo>
                  <a:pt x="49" y="65"/>
                </a:lnTo>
                <a:lnTo>
                  <a:pt x="49" y="65"/>
                </a:lnTo>
                <a:lnTo>
                  <a:pt x="49" y="65"/>
                </a:lnTo>
                <a:lnTo>
                  <a:pt x="49" y="65"/>
                </a:lnTo>
                <a:lnTo>
                  <a:pt x="50" y="65"/>
                </a:lnTo>
                <a:lnTo>
                  <a:pt x="50" y="65"/>
                </a:lnTo>
                <a:lnTo>
                  <a:pt x="50" y="64"/>
                </a:lnTo>
                <a:lnTo>
                  <a:pt x="50" y="64"/>
                </a:lnTo>
                <a:lnTo>
                  <a:pt x="50" y="64"/>
                </a:lnTo>
                <a:lnTo>
                  <a:pt x="50" y="64"/>
                </a:lnTo>
                <a:lnTo>
                  <a:pt x="50" y="64"/>
                </a:lnTo>
                <a:lnTo>
                  <a:pt x="51" y="64"/>
                </a:lnTo>
                <a:lnTo>
                  <a:pt x="51" y="64"/>
                </a:lnTo>
                <a:lnTo>
                  <a:pt x="51" y="64"/>
                </a:lnTo>
                <a:lnTo>
                  <a:pt x="51" y="64"/>
                </a:lnTo>
                <a:lnTo>
                  <a:pt x="51" y="64"/>
                </a:lnTo>
                <a:lnTo>
                  <a:pt x="51" y="64"/>
                </a:lnTo>
                <a:lnTo>
                  <a:pt x="51" y="64"/>
                </a:lnTo>
                <a:lnTo>
                  <a:pt x="52" y="64"/>
                </a:lnTo>
                <a:lnTo>
                  <a:pt x="52" y="64"/>
                </a:lnTo>
                <a:lnTo>
                  <a:pt x="52" y="64"/>
                </a:lnTo>
                <a:lnTo>
                  <a:pt x="52" y="63"/>
                </a:lnTo>
                <a:lnTo>
                  <a:pt x="52" y="63"/>
                </a:lnTo>
                <a:lnTo>
                  <a:pt x="52" y="63"/>
                </a:lnTo>
                <a:lnTo>
                  <a:pt x="52" y="63"/>
                </a:lnTo>
                <a:lnTo>
                  <a:pt x="53" y="63"/>
                </a:lnTo>
                <a:lnTo>
                  <a:pt x="53" y="63"/>
                </a:lnTo>
                <a:lnTo>
                  <a:pt x="53" y="63"/>
                </a:lnTo>
                <a:lnTo>
                  <a:pt x="53" y="63"/>
                </a:lnTo>
                <a:lnTo>
                  <a:pt x="53" y="63"/>
                </a:lnTo>
                <a:lnTo>
                  <a:pt x="53" y="63"/>
                </a:lnTo>
                <a:lnTo>
                  <a:pt x="53" y="63"/>
                </a:lnTo>
                <a:lnTo>
                  <a:pt x="54" y="63"/>
                </a:lnTo>
                <a:lnTo>
                  <a:pt x="54" y="63"/>
                </a:lnTo>
                <a:lnTo>
                  <a:pt x="54" y="62"/>
                </a:lnTo>
                <a:lnTo>
                  <a:pt x="54" y="62"/>
                </a:lnTo>
                <a:lnTo>
                  <a:pt x="54" y="62"/>
                </a:lnTo>
                <a:lnTo>
                  <a:pt x="54" y="62"/>
                </a:lnTo>
                <a:lnTo>
                  <a:pt x="54" y="62"/>
                </a:lnTo>
                <a:lnTo>
                  <a:pt x="54" y="62"/>
                </a:lnTo>
                <a:lnTo>
                  <a:pt x="55" y="62"/>
                </a:lnTo>
                <a:lnTo>
                  <a:pt x="55" y="62"/>
                </a:lnTo>
                <a:lnTo>
                  <a:pt x="55" y="62"/>
                </a:lnTo>
                <a:lnTo>
                  <a:pt x="55" y="62"/>
                </a:lnTo>
                <a:lnTo>
                  <a:pt x="55" y="62"/>
                </a:lnTo>
                <a:lnTo>
                  <a:pt x="55" y="61"/>
                </a:lnTo>
                <a:lnTo>
                  <a:pt x="55" y="61"/>
                </a:lnTo>
                <a:lnTo>
                  <a:pt x="55" y="61"/>
                </a:lnTo>
                <a:lnTo>
                  <a:pt x="57" y="61"/>
                </a:lnTo>
                <a:lnTo>
                  <a:pt x="57" y="61"/>
                </a:lnTo>
                <a:lnTo>
                  <a:pt x="57" y="61"/>
                </a:lnTo>
                <a:lnTo>
                  <a:pt x="57" y="61"/>
                </a:lnTo>
                <a:lnTo>
                  <a:pt x="57" y="61"/>
                </a:lnTo>
                <a:lnTo>
                  <a:pt x="57" y="61"/>
                </a:lnTo>
                <a:lnTo>
                  <a:pt x="57" y="61"/>
                </a:lnTo>
                <a:lnTo>
                  <a:pt x="57" y="59"/>
                </a:lnTo>
                <a:lnTo>
                  <a:pt x="58" y="59"/>
                </a:lnTo>
                <a:lnTo>
                  <a:pt x="58" y="59"/>
                </a:lnTo>
                <a:lnTo>
                  <a:pt x="58" y="59"/>
                </a:lnTo>
                <a:lnTo>
                  <a:pt x="58" y="59"/>
                </a:lnTo>
                <a:lnTo>
                  <a:pt x="58" y="59"/>
                </a:lnTo>
                <a:lnTo>
                  <a:pt x="58" y="59"/>
                </a:lnTo>
                <a:lnTo>
                  <a:pt x="58" y="59"/>
                </a:lnTo>
                <a:lnTo>
                  <a:pt x="58" y="59"/>
                </a:lnTo>
                <a:lnTo>
                  <a:pt x="59" y="59"/>
                </a:lnTo>
                <a:lnTo>
                  <a:pt x="59" y="58"/>
                </a:lnTo>
                <a:lnTo>
                  <a:pt x="59" y="58"/>
                </a:lnTo>
                <a:lnTo>
                  <a:pt x="59" y="58"/>
                </a:lnTo>
                <a:lnTo>
                  <a:pt x="59" y="58"/>
                </a:lnTo>
                <a:lnTo>
                  <a:pt x="59" y="58"/>
                </a:lnTo>
                <a:lnTo>
                  <a:pt x="59" y="58"/>
                </a:lnTo>
                <a:lnTo>
                  <a:pt x="59" y="58"/>
                </a:lnTo>
                <a:lnTo>
                  <a:pt x="60" y="58"/>
                </a:lnTo>
                <a:lnTo>
                  <a:pt x="60" y="58"/>
                </a:lnTo>
                <a:lnTo>
                  <a:pt x="60" y="57"/>
                </a:lnTo>
                <a:lnTo>
                  <a:pt x="60" y="57"/>
                </a:lnTo>
                <a:lnTo>
                  <a:pt x="60" y="57"/>
                </a:lnTo>
                <a:lnTo>
                  <a:pt x="60" y="57"/>
                </a:lnTo>
                <a:lnTo>
                  <a:pt x="60" y="57"/>
                </a:lnTo>
                <a:lnTo>
                  <a:pt x="60" y="57"/>
                </a:lnTo>
                <a:lnTo>
                  <a:pt x="60" y="57"/>
                </a:lnTo>
                <a:lnTo>
                  <a:pt x="60" y="57"/>
                </a:lnTo>
                <a:lnTo>
                  <a:pt x="61" y="57"/>
                </a:lnTo>
                <a:lnTo>
                  <a:pt x="61" y="56"/>
                </a:lnTo>
                <a:lnTo>
                  <a:pt x="61" y="56"/>
                </a:lnTo>
                <a:lnTo>
                  <a:pt x="61" y="56"/>
                </a:lnTo>
                <a:lnTo>
                  <a:pt x="61" y="56"/>
                </a:lnTo>
                <a:lnTo>
                  <a:pt x="61" y="56"/>
                </a:lnTo>
                <a:lnTo>
                  <a:pt x="61" y="56"/>
                </a:lnTo>
                <a:lnTo>
                  <a:pt x="61" y="56"/>
                </a:lnTo>
                <a:lnTo>
                  <a:pt x="61" y="56"/>
                </a:lnTo>
                <a:lnTo>
                  <a:pt x="62" y="55"/>
                </a:lnTo>
                <a:lnTo>
                  <a:pt x="62" y="55"/>
                </a:lnTo>
                <a:lnTo>
                  <a:pt x="62" y="55"/>
                </a:lnTo>
                <a:lnTo>
                  <a:pt x="62" y="55"/>
                </a:lnTo>
                <a:lnTo>
                  <a:pt x="62" y="55"/>
                </a:lnTo>
                <a:lnTo>
                  <a:pt x="62" y="55"/>
                </a:lnTo>
                <a:lnTo>
                  <a:pt x="62" y="55"/>
                </a:lnTo>
                <a:lnTo>
                  <a:pt x="62" y="55"/>
                </a:lnTo>
                <a:lnTo>
                  <a:pt x="62" y="54"/>
                </a:lnTo>
                <a:lnTo>
                  <a:pt x="62" y="54"/>
                </a:lnTo>
                <a:lnTo>
                  <a:pt x="62" y="54"/>
                </a:lnTo>
                <a:lnTo>
                  <a:pt x="63" y="54"/>
                </a:lnTo>
                <a:lnTo>
                  <a:pt x="63" y="54"/>
                </a:lnTo>
                <a:lnTo>
                  <a:pt x="63" y="54"/>
                </a:lnTo>
                <a:lnTo>
                  <a:pt x="63" y="54"/>
                </a:lnTo>
                <a:lnTo>
                  <a:pt x="63" y="54"/>
                </a:lnTo>
                <a:lnTo>
                  <a:pt x="63" y="53"/>
                </a:lnTo>
                <a:lnTo>
                  <a:pt x="63" y="53"/>
                </a:lnTo>
                <a:lnTo>
                  <a:pt x="63" y="53"/>
                </a:lnTo>
                <a:lnTo>
                  <a:pt x="63" y="53"/>
                </a:lnTo>
                <a:lnTo>
                  <a:pt x="63" y="53"/>
                </a:lnTo>
                <a:lnTo>
                  <a:pt x="63" y="53"/>
                </a:lnTo>
                <a:lnTo>
                  <a:pt x="63" y="53"/>
                </a:lnTo>
                <a:lnTo>
                  <a:pt x="64" y="52"/>
                </a:lnTo>
                <a:lnTo>
                  <a:pt x="64" y="52"/>
                </a:lnTo>
                <a:lnTo>
                  <a:pt x="64" y="52"/>
                </a:lnTo>
                <a:lnTo>
                  <a:pt x="64" y="52"/>
                </a:lnTo>
                <a:lnTo>
                  <a:pt x="64" y="52"/>
                </a:lnTo>
                <a:lnTo>
                  <a:pt x="64" y="52"/>
                </a:lnTo>
                <a:lnTo>
                  <a:pt x="64" y="52"/>
                </a:lnTo>
                <a:lnTo>
                  <a:pt x="64" y="50"/>
                </a:lnTo>
                <a:lnTo>
                  <a:pt x="64" y="50"/>
                </a:lnTo>
                <a:lnTo>
                  <a:pt x="64" y="50"/>
                </a:lnTo>
                <a:lnTo>
                  <a:pt x="64" y="50"/>
                </a:lnTo>
                <a:lnTo>
                  <a:pt x="64" y="50"/>
                </a:lnTo>
                <a:lnTo>
                  <a:pt x="64" y="50"/>
                </a:lnTo>
                <a:lnTo>
                  <a:pt x="66" y="50"/>
                </a:lnTo>
                <a:lnTo>
                  <a:pt x="66" y="49"/>
                </a:lnTo>
                <a:lnTo>
                  <a:pt x="66" y="49"/>
                </a:lnTo>
                <a:lnTo>
                  <a:pt x="66" y="49"/>
                </a:lnTo>
                <a:lnTo>
                  <a:pt x="66" y="49"/>
                </a:lnTo>
                <a:lnTo>
                  <a:pt x="66" y="49"/>
                </a:lnTo>
                <a:lnTo>
                  <a:pt x="66" y="49"/>
                </a:lnTo>
                <a:lnTo>
                  <a:pt x="66" y="49"/>
                </a:lnTo>
                <a:lnTo>
                  <a:pt x="66" y="48"/>
                </a:lnTo>
                <a:lnTo>
                  <a:pt x="66" y="48"/>
                </a:lnTo>
                <a:lnTo>
                  <a:pt x="66" y="48"/>
                </a:lnTo>
                <a:lnTo>
                  <a:pt x="66" y="48"/>
                </a:lnTo>
                <a:lnTo>
                  <a:pt x="66" y="48"/>
                </a:lnTo>
                <a:lnTo>
                  <a:pt x="66" y="48"/>
                </a:lnTo>
                <a:lnTo>
                  <a:pt x="66" y="48"/>
                </a:lnTo>
                <a:lnTo>
                  <a:pt x="67" y="47"/>
                </a:lnTo>
                <a:lnTo>
                  <a:pt x="67" y="47"/>
                </a:lnTo>
                <a:lnTo>
                  <a:pt x="67" y="47"/>
                </a:lnTo>
                <a:lnTo>
                  <a:pt x="67" y="47"/>
                </a:lnTo>
                <a:lnTo>
                  <a:pt x="67" y="47"/>
                </a:lnTo>
                <a:lnTo>
                  <a:pt x="67" y="47"/>
                </a:lnTo>
                <a:lnTo>
                  <a:pt x="67" y="47"/>
                </a:lnTo>
                <a:lnTo>
                  <a:pt x="67" y="46"/>
                </a:lnTo>
                <a:lnTo>
                  <a:pt x="67" y="46"/>
                </a:lnTo>
                <a:lnTo>
                  <a:pt x="67" y="46"/>
                </a:lnTo>
                <a:lnTo>
                  <a:pt x="67" y="46"/>
                </a:lnTo>
                <a:lnTo>
                  <a:pt x="67" y="46"/>
                </a:lnTo>
                <a:lnTo>
                  <a:pt x="67" y="46"/>
                </a:lnTo>
                <a:lnTo>
                  <a:pt x="67" y="45"/>
                </a:lnTo>
                <a:lnTo>
                  <a:pt x="67" y="45"/>
                </a:lnTo>
                <a:lnTo>
                  <a:pt x="67" y="45"/>
                </a:lnTo>
                <a:lnTo>
                  <a:pt x="67" y="45"/>
                </a:lnTo>
                <a:lnTo>
                  <a:pt x="67" y="45"/>
                </a:lnTo>
                <a:lnTo>
                  <a:pt x="67" y="45"/>
                </a:lnTo>
                <a:lnTo>
                  <a:pt x="67" y="44"/>
                </a:lnTo>
                <a:lnTo>
                  <a:pt x="67" y="44"/>
                </a:lnTo>
                <a:lnTo>
                  <a:pt x="68" y="44"/>
                </a:lnTo>
                <a:lnTo>
                  <a:pt x="68" y="44"/>
                </a:lnTo>
                <a:lnTo>
                  <a:pt x="68" y="44"/>
                </a:lnTo>
                <a:lnTo>
                  <a:pt x="68" y="44"/>
                </a:lnTo>
                <a:lnTo>
                  <a:pt x="68" y="44"/>
                </a:lnTo>
                <a:lnTo>
                  <a:pt x="68" y="43"/>
                </a:lnTo>
                <a:lnTo>
                  <a:pt x="68" y="43"/>
                </a:lnTo>
                <a:lnTo>
                  <a:pt x="68" y="43"/>
                </a:lnTo>
                <a:lnTo>
                  <a:pt x="68" y="43"/>
                </a:lnTo>
                <a:lnTo>
                  <a:pt x="68" y="43"/>
                </a:lnTo>
                <a:lnTo>
                  <a:pt x="68" y="43"/>
                </a:lnTo>
                <a:lnTo>
                  <a:pt x="68" y="41"/>
                </a:lnTo>
                <a:lnTo>
                  <a:pt x="68" y="41"/>
                </a:lnTo>
                <a:lnTo>
                  <a:pt x="68" y="41"/>
                </a:lnTo>
                <a:lnTo>
                  <a:pt x="68" y="41"/>
                </a:lnTo>
                <a:lnTo>
                  <a:pt x="68" y="41"/>
                </a:lnTo>
                <a:lnTo>
                  <a:pt x="68" y="41"/>
                </a:lnTo>
                <a:lnTo>
                  <a:pt x="68" y="40"/>
                </a:lnTo>
                <a:lnTo>
                  <a:pt x="68" y="40"/>
                </a:lnTo>
                <a:lnTo>
                  <a:pt x="68" y="40"/>
                </a:lnTo>
                <a:lnTo>
                  <a:pt x="68" y="40"/>
                </a:lnTo>
                <a:lnTo>
                  <a:pt x="68" y="40"/>
                </a:lnTo>
                <a:lnTo>
                  <a:pt x="68" y="40"/>
                </a:lnTo>
                <a:lnTo>
                  <a:pt x="68" y="39"/>
                </a:lnTo>
                <a:lnTo>
                  <a:pt x="68" y="39"/>
                </a:lnTo>
                <a:lnTo>
                  <a:pt x="68" y="39"/>
                </a:lnTo>
                <a:lnTo>
                  <a:pt x="68" y="39"/>
                </a:lnTo>
                <a:lnTo>
                  <a:pt x="68" y="39"/>
                </a:lnTo>
                <a:lnTo>
                  <a:pt x="68" y="39"/>
                </a:lnTo>
                <a:lnTo>
                  <a:pt x="68" y="38"/>
                </a:lnTo>
                <a:lnTo>
                  <a:pt x="68" y="38"/>
                </a:lnTo>
                <a:lnTo>
                  <a:pt x="68" y="38"/>
                </a:lnTo>
                <a:lnTo>
                  <a:pt x="68" y="38"/>
                </a:lnTo>
                <a:lnTo>
                  <a:pt x="68" y="38"/>
                </a:lnTo>
                <a:lnTo>
                  <a:pt x="68" y="38"/>
                </a:lnTo>
                <a:lnTo>
                  <a:pt x="68" y="37"/>
                </a:lnTo>
                <a:lnTo>
                  <a:pt x="68" y="37"/>
                </a:lnTo>
                <a:lnTo>
                  <a:pt x="68" y="37"/>
                </a:lnTo>
                <a:lnTo>
                  <a:pt x="68" y="37"/>
                </a:lnTo>
                <a:lnTo>
                  <a:pt x="68" y="37"/>
                </a:lnTo>
                <a:lnTo>
                  <a:pt x="68" y="37"/>
                </a:lnTo>
                <a:lnTo>
                  <a:pt x="68" y="36"/>
                </a:lnTo>
                <a:lnTo>
                  <a:pt x="68" y="36"/>
                </a:lnTo>
                <a:lnTo>
                  <a:pt x="68" y="36"/>
                </a:lnTo>
                <a:lnTo>
                  <a:pt x="68" y="36"/>
                </a:lnTo>
                <a:lnTo>
                  <a:pt x="68" y="36"/>
                </a:lnTo>
                <a:lnTo>
                  <a:pt x="68" y="36"/>
                </a:lnTo>
                <a:lnTo>
                  <a:pt x="68" y="35"/>
                </a:lnTo>
                <a:lnTo>
                  <a:pt x="68" y="35"/>
                </a:lnTo>
                <a:lnTo>
                  <a:pt x="68" y="35"/>
                </a:lnTo>
                <a:lnTo>
                  <a:pt x="68" y="35"/>
                </a:lnTo>
                <a:lnTo>
                  <a:pt x="68" y="35"/>
                </a:lnTo>
                <a:lnTo>
                  <a:pt x="68" y="35"/>
                </a:lnTo>
                <a:lnTo>
                  <a:pt x="68" y="34"/>
                </a:lnTo>
                <a:lnTo>
                  <a:pt x="68" y="34"/>
                </a:lnTo>
                <a:lnTo>
                  <a:pt x="68" y="34"/>
                </a:lnTo>
                <a:lnTo>
                  <a:pt x="68" y="34"/>
                </a:lnTo>
                <a:lnTo>
                  <a:pt x="68" y="34"/>
                </a:lnTo>
                <a:lnTo>
                  <a:pt x="68" y="34"/>
                </a:lnTo>
                <a:lnTo>
                  <a:pt x="68" y="32"/>
                </a:lnTo>
                <a:lnTo>
                  <a:pt x="68" y="32"/>
                </a:lnTo>
                <a:lnTo>
                  <a:pt x="68" y="32"/>
                </a:lnTo>
                <a:lnTo>
                  <a:pt x="68" y="32"/>
                </a:lnTo>
                <a:lnTo>
                  <a:pt x="68" y="32"/>
                </a:lnTo>
                <a:lnTo>
                  <a:pt x="68" y="32"/>
                </a:lnTo>
                <a:lnTo>
                  <a:pt x="68" y="31"/>
                </a:lnTo>
                <a:lnTo>
                  <a:pt x="68" y="31"/>
                </a:lnTo>
                <a:lnTo>
                  <a:pt x="68" y="31"/>
                </a:lnTo>
                <a:lnTo>
                  <a:pt x="68" y="31"/>
                </a:lnTo>
                <a:lnTo>
                  <a:pt x="68" y="31"/>
                </a:lnTo>
                <a:lnTo>
                  <a:pt x="68" y="31"/>
                </a:lnTo>
                <a:lnTo>
                  <a:pt x="68" y="30"/>
                </a:lnTo>
                <a:lnTo>
                  <a:pt x="68" y="30"/>
                </a:lnTo>
                <a:lnTo>
                  <a:pt x="68" y="30"/>
                </a:lnTo>
                <a:lnTo>
                  <a:pt x="68" y="30"/>
                </a:lnTo>
                <a:lnTo>
                  <a:pt x="67" y="30"/>
                </a:lnTo>
                <a:lnTo>
                  <a:pt x="67" y="30"/>
                </a:lnTo>
                <a:lnTo>
                  <a:pt x="67" y="29"/>
                </a:lnTo>
                <a:lnTo>
                  <a:pt x="67" y="29"/>
                </a:lnTo>
                <a:lnTo>
                  <a:pt x="67" y="29"/>
                </a:lnTo>
                <a:lnTo>
                  <a:pt x="67" y="29"/>
                </a:lnTo>
                <a:lnTo>
                  <a:pt x="67" y="29"/>
                </a:lnTo>
                <a:lnTo>
                  <a:pt x="67" y="29"/>
                </a:lnTo>
                <a:lnTo>
                  <a:pt x="67" y="29"/>
                </a:lnTo>
                <a:lnTo>
                  <a:pt x="67" y="28"/>
                </a:lnTo>
                <a:lnTo>
                  <a:pt x="67" y="28"/>
                </a:lnTo>
                <a:lnTo>
                  <a:pt x="67" y="28"/>
                </a:lnTo>
                <a:lnTo>
                  <a:pt x="67" y="28"/>
                </a:lnTo>
                <a:lnTo>
                  <a:pt x="67" y="28"/>
                </a:lnTo>
                <a:lnTo>
                  <a:pt x="67" y="28"/>
                </a:lnTo>
                <a:lnTo>
                  <a:pt x="67" y="27"/>
                </a:lnTo>
                <a:lnTo>
                  <a:pt x="67" y="27"/>
                </a:lnTo>
                <a:lnTo>
                  <a:pt x="67" y="27"/>
                </a:lnTo>
                <a:lnTo>
                  <a:pt x="67" y="27"/>
                </a:lnTo>
                <a:lnTo>
                  <a:pt x="67" y="27"/>
                </a:lnTo>
                <a:lnTo>
                  <a:pt x="67" y="27"/>
                </a:lnTo>
                <a:lnTo>
                  <a:pt x="66" y="27"/>
                </a:lnTo>
                <a:lnTo>
                  <a:pt x="66" y="26"/>
                </a:lnTo>
                <a:lnTo>
                  <a:pt x="66" y="26"/>
                </a:lnTo>
                <a:lnTo>
                  <a:pt x="66" y="26"/>
                </a:lnTo>
                <a:lnTo>
                  <a:pt x="66" y="26"/>
                </a:lnTo>
                <a:lnTo>
                  <a:pt x="66" y="26"/>
                </a:lnTo>
                <a:lnTo>
                  <a:pt x="66" y="26"/>
                </a:lnTo>
                <a:lnTo>
                  <a:pt x="66" y="26"/>
                </a:lnTo>
                <a:lnTo>
                  <a:pt x="66" y="25"/>
                </a:lnTo>
                <a:lnTo>
                  <a:pt x="66" y="25"/>
                </a:lnTo>
                <a:lnTo>
                  <a:pt x="66" y="25"/>
                </a:lnTo>
                <a:lnTo>
                  <a:pt x="66" y="25"/>
                </a:lnTo>
                <a:lnTo>
                  <a:pt x="66" y="25"/>
                </a:lnTo>
                <a:lnTo>
                  <a:pt x="66" y="25"/>
                </a:lnTo>
                <a:lnTo>
                  <a:pt x="66" y="25"/>
                </a:lnTo>
                <a:lnTo>
                  <a:pt x="64" y="23"/>
                </a:lnTo>
                <a:lnTo>
                  <a:pt x="64" y="23"/>
                </a:lnTo>
                <a:lnTo>
                  <a:pt x="64" y="23"/>
                </a:lnTo>
                <a:lnTo>
                  <a:pt x="64" y="23"/>
                </a:lnTo>
                <a:lnTo>
                  <a:pt x="64" y="23"/>
                </a:lnTo>
                <a:lnTo>
                  <a:pt x="64" y="23"/>
                </a:lnTo>
                <a:lnTo>
                  <a:pt x="64" y="23"/>
                </a:lnTo>
                <a:lnTo>
                  <a:pt x="64" y="22"/>
                </a:lnTo>
                <a:lnTo>
                  <a:pt x="64" y="22"/>
                </a:lnTo>
                <a:lnTo>
                  <a:pt x="64" y="22"/>
                </a:lnTo>
                <a:lnTo>
                  <a:pt x="64" y="22"/>
                </a:lnTo>
                <a:lnTo>
                  <a:pt x="64" y="22"/>
                </a:lnTo>
                <a:lnTo>
                  <a:pt x="64" y="22"/>
                </a:lnTo>
                <a:lnTo>
                  <a:pt x="63" y="22"/>
                </a:lnTo>
                <a:lnTo>
                  <a:pt x="63" y="21"/>
                </a:lnTo>
                <a:lnTo>
                  <a:pt x="63" y="21"/>
                </a:lnTo>
                <a:lnTo>
                  <a:pt x="63" y="21"/>
                </a:lnTo>
                <a:lnTo>
                  <a:pt x="63" y="21"/>
                </a:lnTo>
                <a:lnTo>
                  <a:pt x="63" y="21"/>
                </a:lnTo>
                <a:lnTo>
                  <a:pt x="63" y="21"/>
                </a:lnTo>
                <a:lnTo>
                  <a:pt x="63" y="21"/>
                </a:lnTo>
                <a:lnTo>
                  <a:pt x="63" y="20"/>
                </a:lnTo>
                <a:lnTo>
                  <a:pt x="63" y="20"/>
                </a:lnTo>
                <a:lnTo>
                  <a:pt x="63" y="20"/>
                </a:lnTo>
                <a:lnTo>
                  <a:pt x="63" y="20"/>
                </a:lnTo>
                <a:lnTo>
                  <a:pt x="62" y="20"/>
                </a:lnTo>
                <a:lnTo>
                  <a:pt x="62" y="20"/>
                </a:lnTo>
                <a:lnTo>
                  <a:pt x="62" y="20"/>
                </a:lnTo>
                <a:lnTo>
                  <a:pt x="62" y="20"/>
                </a:lnTo>
                <a:lnTo>
                  <a:pt x="62" y="19"/>
                </a:lnTo>
                <a:lnTo>
                  <a:pt x="62" y="19"/>
                </a:lnTo>
                <a:lnTo>
                  <a:pt x="62" y="19"/>
                </a:lnTo>
                <a:lnTo>
                  <a:pt x="62" y="19"/>
                </a:lnTo>
                <a:lnTo>
                  <a:pt x="62" y="19"/>
                </a:lnTo>
                <a:lnTo>
                  <a:pt x="62" y="19"/>
                </a:lnTo>
                <a:lnTo>
                  <a:pt x="62" y="19"/>
                </a:lnTo>
                <a:lnTo>
                  <a:pt x="61" y="19"/>
                </a:lnTo>
                <a:lnTo>
                  <a:pt x="61" y="18"/>
                </a:lnTo>
                <a:lnTo>
                  <a:pt x="61" y="18"/>
                </a:lnTo>
                <a:lnTo>
                  <a:pt x="61" y="18"/>
                </a:lnTo>
                <a:lnTo>
                  <a:pt x="61" y="18"/>
                </a:lnTo>
                <a:lnTo>
                  <a:pt x="61" y="18"/>
                </a:lnTo>
                <a:lnTo>
                  <a:pt x="61" y="18"/>
                </a:lnTo>
                <a:lnTo>
                  <a:pt x="61" y="18"/>
                </a:lnTo>
                <a:lnTo>
                  <a:pt x="61" y="18"/>
                </a:lnTo>
                <a:lnTo>
                  <a:pt x="60" y="17"/>
                </a:lnTo>
                <a:lnTo>
                  <a:pt x="60" y="17"/>
                </a:lnTo>
                <a:lnTo>
                  <a:pt x="60" y="17"/>
                </a:lnTo>
                <a:lnTo>
                  <a:pt x="60" y="17"/>
                </a:lnTo>
                <a:lnTo>
                  <a:pt x="60" y="17"/>
                </a:lnTo>
                <a:lnTo>
                  <a:pt x="60" y="17"/>
                </a:lnTo>
                <a:lnTo>
                  <a:pt x="60" y="17"/>
                </a:lnTo>
                <a:lnTo>
                  <a:pt x="60" y="17"/>
                </a:lnTo>
                <a:lnTo>
                  <a:pt x="60" y="17"/>
                </a:lnTo>
                <a:lnTo>
                  <a:pt x="60" y="16"/>
                </a:lnTo>
                <a:lnTo>
                  <a:pt x="59" y="16"/>
                </a:lnTo>
                <a:lnTo>
                  <a:pt x="59" y="16"/>
                </a:lnTo>
                <a:lnTo>
                  <a:pt x="59" y="16"/>
                </a:lnTo>
                <a:lnTo>
                  <a:pt x="59" y="16"/>
                </a:lnTo>
                <a:lnTo>
                  <a:pt x="59" y="16"/>
                </a:lnTo>
                <a:lnTo>
                  <a:pt x="59" y="16"/>
                </a:lnTo>
                <a:lnTo>
                  <a:pt x="59" y="16"/>
                </a:lnTo>
                <a:lnTo>
                  <a:pt x="59" y="16"/>
                </a:lnTo>
                <a:lnTo>
                  <a:pt x="58" y="14"/>
                </a:lnTo>
                <a:lnTo>
                  <a:pt x="58" y="14"/>
                </a:lnTo>
                <a:lnTo>
                  <a:pt x="58" y="14"/>
                </a:lnTo>
                <a:lnTo>
                  <a:pt x="58" y="14"/>
                </a:lnTo>
                <a:lnTo>
                  <a:pt x="58" y="14"/>
                </a:lnTo>
                <a:lnTo>
                  <a:pt x="58" y="14"/>
                </a:lnTo>
                <a:lnTo>
                  <a:pt x="58" y="14"/>
                </a:lnTo>
                <a:lnTo>
                  <a:pt x="58" y="14"/>
                </a:lnTo>
                <a:lnTo>
                  <a:pt x="57" y="14"/>
                </a:lnTo>
                <a:lnTo>
                  <a:pt x="57" y="14"/>
                </a:lnTo>
                <a:lnTo>
                  <a:pt x="57" y="13"/>
                </a:lnTo>
                <a:lnTo>
                  <a:pt x="57" y="13"/>
                </a:lnTo>
                <a:lnTo>
                  <a:pt x="57" y="13"/>
                </a:lnTo>
                <a:lnTo>
                  <a:pt x="57" y="13"/>
                </a:lnTo>
                <a:lnTo>
                  <a:pt x="57" y="13"/>
                </a:lnTo>
                <a:lnTo>
                  <a:pt x="57" y="13"/>
                </a:lnTo>
                <a:lnTo>
                  <a:pt x="55" y="13"/>
                </a:lnTo>
                <a:lnTo>
                  <a:pt x="55" y="13"/>
                </a:lnTo>
                <a:lnTo>
                  <a:pt x="55" y="13"/>
                </a:lnTo>
                <a:lnTo>
                  <a:pt x="55" y="13"/>
                </a:lnTo>
                <a:lnTo>
                  <a:pt x="55" y="12"/>
                </a:lnTo>
                <a:lnTo>
                  <a:pt x="55" y="12"/>
                </a:lnTo>
                <a:lnTo>
                  <a:pt x="55" y="12"/>
                </a:lnTo>
                <a:lnTo>
                  <a:pt x="55" y="12"/>
                </a:lnTo>
                <a:lnTo>
                  <a:pt x="54" y="12"/>
                </a:lnTo>
                <a:lnTo>
                  <a:pt x="54" y="12"/>
                </a:lnTo>
                <a:lnTo>
                  <a:pt x="54" y="12"/>
                </a:lnTo>
                <a:lnTo>
                  <a:pt x="54" y="12"/>
                </a:lnTo>
                <a:lnTo>
                  <a:pt x="54" y="12"/>
                </a:lnTo>
                <a:lnTo>
                  <a:pt x="54" y="12"/>
                </a:lnTo>
                <a:lnTo>
                  <a:pt x="54" y="12"/>
                </a:lnTo>
                <a:lnTo>
                  <a:pt x="54" y="12"/>
                </a:lnTo>
                <a:lnTo>
                  <a:pt x="53" y="11"/>
                </a:lnTo>
                <a:lnTo>
                  <a:pt x="53" y="11"/>
                </a:lnTo>
                <a:lnTo>
                  <a:pt x="53" y="11"/>
                </a:lnTo>
                <a:lnTo>
                  <a:pt x="53" y="11"/>
                </a:lnTo>
                <a:lnTo>
                  <a:pt x="53" y="11"/>
                </a:lnTo>
                <a:lnTo>
                  <a:pt x="53" y="11"/>
                </a:lnTo>
                <a:lnTo>
                  <a:pt x="53" y="11"/>
                </a:lnTo>
                <a:lnTo>
                  <a:pt x="52" y="11"/>
                </a:lnTo>
                <a:lnTo>
                  <a:pt x="52" y="11"/>
                </a:lnTo>
                <a:lnTo>
                  <a:pt x="52" y="11"/>
                </a:lnTo>
                <a:lnTo>
                  <a:pt x="52" y="11"/>
                </a:lnTo>
                <a:lnTo>
                  <a:pt x="52" y="11"/>
                </a:lnTo>
                <a:lnTo>
                  <a:pt x="52" y="11"/>
                </a:lnTo>
                <a:lnTo>
                  <a:pt x="52" y="10"/>
                </a:lnTo>
                <a:lnTo>
                  <a:pt x="51" y="10"/>
                </a:lnTo>
                <a:lnTo>
                  <a:pt x="51" y="10"/>
                </a:lnTo>
                <a:lnTo>
                  <a:pt x="51" y="10"/>
                </a:lnTo>
                <a:lnTo>
                  <a:pt x="51" y="10"/>
                </a:lnTo>
                <a:lnTo>
                  <a:pt x="51" y="10"/>
                </a:lnTo>
                <a:lnTo>
                  <a:pt x="51" y="10"/>
                </a:lnTo>
                <a:lnTo>
                  <a:pt x="51" y="10"/>
                </a:lnTo>
                <a:lnTo>
                  <a:pt x="50" y="10"/>
                </a:lnTo>
                <a:lnTo>
                  <a:pt x="50" y="10"/>
                </a:lnTo>
                <a:lnTo>
                  <a:pt x="50" y="10"/>
                </a:lnTo>
                <a:lnTo>
                  <a:pt x="50" y="10"/>
                </a:lnTo>
                <a:lnTo>
                  <a:pt x="50" y="10"/>
                </a:lnTo>
                <a:lnTo>
                  <a:pt x="50" y="10"/>
                </a:lnTo>
                <a:lnTo>
                  <a:pt x="50" y="10"/>
                </a:lnTo>
                <a:lnTo>
                  <a:pt x="49" y="9"/>
                </a:lnTo>
                <a:lnTo>
                  <a:pt x="49" y="9"/>
                </a:lnTo>
                <a:lnTo>
                  <a:pt x="49" y="9"/>
                </a:lnTo>
                <a:lnTo>
                  <a:pt x="49" y="9"/>
                </a:lnTo>
                <a:lnTo>
                  <a:pt x="49" y="9"/>
                </a:lnTo>
                <a:lnTo>
                  <a:pt x="49" y="9"/>
                </a:lnTo>
                <a:lnTo>
                  <a:pt x="48" y="9"/>
                </a:lnTo>
                <a:lnTo>
                  <a:pt x="48" y="9"/>
                </a:lnTo>
                <a:lnTo>
                  <a:pt x="48" y="9"/>
                </a:lnTo>
                <a:lnTo>
                  <a:pt x="48" y="9"/>
                </a:lnTo>
                <a:lnTo>
                  <a:pt x="48" y="9"/>
                </a:lnTo>
                <a:lnTo>
                  <a:pt x="48" y="9"/>
                </a:lnTo>
                <a:lnTo>
                  <a:pt x="48" y="9"/>
                </a:lnTo>
                <a:lnTo>
                  <a:pt x="46" y="9"/>
                </a:lnTo>
                <a:lnTo>
                  <a:pt x="46" y="9"/>
                </a:lnTo>
                <a:lnTo>
                  <a:pt x="46" y="9"/>
                </a:lnTo>
                <a:lnTo>
                  <a:pt x="46" y="9"/>
                </a:lnTo>
                <a:lnTo>
                  <a:pt x="46" y="9"/>
                </a:lnTo>
                <a:lnTo>
                  <a:pt x="46" y="9"/>
                </a:lnTo>
                <a:lnTo>
                  <a:pt x="45" y="9"/>
                </a:lnTo>
                <a:lnTo>
                  <a:pt x="45" y="8"/>
                </a:lnTo>
                <a:lnTo>
                  <a:pt x="45" y="8"/>
                </a:lnTo>
                <a:lnTo>
                  <a:pt x="45" y="8"/>
                </a:lnTo>
                <a:lnTo>
                  <a:pt x="45" y="8"/>
                </a:lnTo>
                <a:lnTo>
                  <a:pt x="45" y="8"/>
                </a:lnTo>
                <a:lnTo>
                  <a:pt x="44" y="8"/>
                </a:lnTo>
                <a:lnTo>
                  <a:pt x="44" y="8"/>
                </a:lnTo>
                <a:lnTo>
                  <a:pt x="44" y="8"/>
                </a:lnTo>
                <a:lnTo>
                  <a:pt x="44" y="8"/>
                </a:lnTo>
                <a:lnTo>
                  <a:pt x="44" y="8"/>
                </a:lnTo>
                <a:lnTo>
                  <a:pt x="44" y="8"/>
                </a:lnTo>
                <a:lnTo>
                  <a:pt x="44" y="8"/>
                </a:lnTo>
                <a:lnTo>
                  <a:pt x="43" y="8"/>
                </a:lnTo>
                <a:lnTo>
                  <a:pt x="43" y="8"/>
                </a:lnTo>
                <a:lnTo>
                  <a:pt x="43" y="8"/>
                </a:lnTo>
                <a:lnTo>
                  <a:pt x="43" y="8"/>
                </a:lnTo>
                <a:lnTo>
                  <a:pt x="43" y="8"/>
                </a:lnTo>
                <a:lnTo>
                  <a:pt x="43" y="8"/>
                </a:lnTo>
                <a:lnTo>
                  <a:pt x="42" y="8"/>
                </a:lnTo>
                <a:lnTo>
                  <a:pt x="42" y="8"/>
                </a:lnTo>
                <a:lnTo>
                  <a:pt x="42" y="8"/>
                </a:lnTo>
                <a:lnTo>
                  <a:pt x="42" y="8"/>
                </a:lnTo>
                <a:lnTo>
                  <a:pt x="42" y="8"/>
                </a:lnTo>
                <a:lnTo>
                  <a:pt x="42" y="8"/>
                </a:lnTo>
                <a:lnTo>
                  <a:pt x="41" y="8"/>
                </a:lnTo>
                <a:lnTo>
                  <a:pt x="41" y="8"/>
                </a:lnTo>
                <a:lnTo>
                  <a:pt x="41" y="8"/>
                </a:lnTo>
                <a:lnTo>
                  <a:pt x="41" y="8"/>
                </a:lnTo>
                <a:lnTo>
                  <a:pt x="41" y="8"/>
                </a:lnTo>
                <a:lnTo>
                  <a:pt x="41" y="8"/>
                </a:lnTo>
                <a:lnTo>
                  <a:pt x="40" y="8"/>
                </a:lnTo>
                <a:lnTo>
                  <a:pt x="40" y="8"/>
                </a:lnTo>
                <a:lnTo>
                  <a:pt x="40" y="8"/>
                </a:lnTo>
                <a:lnTo>
                  <a:pt x="40" y="8"/>
                </a:lnTo>
                <a:lnTo>
                  <a:pt x="40" y="8"/>
                </a:lnTo>
                <a:lnTo>
                  <a:pt x="40" y="8"/>
                </a:lnTo>
                <a:lnTo>
                  <a:pt x="39" y="8"/>
                </a:lnTo>
                <a:lnTo>
                  <a:pt x="39" y="8"/>
                </a:lnTo>
                <a:lnTo>
                  <a:pt x="39" y="8"/>
                </a:lnTo>
                <a:lnTo>
                  <a:pt x="39" y="8"/>
                </a:lnTo>
                <a:lnTo>
                  <a:pt x="39" y="8"/>
                </a:lnTo>
                <a:lnTo>
                  <a:pt x="39" y="8"/>
                </a:lnTo>
                <a:lnTo>
                  <a:pt x="37" y="8"/>
                </a:lnTo>
                <a:lnTo>
                  <a:pt x="37" y="8"/>
                </a:lnTo>
                <a:lnTo>
                  <a:pt x="37" y="8"/>
                </a:lnTo>
                <a:lnTo>
                  <a:pt x="37" y="8"/>
                </a:lnTo>
                <a:lnTo>
                  <a:pt x="37" y="8"/>
                </a:lnTo>
                <a:lnTo>
                  <a:pt x="37" y="8"/>
                </a:lnTo>
                <a:lnTo>
                  <a:pt x="36" y="8"/>
                </a:lnTo>
                <a:lnTo>
                  <a:pt x="36" y="8"/>
                </a:lnTo>
                <a:lnTo>
                  <a:pt x="36" y="8"/>
                </a:lnTo>
                <a:lnTo>
                  <a:pt x="36" y="8"/>
                </a:lnTo>
                <a:lnTo>
                  <a:pt x="36" y="8"/>
                </a:lnTo>
                <a:lnTo>
                  <a:pt x="36" y="8"/>
                </a:lnTo>
                <a:lnTo>
                  <a:pt x="35" y="8"/>
                </a:lnTo>
                <a:lnTo>
                  <a:pt x="35" y="8"/>
                </a:lnTo>
                <a:lnTo>
                  <a:pt x="35" y="8"/>
                </a:lnTo>
                <a:lnTo>
                  <a:pt x="35" y="8"/>
                </a:lnTo>
                <a:lnTo>
                  <a:pt x="35" y="8"/>
                </a:lnTo>
                <a:lnTo>
                  <a:pt x="35" y="8"/>
                </a:lnTo>
                <a:lnTo>
                  <a:pt x="34" y="8"/>
                </a:lnTo>
                <a:lnTo>
                  <a:pt x="34" y="8"/>
                </a:lnTo>
                <a:lnTo>
                  <a:pt x="34" y="8"/>
                </a:lnTo>
                <a:lnTo>
                  <a:pt x="34" y="8"/>
                </a:lnTo>
                <a:lnTo>
                  <a:pt x="34" y="8"/>
                </a:lnTo>
                <a:lnTo>
                  <a:pt x="34" y="8"/>
                </a:lnTo>
                <a:lnTo>
                  <a:pt x="33" y="8"/>
                </a:lnTo>
                <a:lnTo>
                  <a:pt x="33" y="8"/>
                </a:lnTo>
                <a:lnTo>
                  <a:pt x="33" y="8"/>
                </a:lnTo>
                <a:lnTo>
                  <a:pt x="33" y="8"/>
                </a:lnTo>
                <a:lnTo>
                  <a:pt x="33" y="8"/>
                </a:lnTo>
                <a:lnTo>
                  <a:pt x="33" y="8"/>
                </a:lnTo>
                <a:lnTo>
                  <a:pt x="32" y="8"/>
                </a:lnTo>
                <a:lnTo>
                  <a:pt x="32" y="8"/>
                </a:lnTo>
                <a:lnTo>
                  <a:pt x="32" y="8"/>
                </a:lnTo>
                <a:lnTo>
                  <a:pt x="32" y="8"/>
                </a:lnTo>
                <a:lnTo>
                  <a:pt x="32" y="8"/>
                </a:lnTo>
                <a:lnTo>
                  <a:pt x="32" y="8"/>
                </a:lnTo>
                <a:lnTo>
                  <a:pt x="31" y="8"/>
                </a:lnTo>
                <a:lnTo>
                  <a:pt x="31" y="9"/>
                </a:lnTo>
                <a:lnTo>
                  <a:pt x="31" y="9"/>
                </a:lnTo>
                <a:lnTo>
                  <a:pt x="31" y="9"/>
                </a:lnTo>
                <a:lnTo>
                  <a:pt x="31" y="9"/>
                </a:lnTo>
                <a:lnTo>
                  <a:pt x="31" y="9"/>
                </a:lnTo>
                <a:lnTo>
                  <a:pt x="31" y="9"/>
                </a:lnTo>
                <a:lnTo>
                  <a:pt x="30" y="9"/>
                </a:lnTo>
                <a:lnTo>
                  <a:pt x="30" y="9"/>
                </a:lnTo>
                <a:lnTo>
                  <a:pt x="30" y="9"/>
                </a:lnTo>
                <a:lnTo>
                  <a:pt x="30" y="9"/>
                </a:lnTo>
                <a:lnTo>
                  <a:pt x="30" y="9"/>
                </a:lnTo>
                <a:lnTo>
                  <a:pt x="30" y="9"/>
                </a:lnTo>
                <a:lnTo>
                  <a:pt x="28" y="9"/>
                </a:lnTo>
                <a:lnTo>
                  <a:pt x="28" y="9"/>
                </a:lnTo>
                <a:lnTo>
                  <a:pt x="28" y="9"/>
                </a:lnTo>
                <a:lnTo>
                  <a:pt x="28" y="9"/>
                </a:lnTo>
                <a:lnTo>
                  <a:pt x="28" y="9"/>
                </a:lnTo>
                <a:lnTo>
                  <a:pt x="28" y="9"/>
                </a:lnTo>
                <a:lnTo>
                  <a:pt x="28" y="9"/>
                </a:lnTo>
                <a:lnTo>
                  <a:pt x="27" y="9"/>
                </a:lnTo>
                <a:lnTo>
                  <a:pt x="27" y="10"/>
                </a:lnTo>
                <a:lnTo>
                  <a:pt x="27" y="10"/>
                </a:lnTo>
                <a:lnTo>
                  <a:pt x="27" y="10"/>
                </a:lnTo>
                <a:lnTo>
                  <a:pt x="27" y="10"/>
                </a:lnTo>
                <a:lnTo>
                  <a:pt x="27" y="10"/>
                </a:lnTo>
                <a:lnTo>
                  <a:pt x="26" y="10"/>
                </a:lnTo>
                <a:lnTo>
                  <a:pt x="26" y="10"/>
                </a:lnTo>
                <a:lnTo>
                  <a:pt x="26" y="10"/>
                </a:lnTo>
                <a:lnTo>
                  <a:pt x="26" y="10"/>
                </a:lnTo>
                <a:lnTo>
                  <a:pt x="26" y="10"/>
                </a:lnTo>
                <a:lnTo>
                  <a:pt x="26" y="10"/>
                </a:lnTo>
                <a:lnTo>
                  <a:pt x="26" y="10"/>
                </a:lnTo>
                <a:lnTo>
                  <a:pt x="25" y="10"/>
                </a:lnTo>
                <a:lnTo>
                  <a:pt x="25" y="10"/>
                </a:lnTo>
                <a:lnTo>
                  <a:pt x="25" y="10"/>
                </a:lnTo>
                <a:lnTo>
                  <a:pt x="25" y="11"/>
                </a:lnTo>
                <a:lnTo>
                  <a:pt x="25" y="11"/>
                </a:lnTo>
                <a:lnTo>
                  <a:pt x="25" y="11"/>
                </a:lnTo>
                <a:lnTo>
                  <a:pt x="25" y="11"/>
                </a:lnTo>
                <a:lnTo>
                  <a:pt x="24" y="11"/>
                </a:lnTo>
                <a:lnTo>
                  <a:pt x="24" y="11"/>
                </a:lnTo>
                <a:lnTo>
                  <a:pt x="24" y="11"/>
                </a:lnTo>
                <a:lnTo>
                  <a:pt x="24" y="11"/>
                </a:lnTo>
                <a:lnTo>
                  <a:pt x="24" y="11"/>
                </a:lnTo>
                <a:lnTo>
                  <a:pt x="24" y="11"/>
                </a:lnTo>
                <a:lnTo>
                  <a:pt x="24" y="11"/>
                </a:lnTo>
                <a:lnTo>
                  <a:pt x="24" y="11"/>
                </a:lnTo>
                <a:lnTo>
                  <a:pt x="23" y="11"/>
                </a:lnTo>
                <a:lnTo>
                  <a:pt x="23" y="12"/>
                </a:lnTo>
                <a:lnTo>
                  <a:pt x="23" y="12"/>
                </a:lnTo>
                <a:lnTo>
                  <a:pt x="23" y="12"/>
                </a:lnTo>
                <a:lnTo>
                  <a:pt x="23" y="12"/>
                </a:lnTo>
                <a:lnTo>
                  <a:pt x="23" y="12"/>
                </a:lnTo>
                <a:lnTo>
                  <a:pt x="23" y="12"/>
                </a:lnTo>
                <a:lnTo>
                  <a:pt x="22" y="12"/>
                </a:lnTo>
                <a:lnTo>
                  <a:pt x="22" y="12"/>
                </a:lnTo>
                <a:lnTo>
                  <a:pt x="22" y="12"/>
                </a:lnTo>
                <a:lnTo>
                  <a:pt x="22" y="12"/>
                </a:lnTo>
                <a:lnTo>
                  <a:pt x="22" y="12"/>
                </a:lnTo>
                <a:lnTo>
                  <a:pt x="22" y="12"/>
                </a:lnTo>
                <a:lnTo>
                  <a:pt x="22" y="13"/>
                </a:lnTo>
                <a:lnTo>
                  <a:pt x="22" y="13"/>
                </a:lnTo>
                <a:lnTo>
                  <a:pt x="21" y="13"/>
                </a:lnTo>
                <a:lnTo>
                  <a:pt x="21" y="13"/>
                </a:lnTo>
                <a:lnTo>
                  <a:pt x="21" y="13"/>
                </a:lnTo>
                <a:lnTo>
                  <a:pt x="21" y="13"/>
                </a:lnTo>
                <a:lnTo>
                  <a:pt x="21" y="13"/>
                </a:lnTo>
                <a:lnTo>
                  <a:pt x="21" y="13"/>
                </a:lnTo>
                <a:lnTo>
                  <a:pt x="21" y="13"/>
                </a:lnTo>
                <a:lnTo>
                  <a:pt x="19" y="13"/>
                </a:lnTo>
                <a:lnTo>
                  <a:pt x="19" y="14"/>
                </a:lnTo>
                <a:lnTo>
                  <a:pt x="19" y="14"/>
                </a:lnTo>
                <a:lnTo>
                  <a:pt x="19" y="14"/>
                </a:lnTo>
                <a:lnTo>
                  <a:pt x="19" y="14"/>
                </a:lnTo>
                <a:lnTo>
                  <a:pt x="19" y="14"/>
                </a:lnTo>
                <a:lnTo>
                  <a:pt x="19" y="14"/>
                </a:lnTo>
                <a:lnTo>
                  <a:pt x="19" y="14"/>
                </a:lnTo>
                <a:lnTo>
                  <a:pt x="19" y="14"/>
                </a:lnTo>
                <a:lnTo>
                  <a:pt x="18" y="14"/>
                </a:lnTo>
                <a:lnTo>
                  <a:pt x="18" y="14"/>
                </a:lnTo>
                <a:lnTo>
                  <a:pt x="18" y="16"/>
                </a:lnTo>
                <a:lnTo>
                  <a:pt x="18" y="16"/>
                </a:lnTo>
                <a:lnTo>
                  <a:pt x="18" y="16"/>
                </a:lnTo>
                <a:lnTo>
                  <a:pt x="18" y="16"/>
                </a:lnTo>
                <a:lnTo>
                  <a:pt x="18" y="16"/>
                </a:lnTo>
                <a:lnTo>
                  <a:pt x="18" y="16"/>
                </a:lnTo>
                <a:lnTo>
                  <a:pt x="17" y="16"/>
                </a:lnTo>
                <a:lnTo>
                  <a:pt x="17" y="16"/>
                </a:lnTo>
                <a:lnTo>
                  <a:pt x="17" y="16"/>
                </a:lnTo>
                <a:lnTo>
                  <a:pt x="17" y="17"/>
                </a:lnTo>
                <a:lnTo>
                  <a:pt x="17" y="17"/>
                </a:lnTo>
                <a:lnTo>
                  <a:pt x="17" y="17"/>
                </a:lnTo>
                <a:lnTo>
                  <a:pt x="17" y="17"/>
                </a:lnTo>
                <a:lnTo>
                  <a:pt x="17" y="17"/>
                </a:lnTo>
                <a:lnTo>
                  <a:pt x="17" y="17"/>
                </a:lnTo>
                <a:lnTo>
                  <a:pt x="16" y="17"/>
                </a:lnTo>
                <a:lnTo>
                  <a:pt x="16" y="17"/>
                </a:lnTo>
                <a:lnTo>
                  <a:pt x="16" y="17"/>
                </a:lnTo>
                <a:lnTo>
                  <a:pt x="16" y="18"/>
                </a:lnTo>
                <a:lnTo>
                  <a:pt x="16" y="18"/>
                </a:lnTo>
                <a:lnTo>
                  <a:pt x="16" y="18"/>
                </a:lnTo>
                <a:lnTo>
                  <a:pt x="16" y="18"/>
                </a:lnTo>
                <a:lnTo>
                  <a:pt x="16" y="18"/>
                </a:lnTo>
                <a:lnTo>
                  <a:pt x="16" y="18"/>
                </a:lnTo>
                <a:lnTo>
                  <a:pt x="16" y="18"/>
                </a:lnTo>
                <a:lnTo>
                  <a:pt x="15" y="18"/>
                </a:lnTo>
                <a:lnTo>
                  <a:pt x="15" y="19"/>
                </a:lnTo>
                <a:lnTo>
                  <a:pt x="15" y="19"/>
                </a:lnTo>
                <a:lnTo>
                  <a:pt x="15" y="19"/>
                </a:lnTo>
                <a:lnTo>
                  <a:pt x="15" y="19"/>
                </a:lnTo>
                <a:lnTo>
                  <a:pt x="15" y="19"/>
                </a:lnTo>
                <a:lnTo>
                  <a:pt x="15" y="19"/>
                </a:lnTo>
                <a:lnTo>
                  <a:pt x="15" y="19"/>
                </a:lnTo>
                <a:lnTo>
                  <a:pt x="15" y="19"/>
                </a:lnTo>
                <a:lnTo>
                  <a:pt x="15" y="20"/>
                </a:lnTo>
                <a:lnTo>
                  <a:pt x="14" y="20"/>
                </a:lnTo>
                <a:lnTo>
                  <a:pt x="14" y="20"/>
                </a:lnTo>
                <a:lnTo>
                  <a:pt x="14" y="20"/>
                </a:lnTo>
                <a:lnTo>
                  <a:pt x="14" y="20"/>
                </a:lnTo>
                <a:lnTo>
                  <a:pt x="14" y="20"/>
                </a:lnTo>
                <a:lnTo>
                  <a:pt x="14" y="20"/>
                </a:lnTo>
                <a:lnTo>
                  <a:pt x="14" y="20"/>
                </a:lnTo>
                <a:lnTo>
                  <a:pt x="14" y="21"/>
                </a:lnTo>
                <a:lnTo>
                  <a:pt x="14" y="21"/>
                </a:lnTo>
                <a:lnTo>
                  <a:pt x="14" y="21"/>
                </a:lnTo>
                <a:lnTo>
                  <a:pt x="14" y="21"/>
                </a:lnTo>
                <a:lnTo>
                  <a:pt x="13" y="21"/>
                </a:lnTo>
                <a:lnTo>
                  <a:pt x="13" y="21"/>
                </a:lnTo>
                <a:lnTo>
                  <a:pt x="13" y="21"/>
                </a:lnTo>
                <a:lnTo>
                  <a:pt x="13" y="22"/>
                </a:lnTo>
                <a:lnTo>
                  <a:pt x="13" y="22"/>
                </a:lnTo>
                <a:lnTo>
                  <a:pt x="13" y="22"/>
                </a:lnTo>
                <a:lnTo>
                  <a:pt x="13" y="22"/>
                </a:lnTo>
                <a:lnTo>
                  <a:pt x="13" y="22"/>
                </a:lnTo>
                <a:lnTo>
                  <a:pt x="13" y="22"/>
                </a:lnTo>
                <a:lnTo>
                  <a:pt x="13" y="22"/>
                </a:lnTo>
                <a:lnTo>
                  <a:pt x="13" y="23"/>
                </a:lnTo>
                <a:lnTo>
                  <a:pt x="13" y="23"/>
                </a:lnTo>
                <a:lnTo>
                  <a:pt x="13" y="23"/>
                </a:lnTo>
                <a:lnTo>
                  <a:pt x="12" y="23"/>
                </a:lnTo>
                <a:lnTo>
                  <a:pt x="12" y="23"/>
                </a:lnTo>
                <a:lnTo>
                  <a:pt x="12" y="23"/>
                </a:lnTo>
                <a:lnTo>
                  <a:pt x="12" y="23"/>
                </a:lnTo>
                <a:lnTo>
                  <a:pt x="12" y="25"/>
                </a:lnTo>
                <a:lnTo>
                  <a:pt x="12" y="25"/>
                </a:lnTo>
                <a:lnTo>
                  <a:pt x="12" y="25"/>
                </a:lnTo>
                <a:lnTo>
                  <a:pt x="12" y="25"/>
                </a:lnTo>
                <a:lnTo>
                  <a:pt x="12" y="25"/>
                </a:lnTo>
                <a:lnTo>
                  <a:pt x="12" y="25"/>
                </a:lnTo>
                <a:lnTo>
                  <a:pt x="12" y="25"/>
                </a:lnTo>
                <a:lnTo>
                  <a:pt x="12" y="26"/>
                </a:lnTo>
                <a:lnTo>
                  <a:pt x="12" y="26"/>
                </a:lnTo>
                <a:lnTo>
                  <a:pt x="12" y="26"/>
                </a:lnTo>
                <a:lnTo>
                  <a:pt x="12" y="26"/>
                </a:lnTo>
                <a:lnTo>
                  <a:pt x="10" y="26"/>
                </a:lnTo>
                <a:lnTo>
                  <a:pt x="10" y="26"/>
                </a:lnTo>
                <a:lnTo>
                  <a:pt x="10" y="26"/>
                </a:lnTo>
                <a:lnTo>
                  <a:pt x="10" y="27"/>
                </a:lnTo>
                <a:lnTo>
                  <a:pt x="10" y="27"/>
                </a:lnTo>
                <a:lnTo>
                  <a:pt x="10" y="27"/>
                </a:lnTo>
                <a:lnTo>
                  <a:pt x="10" y="27"/>
                </a:lnTo>
                <a:lnTo>
                  <a:pt x="10" y="27"/>
                </a:lnTo>
                <a:lnTo>
                  <a:pt x="10" y="27"/>
                </a:lnTo>
                <a:lnTo>
                  <a:pt x="10" y="27"/>
                </a:lnTo>
                <a:lnTo>
                  <a:pt x="10" y="28"/>
                </a:lnTo>
                <a:lnTo>
                  <a:pt x="10" y="28"/>
                </a:lnTo>
                <a:lnTo>
                  <a:pt x="10" y="28"/>
                </a:lnTo>
                <a:lnTo>
                  <a:pt x="10" y="28"/>
                </a:lnTo>
                <a:lnTo>
                  <a:pt x="10" y="28"/>
                </a:lnTo>
                <a:lnTo>
                  <a:pt x="10" y="28"/>
                </a:lnTo>
                <a:lnTo>
                  <a:pt x="10" y="29"/>
                </a:lnTo>
                <a:lnTo>
                  <a:pt x="10" y="29"/>
                </a:lnTo>
                <a:lnTo>
                  <a:pt x="10" y="29"/>
                </a:lnTo>
                <a:lnTo>
                  <a:pt x="9" y="29"/>
                </a:lnTo>
                <a:lnTo>
                  <a:pt x="9" y="29"/>
                </a:lnTo>
                <a:lnTo>
                  <a:pt x="9" y="29"/>
                </a:lnTo>
                <a:lnTo>
                  <a:pt x="9" y="29"/>
                </a:lnTo>
                <a:lnTo>
                  <a:pt x="9" y="30"/>
                </a:lnTo>
                <a:lnTo>
                  <a:pt x="9" y="30"/>
                </a:lnTo>
                <a:lnTo>
                  <a:pt x="9" y="30"/>
                </a:lnTo>
                <a:lnTo>
                  <a:pt x="9" y="30"/>
                </a:lnTo>
                <a:lnTo>
                  <a:pt x="9" y="30"/>
                </a:lnTo>
                <a:lnTo>
                  <a:pt x="9" y="30"/>
                </a:lnTo>
                <a:lnTo>
                  <a:pt x="9" y="31"/>
                </a:lnTo>
                <a:lnTo>
                  <a:pt x="9" y="31"/>
                </a:lnTo>
                <a:lnTo>
                  <a:pt x="9" y="31"/>
                </a:lnTo>
                <a:lnTo>
                  <a:pt x="9" y="31"/>
                </a:lnTo>
                <a:lnTo>
                  <a:pt x="9" y="31"/>
                </a:lnTo>
                <a:lnTo>
                  <a:pt x="9" y="31"/>
                </a:lnTo>
                <a:lnTo>
                  <a:pt x="9" y="32"/>
                </a:lnTo>
                <a:lnTo>
                  <a:pt x="9" y="32"/>
                </a:lnTo>
                <a:lnTo>
                  <a:pt x="9" y="32"/>
                </a:lnTo>
                <a:lnTo>
                  <a:pt x="9" y="32"/>
                </a:lnTo>
                <a:lnTo>
                  <a:pt x="9" y="32"/>
                </a:lnTo>
                <a:lnTo>
                  <a:pt x="9" y="32"/>
                </a:lnTo>
                <a:lnTo>
                  <a:pt x="9" y="34"/>
                </a:lnTo>
                <a:lnTo>
                  <a:pt x="9" y="34"/>
                </a:lnTo>
                <a:lnTo>
                  <a:pt x="9" y="34"/>
                </a:lnTo>
                <a:lnTo>
                  <a:pt x="9" y="34"/>
                </a:lnTo>
                <a:lnTo>
                  <a:pt x="9" y="34"/>
                </a:lnTo>
                <a:lnTo>
                  <a:pt x="9" y="34"/>
                </a:lnTo>
                <a:lnTo>
                  <a:pt x="9" y="35"/>
                </a:lnTo>
                <a:lnTo>
                  <a:pt x="9" y="35"/>
                </a:lnTo>
                <a:lnTo>
                  <a:pt x="9" y="35"/>
                </a:lnTo>
                <a:lnTo>
                  <a:pt x="9" y="35"/>
                </a:lnTo>
                <a:lnTo>
                  <a:pt x="9" y="35"/>
                </a:lnTo>
                <a:lnTo>
                  <a:pt x="9" y="35"/>
                </a:lnTo>
                <a:lnTo>
                  <a:pt x="9" y="36"/>
                </a:lnTo>
                <a:lnTo>
                  <a:pt x="9" y="36"/>
                </a:lnTo>
                <a:lnTo>
                  <a:pt x="9" y="36"/>
                </a:lnTo>
                <a:lnTo>
                  <a:pt x="9" y="36"/>
                </a:lnTo>
                <a:lnTo>
                  <a:pt x="9" y="36"/>
                </a:lnTo>
                <a:lnTo>
                  <a:pt x="9" y="36"/>
                </a:lnTo>
                <a:lnTo>
                  <a:pt x="9" y="37"/>
                </a:lnTo>
                <a:lnTo>
                  <a:pt x="9" y="37"/>
                </a:lnTo>
                <a:lnTo>
                  <a:pt x="9" y="37"/>
                </a:lnTo>
                <a:lnTo>
                  <a:pt x="9" y="37"/>
                </a:lnTo>
                <a:lnTo>
                  <a:pt x="9" y="37"/>
                </a:lnTo>
                <a:lnTo>
                  <a:pt x="9" y="37"/>
                </a:lnTo>
                <a:lnTo>
                  <a:pt x="9" y="38"/>
                </a:lnTo>
                <a:lnTo>
                  <a:pt x="9" y="38"/>
                </a:lnTo>
                <a:lnTo>
                  <a:pt x="9" y="38"/>
                </a:lnTo>
                <a:lnTo>
                  <a:pt x="9" y="38"/>
                </a:lnTo>
                <a:lnTo>
                  <a:pt x="9" y="38"/>
                </a:lnTo>
                <a:lnTo>
                  <a:pt x="9" y="38"/>
                </a:lnTo>
                <a:lnTo>
                  <a:pt x="9" y="39"/>
                </a:lnTo>
                <a:lnTo>
                  <a:pt x="9" y="39"/>
                </a:lnTo>
                <a:lnTo>
                  <a:pt x="9" y="39"/>
                </a:lnTo>
                <a:lnTo>
                  <a:pt x="9" y="39"/>
                </a:lnTo>
                <a:lnTo>
                  <a:pt x="9" y="39"/>
                </a:lnTo>
                <a:lnTo>
                  <a:pt x="9" y="39"/>
                </a:lnTo>
                <a:lnTo>
                  <a:pt x="9" y="40"/>
                </a:lnTo>
                <a:lnTo>
                  <a:pt x="9" y="40"/>
                </a:lnTo>
                <a:lnTo>
                  <a:pt x="9" y="40"/>
                </a:lnTo>
                <a:lnTo>
                  <a:pt x="9" y="40"/>
                </a:lnTo>
                <a:lnTo>
                  <a:pt x="9" y="40"/>
                </a:lnTo>
                <a:lnTo>
                  <a:pt x="9" y="40"/>
                </a:lnTo>
                <a:lnTo>
                  <a:pt x="9" y="41"/>
                </a:lnTo>
                <a:lnTo>
                  <a:pt x="9" y="41"/>
                </a:lnTo>
                <a:lnTo>
                  <a:pt x="9" y="41"/>
                </a:lnTo>
                <a:lnTo>
                  <a:pt x="9" y="41"/>
                </a:lnTo>
                <a:lnTo>
                  <a:pt x="9" y="41"/>
                </a:lnTo>
                <a:lnTo>
                  <a:pt x="9" y="41"/>
                </a:lnTo>
                <a:lnTo>
                  <a:pt x="9" y="43"/>
                </a:lnTo>
                <a:lnTo>
                  <a:pt x="9" y="43"/>
                </a:lnTo>
                <a:lnTo>
                  <a:pt x="9" y="43"/>
                </a:lnTo>
                <a:lnTo>
                  <a:pt x="9" y="43"/>
                </a:lnTo>
                <a:lnTo>
                  <a:pt x="9" y="43"/>
                </a:lnTo>
                <a:lnTo>
                  <a:pt x="9" y="43"/>
                </a:lnTo>
                <a:lnTo>
                  <a:pt x="9" y="44"/>
                </a:lnTo>
                <a:lnTo>
                  <a:pt x="9" y="44"/>
                </a:lnTo>
                <a:lnTo>
                  <a:pt x="9" y="44"/>
                </a:lnTo>
                <a:lnTo>
                  <a:pt x="9" y="44"/>
                </a:lnTo>
                <a:lnTo>
                  <a:pt x="9" y="44"/>
                </a:lnTo>
                <a:lnTo>
                  <a:pt x="9" y="44"/>
                </a:lnTo>
                <a:lnTo>
                  <a:pt x="9" y="44"/>
                </a:lnTo>
                <a:lnTo>
                  <a:pt x="9" y="45"/>
                </a:lnTo>
                <a:lnTo>
                  <a:pt x="9" y="45"/>
                </a:lnTo>
                <a:lnTo>
                  <a:pt x="9" y="45"/>
                </a:lnTo>
                <a:lnTo>
                  <a:pt x="9" y="45"/>
                </a:lnTo>
                <a:lnTo>
                  <a:pt x="10" y="45"/>
                </a:lnTo>
                <a:lnTo>
                  <a:pt x="10" y="45"/>
                </a:lnTo>
                <a:lnTo>
                  <a:pt x="10" y="46"/>
                </a:lnTo>
                <a:lnTo>
                  <a:pt x="10" y="46"/>
                </a:lnTo>
                <a:lnTo>
                  <a:pt x="10" y="46"/>
                </a:lnTo>
                <a:lnTo>
                  <a:pt x="10" y="46"/>
                </a:lnTo>
                <a:lnTo>
                  <a:pt x="10" y="46"/>
                </a:lnTo>
                <a:lnTo>
                  <a:pt x="10" y="46"/>
                </a:lnTo>
                <a:lnTo>
                  <a:pt x="10" y="47"/>
                </a:lnTo>
                <a:lnTo>
                  <a:pt x="10" y="47"/>
                </a:lnTo>
                <a:lnTo>
                  <a:pt x="10" y="47"/>
                </a:lnTo>
                <a:lnTo>
                  <a:pt x="10" y="47"/>
                </a:lnTo>
                <a:lnTo>
                  <a:pt x="10" y="47"/>
                </a:lnTo>
                <a:lnTo>
                  <a:pt x="10" y="47"/>
                </a:lnTo>
                <a:lnTo>
                  <a:pt x="10" y="47"/>
                </a:lnTo>
                <a:lnTo>
                  <a:pt x="10" y="48"/>
                </a:lnTo>
                <a:lnTo>
                  <a:pt x="10" y="48"/>
                </a:lnTo>
                <a:lnTo>
                  <a:pt x="10" y="48"/>
                </a:lnTo>
                <a:lnTo>
                  <a:pt x="10" y="48"/>
                </a:lnTo>
                <a:lnTo>
                  <a:pt x="12" y="48"/>
                </a:lnTo>
                <a:lnTo>
                  <a:pt x="12" y="48"/>
                </a:lnTo>
                <a:lnTo>
                  <a:pt x="12" y="48"/>
                </a:lnTo>
                <a:lnTo>
                  <a:pt x="12" y="49"/>
                </a:lnTo>
                <a:lnTo>
                  <a:pt x="12" y="49"/>
                </a:lnTo>
                <a:lnTo>
                  <a:pt x="12" y="49"/>
                </a:lnTo>
                <a:lnTo>
                  <a:pt x="12" y="49"/>
                </a:lnTo>
                <a:lnTo>
                  <a:pt x="12" y="49"/>
                </a:lnTo>
                <a:lnTo>
                  <a:pt x="12" y="49"/>
                </a:lnTo>
                <a:lnTo>
                  <a:pt x="12" y="49"/>
                </a:lnTo>
                <a:lnTo>
                  <a:pt x="12" y="50"/>
                </a:lnTo>
                <a:lnTo>
                  <a:pt x="12" y="50"/>
                </a:lnTo>
                <a:lnTo>
                  <a:pt x="12" y="50"/>
                </a:lnTo>
                <a:lnTo>
                  <a:pt x="12" y="50"/>
                </a:lnTo>
                <a:lnTo>
                  <a:pt x="12" y="50"/>
                </a:lnTo>
                <a:lnTo>
                  <a:pt x="13" y="50"/>
                </a:lnTo>
                <a:lnTo>
                  <a:pt x="13" y="50"/>
                </a:lnTo>
                <a:lnTo>
                  <a:pt x="13" y="52"/>
                </a:lnTo>
                <a:lnTo>
                  <a:pt x="13" y="52"/>
                </a:lnTo>
                <a:lnTo>
                  <a:pt x="13" y="52"/>
                </a:lnTo>
                <a:lnTo>
                  <a:pt x="13" y="52"/>
                </a:lnTo>
                <a:lnTo>
                  <a:pt x="13" y="52"/>
                </a:lnTo>
                <a:lnTo>
                  <a:pt x="13" y="52"/>
                </a:lnTo>
                <a:lnTo>
                  <a:pt x="13" y="52"/>
                </a:lnTo>
                <a:lnTo>
                  <a:pt x="13" y="53"/>
                </a:lnTo>
                <a:lnTo>
                  <a:pt x="13" y="53"/>
                </a:lnTo>
                <a:lnTo>
                  <a:pt x="13" y="53"/>
                </a:lnTo>
                <a:lnTo>
                  <a:pt x="13" y="53"/>
                </a:lnTo>
                <a:lnTo>
                  <a:pt x="14" y="53"/>
                </a:lnTo>
                <a:lnTo>
                  <a:pt x="14" y="53"/>
                </a:lnTo>
                <a:lnTo>
                  <a:pt x="14" y="53"/>
                </a:lnTo>
                <a:lnTo>
                  <a:pt x="14" y="54"/>
                </a:lnTo>
                <a:lnTo>
                  <a:pt x="14" y="54"/>
                </a:lnTo>
                <a:lnTo>
                  <a:pt x="14" y="54"/>
                </a:lnTo>
                <a:lnTo>
                  <a:pt x="14" y="54"/>
                </a:lnTo>
                <a:lnTo>
                  <a:pt x="14" y="54"/>
                </a:lnTo>
                <a:lnTo>
                  <a:pt x="14" y="54"/>
                </a:lnTo>
                <a:lnTo>
                  <a:pt x="14" y="54"/>
                </a:lnTo>
                <a:lnTo>
                  <a:pt x="14" y="54"/>
                </a:lnTo>
                <a:lnTo>
                  <a:pt x="15" y="55"/>
                </a:lnTo>
                <a:lnTo>
                  <a:pt x="15" y="55"/>
                </a:lnTo>
                <a:lnTo>
                  <a:pt x="15" y="55"/>
                </a:lnTo>
                <a:lnTo>
                  <a:pt x="15" y="55"/>
                </a:lnTo>
                <a:lnTo>
                  <a:pt x="15" y="55"/>
                </a:lnTo>
                <a:lnTo>
                  <a:pt x="15" y="55"/>
                </a:lnTo>
                <a:lnTo>
                  <a:pt x="15" y="55"/>
                </a:lnTo>
                <a:lnTo>
                  <a:pt x="15" y="55"/>
                </a:lnTo>
                <a:lnTo>
                  <a:pt x="15" y="56"/>
                </a:lnTo>
                <a:lnTo>
                  <a:pt x="15" y="56"/>
                </a:lnTo>
                <a:lnTo>
                  <a:pt x="16" y="56"/>
                </a:lnTo>
                <a:lnTo>
                  <a:pt x="16" y="56"/>
                </a:lnTo>
                <a:lnTo>
                  <a:pt x="16" y="56"/>
                </a:lnTo>
                <a:lnTo>
                  <a:pt x="16" y="56"/>
                </a:lnTo>
                <a:lnTo>
                  <a:pt x="16" y="56"/>
                </a:lnTo>
                <a:lnTo>
                  <a:pt x="16" y="56"/>
                </a:lnTo>
                <a:lnTo>
                  <a:pt x="16" y="57"/>
                </a:lnTo>
                <a:lnTo>
                  <a:pt x="16" y="57"/>
                </a:lnTo>
                <a:lnTo>
                  <a:pt x="16" y="57"/>
                </a:lnTo>
                <a:lnTo>
                  <a:pt x="16" y="57"/>
                </a:lnTo>
                <a:lnTo>
                  <a:pt x="17" y="57"/>
                </a:lnTo>
                <a:lnTo>
                  <a:pt x="17" y="57"/>
                </a:lnTo>
                <a:lnTo>
                  <a:pt x="17" y="57"/>
                </a:lnTo>
                <a:lnTo>
                  <a:pt x="17" y="57"/>
                </a:lnTo>
                <a:lnTo>
                  <a:pt x="17" y="57"/>
                </a:lnTo>
                <a:lnTo>
                  <a:pt x="17" y="58"/>
                </a:lnTo>
                <a:lnTo>
                  <a:pt x="17" y="58"/>
                </a:lnTo>
                <a:lnTo>
                  <a:pt x="17" y="58"/>
                </a:lnTo>
                <a:lnTo>
                  <a:pt x="17" y="58"/>
                </a:lnTo>
                <a:lnTo>
                  <a:pt x="18" y="58"/>
                </a:lnTo>
                <a:lnTo>
                  <a:pt x="18" y="58"/>
                </a:lnTo>
                <a:lnTo>
                  <a:pt x="18" y="58"/>
                </a:lnTo>
                <a:lnTo>
                  <a:pt x="18" y="58"/>
                </a:lnTo>
                <a:lnTo>
                  <a:pt x="18" y="58"/>
                </a:lnTo>
                <a:lnTo>
                  <a:pt x="18" y="59"/>
                </a:lnTo>
                <a:lnTo>
                  <a:pt x="18" y="59"/>
                </a:lnTo>
                <a:lnTo>
                  <a:pt x="18" y="59"/>
                </a:lnTo>
                <a:lnTo>
                  <a:pt x="19" y="59"/>
                </a:lnTo>
                <a:lnTo>
                  <a:pt x="19" y="59"/>
                </a:lnTo>
                <a:lnTo>
                  <a:pt x="19" y="59"/>
                </a:lnTo>
                <a:lnTo>
                  <a:pt x="19" y="59"/>
                </a:lnTo>
                <a:lnTo>
                  <a:pt x="19" y="59"/>
                </a:lnTo>
                <a:lnTo>
                  <a:pt x="19" y="59"/>
                </a:lnTo>
                <a:lnTo>
                  <a:pt x="19" y="59"/>
                </a:lnTo>
                <a:lnTo>
                  <a:pt x="19" y="61"/>
                </a:lnTo>
                <a:lnTo>
                  <a:pt x="19" y="61"/>
                </a:lnTo>
                <a:lnTo>
                  <a:pt x="21" y="61"/>
                </a:lnTo>
                <a:lnTo>
                  <a:pt x="21" y="61"/>
                </a:lnTo>
                <a:lnTo>
                  <a:pt x="21" y="61"/>
                </a:lnTo>
                <a:lnTo>
                  <a:pt x="21" y="61"/>
                </a:lnTo>
                <a:lnTo>
                  <a:pt x="21" y="61"/>
                </a:lnTo>
                <a:lnTo>
                  <a:pt x="21" y="61"/>
                </a:lnTo>
                <a:lnTo>
                  <a:pt x="21" y="61"/>
                </a:lnTo>
                <a:lnTo>
                  <a:pt x="22" y="61"/>
                </a:lnTo>
                <a:lnTo>
                  <a:pt x="22" y="62"/>
                </a:lnTo>
                <a:lnTo>
                  <a:pt x="22" y="62"/>
                </a:lnTo>
                <a:lnTo>
                  <a:pt x="22" y="62"/>
                </a:lnTo>
                <a:lnTo>
                  <a:pt x="22" y="62"/>
                </a:lnTo>
                <a:lnTo>
                  <a:pt x="22" y="62"/>
                </a:lnTo>
                <a:lnTo>
                  <a:pt x="22" y="62"/>
                </a:lnTo>
                <a:lnTo>
                  <a:pt x="22" y="62"/>
                </a:lnTo>
                <a:lnTo>
                  <a:pt x="23" y="62"/>
                </a:lnTo>
                <a:lnTo>
                  <a:pt x="23" y="62"/>
                </a:lnTo>
                <a:lnTo>
                  <a:pt x="23" y="62"/>
                </a:lnTo>
                <a:lnTo>
                  <a:pt x="23" y="62"/>
                </a:lnTo>
                <a:lnTo>
                  <a:pt x="23" y="63"/>
                </a:lnTo>
                <a:lnTo>
                  <a:pt x="23" y="63"/>
                </a:lnTo>
                <a:lnTo>
                  <a:pt x="23" y="63"/>
                </a:lnTo>
                <a:lnTo>
                  <a:pt x="24" y="63"/>
                </a:lnTo>
                <a:lnTo>
                  <a:pt x="24" y="63"/>
                </a:lnTo>
                <a:lnTo>
                  <a:pt x="24" y="63"/>
                </a:lnTo>
                <a:lnTo>
                  <a:pt x="24" y="63"/>
                </a:lnTo>
                <a:lnTo>
                  <a:pt x="24" y="63"/>
                </a:lnTo>
                <a:lnTo>
                  <a:pt x="24" y="63"/>
                </a:lnTo>
                <a:lnTo>
                  <a:pt x="24" y="63"/>
                </a:lnTo>
                <a:lnTo>
                  <a:pt x="24" y="63"/>
                </a:lnTo>
                <a:lnTo>
                  <a:pt x="25" y="63"/>
                </a:lnTo>
                <a:lnTo>
                  <a:pt x="25" y="63"/>
                </a:lnTo>
                <a:lnTo>
                  <a:pt x="25" y="64"/>
                </a:lnTo>
                <a:lnTo>
                  <a:pt x="25" y="64"/>
                </a:lnTo>
                <a:lnTo>
                  <a:pt x="25" y="64"/>
                </a:lnTo>
                <a:lnTo>
                  <a:pt x="25" y="64"/>
                </a:lnTo>
                <a:lnTo>
                  <a:pt x="25" y="64"/>
                </a:lnTo>
                <a:lnTo>
                  <a:pt x="26" y="64"/>
                </a:lnTo>
                <a:lnTo>
                  <a:pt x="26" y="64"/>
                </a:lnTo>
                <a:lnTo>
                  <a:pt x="26" y="64"/>
                </a:lnTo>
                <a:lnTo>
                  <a:pt x="26" y="64"/>
                </a:lnTo>
                <a:lnTo>
                  <a:pt x="26" y="64"/>
                </a:lnTo>
                <a:lnTo>
                  <a:pt x="26" y="64"/>
                </a:lnTo>
                <a:lnTo>
                  <a:pt x="26" y="64"/>
                </a:lnTo>
                <a:lnTo>
                  <a:pt x="27" y="64"/>
                </a:lnTo>
                <a:lnTo>
                  <a:pt x="27" y="64"/>
                </a:lnTo>
                <a:lnTo>
                  <a:pt x="27" y="64"/>
                </a:lnTo>
                <a:lnTo>
                  <a:pt x="27" y="65"/>
                </a:lnTo>
                <a:lnTo>
                  <a:pt x="27" y="65"/>
                </a:lnTo>
                <a:lnTo>
                  <a:pt x="27" y="65"/>
                </a:lnTo>
                <a:lnTo>
                  <a:pt x="28" y="65"/>
                </a:lnTo>
                <a:lnTo>
                  <a:pt x="28" y="65"/>
                </a:lnTo>
                <a:lnTo>
                  <a:pt x="28" y="65"/>
                </a:lnTo>
                <a:lnTo>
                  <a:pt x="28" y="65"/>
                </a:lnTo>
                <a:lnTo>
                  <a:pt x="28" y="65"/>
                </a:lnTo>
                <a:lnTo>
                  <a:pt x="28" y="65"/>
                </a:lnTo>
                <a:lnTo>
                  <a:pt x="28" y="65"/>
                </a:lnTo>
                <a:lnTo>
                  <a:pt x="30" y="65"/>
                </a:lnTo>
                <a:lnTo>
                  <a:pt x="30" y="65"/>
                </a:lnTo>
                <a:lnTo>
                  <a:pt x="30" y="65"/>
                </a:lnTo>
                <a:lnTo>
                  <a:pt x="30" y="65"/>
                </a:lnTo>
                <a:lnTo>
                  <a:pt x="30" y="65"/>
                </a:lnTo>
                <a:lnTo>
                  <a:pt x="30" y="65"/>
                </a:lnTo>
                <a:lnTo>
                  <a:pt x="31" y="65"/>
                </a:lnTo>
                <a:lnTo>
                  <a:pt x="31" y="65"/>
                </a:lnTo>
                <a:lnTo>
                  <a:pt x="31" y="65"/>
                </a:lnTo>
                <a:lnTo>
                  <a:pt x="31" y="66"/>
                </a:lnTo>
                <a:lnTo>
                  <a:pt x="31" y="66"/>
                </a:lnTo>
                <a:lnTo>
                  <a:pt x="31" y="66"/>
                </a:lnTo>
                <a:lnTo>
                  <a:pt x="31" y="66"/>
                </a:lnTo>
                <a:lnTo>
                  <a:pt x="32" y="66"/>
                </a:lnTo>
                <a:lnTo>
                  <a:pt x="32" y="66"/>
                </a:lnTo>
                <a:lnTo>
                  <a:pt x="32" y="66"/>
                </a:lnTo>
                <a:lnTo>
                  <a:pt x="32" y="66"/>
                </a:lnTo>
                <a:lnTo>
                  <a:pt x="32" y="66"/>
                </a:lnTo>
                <a:lnTo>
                  <a:pt x="32" y="66"/>
                </a:lnTo>
                <a:lnTo>
                  <a:pt x="33" y="66"/>
                </a:lnTo>
                <a:lnTo>
                  <a:pt x="33" y="66"/>
                </a:lnTo>
                <a:lnTo>
                  <a:pt x="33" y="66"/>
                </a:lnTo>
                <a:lnTo>
                  <a:pt x="33" y="66"/>
                </a:lnTo>
                <a:lnTo>
                  <a:pt x="33" y="66"/>
                </a:lnTo>
                <a:lnTo>
                  <a:pt x="33" y="66"/>
                </a:lnTo>
                <a:lnTo>
                  <a:pt x="34" y="66"/>
                </a:lnTo>
                <a:lnTo>
                  <a:pt x="34" y="66"/>
                </a:lnTo>
                <a:lnTo>
                  <a:pt x="34" y="66"/>
                </a:lnTo>
                <a:lnTo>
                  <a:pt x="34" y="66"/>
                </a:lnTo>
                <a:lnTo>
                  <a:pt x="34" y="66"/>
                </a:lnTo>
                <a:lnTo>
                  <a:pt x="34" y="66"/>
                </a:lnTo>
                <a:lnTo>
                  <a:pt x="35" y="66"/>
                </a:lnTo>
                <a:lnTo>
                  <a:pt x="35" y="66"/>
                </a:lnTo>
                <a:lnTo>
                  <a:pt x="35" y="66"/>
                </a:lnTo>
                <a:lnTo>
                  <a:pt x="35" y="66"/>
                </a:lnTo>
                <a:lnTo>
                  <a:pt x="35" y="66"/>
                </a:lnTo>
                <a:lnTo>
                  <a:pt x="35" y="66"/>
                </a:lnTo>
                <a:lnTo>
                  <a:pt x="36" y="66"/>
                </a:lnTo>
                <a:lnTo>
                  <a:pt x="36" y="66"/>
                </a:lnTo>
                <a:lnTo>
                  <a:pt x="36" y="66"/>
                </a:lnTo>
                <a:lnTo>
                  <a:pt x="36" y="66"/>
                </a:lnTo>
                <a:lnTo>
                  <a:pt x="36" y="66"/>
                </a:lnTo>
                <a:lnTo>
                  <a:pt x="36" y="66"/>
                </a:lnTo>
                <a:lnTo>
                  <a:pt x="37" y="66"/>
                </a:lnTo>
                <a:lnTo>
                  <a:pt x="37" y="66"/>
                </a:lnTo>
                <a:lnTo>
                  <a:pt x="37" y="66"/>
                </a:lnTo>
                <a:lnTo>
                  <a:pt x="37" y="66"/>
                </a:lnTo>
                <a:lnTo>
                  <a:pt x="37" y="66"/>
                </a:lnTo>
                <a:lnTo>
                  <a:pt x="37" y="66"/>
                </a:lnTo>
                <a:lnTo>
                  <a:pt x="39" y="66"/>
                </a:lnTo>
                <a:lnTo>
                  <a:pt x="39" y="66"/>
                </a:lnTo>
                <a:lnTo>
                  <a:pt x="39" y="66"/>
                </a:lnTo>
                <a:lnTo>
                  <a:pt x="39" y="66"/>
                </a:lnTo>
                <a:close/>
                <a:moveTo>
                  <a:pt x="76" y="37"/>
                </a:moveTo>
                <a:lnTo>
                  <a:pt x="76" y="37"/>
                </a:lnTo>
                <a:lnTo>
                  <a:pt x="76" y="37"/>
                </a:lnTo>
                <a:lnTo>
                  <a:pt x="76" y="38"/>
                </a:lnTo>
                <a:lnTo>
                  <a:pt x="76" y="38"/>
                </a:lnTo>
                <a:lnTo>
                  <a:pt x="76" y="38"/>
                </a:lnTo>
                <a:lnTo>
                  <a:pt x="76" y="38"/>
                </a:lnTo>
                <a:lnTo>
                  <a:pt x="76" y="39"/>
                </a:lnTo>
                <a:lnTo>
                  <a:pt x="76" y="39"/>
                </a:lnTo>
                <a:lnTo>
                  <a:pt x="76" y="39"/>
                </a:lnTo>
                <a:lnTo>
                  <a:pt x="76" y="39"/>
                </a:lnTo>
                <a:lnTo>
                  <a:pt x="76" y="39"/>
                </a:lnTo>
                <a:lnTo>
                  <a:pt x="76" y="40"/>
                </a:lnTo>
                <a:lnTo>
                  <a:pt x="76" y="40"/>
                </a:lnTo>
                <a:lnTo>
                  <a:pt x="76" y="40"/>
                </a:lnTo>
                <a:lnTo>
                  <a:pt x="76" y="40"/>
                </a:lnTo>
                <a:lnTo>
                  <a:pt x="76" y="40"/>
                </a:lnTo>
                <a:lnTo>
                  <a:pt x="76" y="41"/>
                </a:lnTo>
                <a:lnTo>
                  <a:pt x="76" y="41"/>
                </a:lnTo>
                <a:lnTo>
                  <a:pt x="76" y="41"/>
                </a:lnTo>
                <a:lnTo>
                  <a:pt x="76" y="41"/>
                </a:lnTo>
                <a:lnTo>
                  <a:pt x="76" y="43"/>
                </a:lnTo>
                <a:lnTo>
                  <a:pt x="76" y="43"/>
                </a:lnTo>
                <a:lnTo>
                  <a:pt x="76" y="43"/>
                </a:lnTo>
                <a:lnTo>
                  <a:pt x="76" y="43"/>
                </a:lnTo>
                <a:lnTo>
                  <a:pt x="76" y="43"/>
                </a:lnTo>
                <a:lnTo>
                  <a:pt x="76" y="44"/>
                </a:lnTo>
                <a:lnTo>
                  <a:pt x="76" y="44"/>
                </a:lnTo>
                <a:lnTo>
                  <a:pt x="76" y="44"/>
                </a:lnTo>
                <a:lnTo>
                  <a:pt x="76" y="44"/>
                </a:lnTo>
                <a:lnTo>
                  <a:pt x="76" y="44"/>
                </a:lnTo>
                <a:lnTo>
                  <a:pt x="76" y="45"/>
                </a:lnTo>
                <a:lnTo>
                  <a:pt x="76" y="45"/>
                </a:lnTo>
                <a:lnTo>
                  <a:pt x="76" y="45"/>
                </a:lnTo>
                <a:lnTo>
                  <a:pt x="75" y="45"/>
                </a:lnTo>
                <a:lnTo>
                  <a:pt x="75" y="45"/>
                </a:lnTo>
                <a:lnTo>
                  <a:pt x="75" y="46"/>
                </a:lnTo>
                <a:lnTo>
                  <a:pt x="75" y="46"/>
                </a:lnTo>
                <a:lnTo>
                  <a:pt x="75" y="46"/>
                </a:lnTo>
                <a:lnTo>
                  <a:pt x="75" y="46"/>
                </a:lnTo>
                <a:lnTo>
                  <a:pt x="75" y="46"/>
                </a:lnTo>
                <a:lnTo>
                  <a:pt x="75" y="47"/>
                </a:lnTo>
                <a:lnTo>
                  <a:pt x="75" y="47"/>
                </a:lnTo>
                <a:lnTo>
                  <a:pt x="75" y="47"/>
                </a:lnTo>
                <a:lnTo>
                  <a:pt x="75" y="47"/>
                </a:lnTo>
                <a:lnTo>
                  <a:pt x="75" y="47"/>
                </a:lnTo>
                <a:lnTo>
                  <a:pt x="75" y="48"/>
                </a:lnTo>
                <a:lnTo>
                  <a:pt x="75" y="48"/>
                </a:lnTo>
                <a:lnTo>
                  <a:pt x="75" y="48"/>
                </a:lnTo>
                <a:lnTo>
                  <a:pt x="75" y="48"/>
                </a:lnTo>
                <a:lnTo>
                  <a:pt x="75" y="48"/>
                </a:lnTo>
                <a:lnTo>
                  <a:pt x="75" y="49"/>
                </a:lnTo>
                <a:lnTo>
                  <a:pt x="75" y="49"/>
                </a:lnTo>
                <a:lnTo>
                  <a:pt x="73" y="49"/>
                </a:lnTo>
                <a:lnTo>
                  <a:pt x="73" y="49"/>
                </a:lnTo>
                <a:lnTo>
                  <a:pt x="73" y="49"/>
                </a:lnTo>
                <a:lnTo>
                  <a:pt x="73" y="50"/>
                </a:lnTo>
                <a:lnTo>
                  <a:pt x="73" y="50"/>
                </a:lnTo>
                <a:lnTo>
                  <a:pt x="73" y="50"/>
                </a:lnTo>
                <a:lnTo>
                  <a:pt x="73" y="50"/>
                </a:lnTo>
                <a:lnTo>
                  <a:pt x="73" y="50"/>
                </a:lnTo>
                <a:lnTo>
                  <a:pt x="73" y="50"/>
                </a:lnTo>
                <a:lnTo>
                  <a:pt x="73" y="52"/>
                </a:lnTo>
                <a:lnTo>
                  <a:pt x="73" y="52"/>
                </a:lnTo>
                <a:lnTo>
                  <a:pt x="73" y="52"/>
                </a:lnTo>
                <a:lnTo>
                  <a:pt x="73" y="52"/>
                </a:lnTo>
                <a:lnTo>
                  <a:pt x="72" y="52"/>
                </a:lnTo>
                <a:lnTo>
                  <a:pt x="72" y="53"/>
                </a:lnTo>
                <a:lnTo>
                  <a:pt x="72" y="53"/>
                </a:lnTo>
                <a:lnTo>
                  <a:pt x="72" y="53"/>
                </a:lnTo>
                <a:lnTo>
                  <a:pt x="72" y="53"/>
                </a:lnTo>
                <a:lnTo>
                  <a:pt x="72" y="53"/>
                </a:lnTo>
                <a:lnTo>
                  <a:pt x="72" y="54"/>
                </a:lnTo>
                <a:lnTo>
                  <a:pt x="72" y="54"/>
                </a:lnTo>
                <a:lnTo>
                  <a:pt x="72" y="54"/>
                </a:lnTo>
                <a:lnTo>
                  <a:pt x="72" y="54"/>
                </a:lnTo>
                <a:lnTo>
                  <a:pt x="72" y="54"/>
                </a:lnTo>
                <a:lnTo>
                  <a:pt x="72" y="54"/>
                </a:lnTo>
                <a:lnTo>
                  <a:pt x="71" y="55"/>
                </a:lnTo>
                <a:lnTo>
                  <a:pt x="71" y="55"/>
                </a:lnTo>
                <a:lnTo>
                  <a:pt x="71" y="55"/>
                </a:lnTo>
                <a:lnTo>
                  <a:pt x="71" y="55"/>
                </a:lnTo>
                <a:lnTo>
                  <a:pt x="71" y="55"/>
                </a:lnTo>
                <a:lnTo>
                  <a:pt x="71" y="56"/>
                </a:lnTo>
                <a:lnTo>
                  <a:pt x="71" y="56"/>
                </a:lnTo>
                <a:lnTo>
                  <a:pt x="71" y="56"/>
                </a:lnTo>
                <a:lnTo>
                  <a:pt x="71" y="56"/>
                </a:lnTo>
                <a:lnTo>
                  <a:pt x="71" y="56"/>
                </a:lnTo>
                <a:lnTo>
                  <a:pt x="70" y="56"/>
                </a:lnTo>
                <a:lnTo>
                  <a:pt x="70" y="57"/>
                </a:lnTo>
                <a:lnTo>
                  <a:pt x="70" y="57"/>
                </a:lnTo>
                <a:lnTo>
                  <a:pt x="70" y="57"/>
                </a:lnTo>
                <a:lnTo>
                  <a:pt x="70" y="57"/>
                </a:lnTo>
                <a:lnTo>
                  <a:pt x="70" y="57"/>
                </a:lnTo>
                <a:lnTo>
                  <a:pt x="70" y="57"/>
                </a:lnTo>
                <a:lnTo>
                  <a:pt x="70" y="58"/>
                </a:lnTo>
                <a:lnTo>
                  <a:pt x="70" y="58"/>
                </a:lnTo>
                <a:lnTo>
                  <a:pt x="69" y="58"/>
                </a:lnTo>
                <a:lnTo>
                  <a:pt x="69" y="58"/>
                </a:lnTo>
                <a:lnTo>
                  <a:pt x="69" y="58"/>
                </a:lnTo>
                <a:lnTo>
                  <a:pt x="69" y="58"/>
                </a:lnTo>
                <a:lnTo>
                  <a:pt x="69" y="59"/>
                </a:lnTo>
                <a:lnTo>
                  <a:pt x="69" y="59"/>
                </a:lnTo>
                <a:lnTo>
                  <a:pt x="69" y="59"/>
                </a:lnTo>
                <a:lnTo>
                  <a:pt x="69" y="59"/>
                </a:lnTo>
                <a:lnTo>
                  <a:pt x="69" y="59"/>
                </a:lnTo>
                <a:lnTo>
                  <a:pt x="68" y="59"/>
                </a:lnTo>
                <a:lnTo>
                  <a:pt x="68" y="61"/>
                </a:lnTo>
                <a:lnTo>
                  <a:pt x="68" y="61"/>
                </a:lnTo>
                <a:lnTo>
                  <a:pt x="68" y="61"/>
                </a:lnTo>
                <a:lnTo>
                  <a:pt x="68" y="61"/>
                </a:lnTo>
                <a:lnTo>
                  <a:pt x="68" y="61"/>
                </a:lnTo>
                <a:lnTo>
                  <a:pt x="68" y="61"/>
                </a:lnTo>
                <a:lnTo>
                  <a:pt x="67" y="61"/>
                </a:lnTo>
                <a:lnTo>
                  <a:pt x="67" y="62"/>
                </a:lnTo>
                <a:lnTo>
                  <a:pt x="67" y="62"/>
                </a:lnTo>
                <a:lnTo>
                  <a:pt x="67" y="62"/>
                </a:lnTo>
                <a:lnTo>
                  <a:pt x="67" y="62"/>
                </a:lnTo>
                <a:lnTo>
                  <a:pt x="67" y="62"/>
                </a:lnTo>
                <a:lnTo>
                  <a:pt x="67" y="62"/>
                </a:lnTo>
                <a:lnTo>
                  <a:pt x="67" y="63"/>
                </a:lnTo>
                <a:lnTo>
                  <a:pt x="66" y="63"/>
                </a:lnTo>
                <a:lnTo>
                  <a:pt x="66" y="63"/>
                </a:lnTo>
                <a:lnTo>
                  <a:pt x="66" y="63"/>
                </a:lnTo>
                <a:lnTo>
                  <a:pt x="66" y="63"/>
                </a:lnTo>
                <a:lnTo>
                  <a:pt x="66" y="63"/>
                </a:lnTo>
                <a:lnTo>
                  <a:pt x="66" y="63"/>
                </a:lnTo>
                <a:lnTo>
                  <a:pt x="66" y="64"/>
                </a:lnTo>
                <a:lnTo>
                  <a:pt x="64" y="64"/>
                </a:lnTo>
                <a:lnTo>
                  <a:pt x="64" y="64"/>
                </a:lnTo>
                <a:lnTo>
                  <a:pt x="64" y="64"/>
                </a:lnTo>
                <a:lnTo>
                  <a:pt x="64" y="64"/>
                </a:lnTo>
                <a:lnTo>
                  <a:pt x="64" y="64"/>
                </a:lnTo>
                <a:lnTo>
                  <a:pt x="64" y="64"/>
                </a:lnTo>
                <a:lnTo>
                  <a:pt x="64" y="65"/>
                </a:lnTo>
                <a:lnTo>
                  <a:pt x="63" y="65"/>
                </a:lnTo>
                <a:lnTo>
                  <a:pt x="63" y="65"/>
                </a:lnTo>
                <a:lnTo>
                  <a:pt x="63" y="65"/>
                </a:lnTo>
                <a:lnTo>
                  <a:pt x="63" y="65"/>
                </a:lnTo>
                <a:lnTo>
                  <a:pt x="63" y="65"/>
                </a:lnTo>
                <a:lnTo>
                  <a:pt x="63" y="65"/>
                </a:lnTo>
                <a:lnTo>
                  <a:pt x="63" y="65"/>
                </a:lnTo>
                <a:lnTo>
                  <a:pt x="62" y="66"/>
                </a:lnTo>
                <a:lnTo>
                  <a:pt x="62" y="66"/>
                </a:lnTo>
                <a:lnTo>
                  <a:pt x="62" y="66"/>
                </a:lnTo>
                <a:lnTo>
                  <a:pt x="62" y="66"/>
                </a:lnTo>
                <a:lnTo>
                  <a:pt x="62" y="66"/>
                </a:lnTo>
                <a:lnTo>
                  <a:pt x="62" y="66"/>
                </a:lnTo>
                <a:lnTo>
                  <a:pt x="61" y="66"/>
                </a:lnTo>
                <a:lnTo>
                  <a:pt x="61" y="66"/>
                </a:lnTo>
                <a:lnTo>
                  <a:pt x="61" y="67"/>
                </a:lnTo>
                <a:lnTo>
                  <a:pt x="61" y="67"/>
                </a:lnTo>
                <a:lnTo>
                  <a:pt x="61" y="67"/>
                </a:lnTo>
                <a:lnTo>
                  <a:pt x="61" y="67"/>
                </a:lnTo>
                <a:lnTo>
                  <a:pt x="61" y="67"/>
                </a:lnTo>
                <a:lnTo>
                  <a:pt x="60" y="67"/>
                </a:lnTo>
                <a:lnTo>
                  <a:pt x="60" y="67"/>
                </a:lnTo>
                <a:lnTo>
                  <a:pt x="60" y="67"/>
                </a:lnTo>
                <a:lnTo>
                  <a:pt x="60" y="68"/>
                </a:lnTo>
                <a:lnTo>
                  <a:pt x="60" y="68"/>
                </a:lnTo>
                <a:lnTo>
                  <a:pt x="60" y="68"/>
                </a:lnTo>
                <a:lnTo>
                  <a:pt x="59" y="68"/>
                </a:lnTo>
                <a:lnTo>
                  <a:pt x="59" y="68"/>
                </a:lnTo>
                <a:lnTo>
                  <a:pt x="59" y="68"/>
                </a:lnTo>
                <a:lnTo>
                  <a:pt x="59" y="68"/>
                </a:lnTo>
                <a:lnTo>
                  <a:pt x="59" y="68"/>
                </a:lnTo>
                <a:lnTo>
                  <a:pt x="59" y="68"/>
                </a:lnTo>
                <a:lnTo>
                  <a:pt x="58" y="70"/>
                </a:lnTo>
                <a:lnTo>
                  <a:pt x="58" y="70"/>
                </a:lnTo>
                <a:lnTo>
                  <a:pt x="58" y="70"/>
                </a:lnTo>
                <a:lnTo>
                  <a:pt x="58" y="70"/>
                </a:lnTo>
                <a:lnTo>
                  <a:pt x="58" y="70"/>
                </a:lnTo>
                <a:lnTo>
                  <a:pt x="57" y="70"/>
                </a:lnTo>
                <a:lnTo>
                  <a:pt x="57" y="70"/>
                </a:lnTo>
                <a:lnTo>
                  <a:pt x="57" y="70"/>
                </a:lnTo>
                <a:lnTo>
                  <a:pt x="57" y="70"/>
                </a:lnTo>
                <a:lnTo>
                  <a:pt x="57" y="70"/>
                </a:lnTo>
                <a:lnTo>
                  <a:pt x="57" y="71"/>
                </a:lnTo>
                <a:lnTo>
                  <a:pt x="55" y="71"/>
                </a:lnTo>
                <a:lnTo>
                  <a:pt x="55" y="71"/>
                </a:lnTo>
                <a:lnTo>
                  <a:pt x="55" y="71"/>
                </a:lnTo>
                <a:lnTo>
                  <a:pt x="55" y="71"/>
                </a:lnTo>
                <a:lnTo>
                  <a:pt x="55" y="71"/>
                </a:lnTo>
                <a:lnTo>
                  <a:pt x="55" y="71"/>
                </a:lnTo>
                <a:lnTo>
                  <a:pt x="54" y="71"/>
                </a:lnTo>
                <a:lnTo>
                  <a:pt x="54" y="71"/>
                </a:lnTo>
                <a:lnTo>
                  <a:pt x="54" y="71"/>
                </a:lnTo>
                <a:lnTo>
                  <a:pt x="54" y="71"/>
                </a:lnTo>
                <a:lnTo>
                  <a:pt x="54" y="72"/>
                </a:lnTo>
                <a:lnTo>
                  <a:pt x="53" y="72"/>
                </a:lnTo>
                <a:lnTo>
                  <a:pt x="53" y="72"/>
                </a:lnTo>
                <a:lnTo>
                  <a:pt x="53" y="72"/>
                </a:lnTo>
                <a:lnTo>
                  <a:pt x="53" y="72"/>
                </a:lnTo>
                <a:lnTo>
                  <a:pt x="53" y="72"/>
                </a:lnTo>
                <a:lnTo>
                  <a:pt x="52" y="72"/>
                </a:lnTo>
                <a:lnTo>
                  <a:pt x="52" y="72"/>
                </a:lnTo>
                <a:lnTo>
                  <a:pt x="52" y="72"/>
                </a:lnTo>
                <a:lnTo>
                  <a:pt x="52" y="72"/>
                </a:lnTo>
                <a:lnTo>
                  <a:pt x="52" y="72"/>
                </a:lnTo>
                <a:lnTo>
                  <a:pt x="52" y="72"/>
                </a:lnTo>
                <a:lnTo>
                  <a:pt x="51" y="72"/>
                </a:lnTo>
                <a:lnTo>
                  <a:pt x="51" y="73"/>
                </a:lnTo>
                <a:lnTo>
                  <a:pt x="51" y="73"/>
                </a:lnTo>
                <a:lnTo>
                  <a:pt x="51" y="73"/>
                </a:lnTo>
                <a:lnTo>
                  <a:pt x="51" y="73"/>
                </a:lnTo>
                <a:lnTo>
                  <a:pt x="50" y="73"/>
                </a:lnTo>
                <a:lnTo>
                  <a:pt x="50" y="73"/>
                </a:lnTo>
                <a:lnTo>
                  <a:pt x="50" y="73"/>
                </a:lnTo>
                <a:lnTo>
                  <a:pt x="50" y="73"/>
                </a:lnTo>
                <a:lnTo>
                  <a:pt x="50" y="73"/>
                </a:lnTo>
                <a:lnTo>
                  <a:pt x="49" y="73"/>
                </a:lnTo>
                <a:lnTo>
                  <a:pt x="49" y="73"/>
                </a:lnTo>
                <a:lnTo>
                  <a:pt x="49" y="73"/>
                </a:lnTo>
                <a:lnTo>
                  <a:pt x="49" y="73"/>
                </a:lnTo>
                <a:lnTo>
                  <a:pt x="49" y="73"/>
                </a:lnTo>
                <a:lnTo>
                  <a:pt x="48" y="73"/>
                </a:lnTo>
                <a:lnTo>
                  <a:pt x="48" y="73"/>
                </a:lnTo>
                <a:lnTo>
                  <a:pt x="48" y="73"/>
                </a:lnTo>
                <a:lnTo>
                  <a:pt x="48" y="74"/>
                </a:lnTo>
                <a:lnTo>
                  <a:pt x="48" y="74"/>
                </a:lnTo>
                <a:lnTo>
                  <a:pt x="46" y="74"/>
                </a:lnTo>
                <a:lnTo>
                  <a:pt x="46" y="74"/>
                </a:lnTo>
                <a:lnTo>
                  <a:pt x="46" y="74"/>
                </a:lnTo>
                <a:lnTo>
                  <a:pt x="46" y="74"/>
                </a:lnTo>
                <a:lnTo>
                  <a:pt x="46" y="74"/>
                </a:lnTo>
                <a:lnTo>
                  <a:pt x="45" y="74"/>
                </a:lnTo>
                <a:lnTo>
                  <a:pt x="45" y="74"/>
                </a:lnTo>
                <a:lnTo>
                  <a:pt x="45" y="74"/>
                </a:lnTo>
                <a:lnTo>
                  <a:pt x="45" y="74"/>
                </a:lnTo>
                <a:lnTo>
                  <a:pt x="45" y="74"/>
                </a:lnTo>
                <a:lnTo>
                  <a:pt x="44" y="74"/>
                </a:lnTo>
                <a:lnTo>
                  <a:pt x="44" y="74"/>
                </a:lnTo>
                <a:lnTo>
                  <a:pt x="44" y="74"/>
                </a:lnTo>
                <a:lnTo>
                  <a:pt x="44" y="74"/>
                </a:lnTo>
                <a:lnTo>
                  <a:pt x="44" y="74"/>
                </a:lnTo>
                <a:lnTo>
                  <a:pt x="43" y="74"/>
                </a:lnTo>
                <a:lnTo>
                  <a:pt x="43" y="74"/>
                </a:lnTo>
                <a:lnTo>
                  <a:pt x="43" y="74"/>
                </a:lnTo>
                <a:lnTo>
                  <a:pt x="43" y="74"/>
                </a:lnTo>
                <a:lnTo>
                  <a:pt x="42" y="74"/>
                </a:lnTo>
                <a:lnTo>
                  <a:pt x="42" y="74"/>
                </a:lnTo>
                <a:lnTo>
                  <a:pt x="42" y="74"/>
                </a:lnTo>
                <a:lnTo>
                  <a:pt x="42" y="74"/>
                </a:lnTo>
                <a:lnTo>
                  <a:pt x="42" y="74"/>
                </a:lnTo>
                <a:lnTo>
                  <a:pt x="41" y="74"/>
                </a:lnTo>
                <a:lnTo>
                  <a:pt x="41" y="74"/>
                </a:lnTo>
                <a:lnTo>
                  <a:pt x="41" y="74"/>
                </a:lnTo>
                <a:lnTo>
                  <a:pt x="41" y="74"/>
                </a:lnTo>
                <a:lnTo>
                  <a:pt x="41" y="74"/>
                </a:lnTo>
                <a:lnTo>
                  <a:pt x="40" y="74"/>
                </a:lnTo>
                <a:lnTo>
                  <a:pt x="40" y="74"/>
                </a:lnTo>
                <a:lnTo>
                  <a:pt x="40" y="74"/>
                </a:lnTo>
                <a:lnTo>
                  <a:pt x="40" y="74"/>
                </a:lnTo>
                <a:lnTo>
                  <a:pt x="40" y="74"/>
                </a:lnTo>
                <a:lnTo>
                  <a:pt x="39" y="74"/>
                </a:lnTo>
                <a:lnTo>
                  <a:pt x="39" y="74"/>
                </a:lnTo>
                <a:lnTo>
                  <a:pt x="39" y="74"/>
                </a:lnTo>
                <a:lnTo>
                  <a:pt x="39" y="74"/>
                </a:lnTo>
                <a:lnTo>
                  <a:pt x="37" y="74"/>
                </a:lnTo>
                <a:lnTo>
                  <a:pt x="37" y="74"/>
                </a:lnTo>
                <a:lnTo>
                  <a:pt x="37" y="74"/>
                </a:lnTo>
                <a:lnTo>
                  <a:pt x="37" y="74"/>
                </a:lnTo>
                <a:lnTo>
                  <a:pt x="37" y="74"/>
                </a:lnTo>
                <a:lnTo>
                  <a:pt x="36" y="74"/>
                </a:lnTo>
                <a:lnTo>
                  <a:pt x="36" y="74"/>
                </a:lnTo>
                <a:lnTo>
                  <a:pt x="36" y="74"/>
                </a:lnTo>
                <a:lnTo>
                  <a:pt x="36" y="74"/>
                </a:lnTo>
                <a:lnTo>
                  <a:pt x="36" y="74"/>
                </a:lnTo>
                <a:lnTo>
                  <a:pt x="35" y="74"/>
                </a:lnTo>
                <a:lnTo>
                  <a:pt x="35" y="74"/>
                </a:lnTo>
                <a:lnTo>
                  <a:pt x="35" y="74"/>
                </a:lnTo>
                <a:lnTo>
                  <a:pt x="35" y="74"/>
                </a:lnTo>
                <a:lnTo>
                  <a:pt x="34" y="74"/>
                </a:lnTo>
                <a:lnTo>
                  <a:pt x="34" y="74"/>
                </a:lnTo>
                <a:lnTo>
                  <a:pt x="34" y="74"/>
                </a:lnTo>
                <a:lnTo>
                  <a:pt x="34" y="74"/>
                </a:lnTo>
                <a:lnTo>
                  <a:pt x="34" y="74"/>
                </a:lnTo>
                <a:lnTo>
                  <a:pt x="33" y="74"/>
                </a:lnTo>
                <a:lnTo>
                  <a:pt x="33" y="74"/>
                </a:lnTo>
                <a:lnTo>
                  <a:pt x="33" y="74"/>
                </a:lnTo>
                <a:lnTo>
                  <a:pt x="33" y="74"/>
                </a:lnTo>
                <a:lnTo>
                  <a:pt x="33" y="74"/>
                </a:lnTo>
                <a:lnTo>
                  <a:pt x="32" y="74"/>
                </a:lnTo>
                <a:lnTo>
                  <a:pt x="32" y="74"/>
                </a:lnTo>
                <a:lnTo>
                  <a:pt x="32" y="74"/>
                </a:lnTo>
                <a:lnTo>
                  <a:pt x="32" y="74"/>
                </a:lnTo>
                <a:lnTo>
                  <a:pt x="32" y="74"/>
                </a:lnTo>
                <a:lnTo>
                  <a:pt x="31" y="74"/>
                </a:lnTo>
                <a:lnTo>
                  <a:pt x="31" y="74"/>
                </a:lnTo>
                <a:lnTo>
                  <a:pt x="31" y="74"/>
                </a:lnTo>
                <a:lnTo>
                  <a:pt x="31" y="74"/>
                </a:lnTo>
                <a:lnTo>
                  <a:pt x="31" y="74"/>
                </a:lnTo>
                <a:lnTo>
                  <a:pt x="30" y="74"/>
                </a:lnTo>
                <a:lnTo>
                  <a:pt x="30" y="74"/>
                </a:lnTo>
                <a:lnTo>
                  <a:pt x="30" y="74"/>
                </a:lnTo>
                <a:lnTo>
                  <a:pt x="30" y="73"/>
                </a:lnTo>
                <a:lnTo>
                  <a:pt x="30" y="73"/>
                </a:lnTo>
                <a:lnTo>
                  <a:pt x="28" y="73"/>
                </a:lnTo>
                <a:lnTo>
                  <a:pt x="28" y="73"/>
                </a:lnTo>
                <a:lnTo>
                  <a:pt x="28" y="73"/>
                </a:lnTo>
                <a:lnTo>
                  <a:pt x="28" y="73"/>
                </a:lnTo>
                <a:lnTo>
                  <a:pt x="28" y="73"/>
                </a:lnTo>
                <a:lnTo>
                  <a:pt x="27" y="73"/>
                </a:lnTo>
                <a:lnTo>
                  <a:pt x="27" y="73"/>
                </a:lnTo>
                <a:lnTo>
                  <a:pt x="27" y="73"/>
                </a:lnTo>
                <a:lnTo>
                  <a:pt x="27" y="73"/>
                </a:lnTo>
                <a:lnTo>
                  <a:pt x="27" y="73"/>
                </a:lnTo>
                <a:lnTo>
                  <a:pt x="26" y="73"/>
                </a:lnTo>
                <a:lnTo>
                  <a:pt x="26" y="73"/>
                </a:lnTo>
                <a:lnTo>
                  <a:pt x="26" y="73"/>
                </a:lnTo>
                <a:lnTo>
                  <a:pt x="26" y="73"/>
                </a:lnTo>
                <a:lnTo>
                  <a:pt x="26" y="73"/>
                </a:lnTo>
                <a:lnTo>
                  <a:pt x="25" y="72"/>
                </a:lnTo>
                <a:lnTo>
                  <a:pt x="25" y="72"/>
                </a:lnTo>
                <a:lnTo>
                  <a:pt x="25" y="72"/>
                </a:lnTo>
                <a:lnTo>
                  <a:pt x="25" y="72"/>
                </a:lnTo>
                <a:lnTo>
                  <a:pt x="25" y="72"/>
                </a:lnTo>
                <a:lnTo>
                  <a:pt x="24" y="72"/>
                </a:lnTo>
                <a:lnTo>
                  <a:pt x="24" y="72"/>
                </a:lnTo>
                <a:lnTo>
                  <a:pt x="24" y="72"/>
                </a:lnTo>
                <a:lnTo>
                  <a:pt x="24" y="72"/>
                </a:lnTo>
                <a:lnTo>
                  <a:pt x="24" y="72"/>
                </a:lnTo>
                <a:lnTo>
                  <a:pt x="24" y="72"/>
                </a:lnTo>
                <a:lnTo>
                  <a:pt x="23" y="72"/>
                </a:lnTo>
                <a:lnTo>
                  <a:pt x="23" y="72"/>
                </a:lnTo>
                <a:lnTo>
                  <a:pt x="23" y="71"/>
                </a:lnTo>
                <a:lnTo>
                  <a:pt x="23" y="71"/>
                </a:lnTo>
                <a:lnTo>
                  <a:pt x="23" y="71"/>
                </a:lnTo>
                <a:lnTo>
                  <a:pt x="22" y="71"/>
                </a:lnTo>
                <a:lnTo>
                  <a:pt x="22" y="71"/>
                </a:lnTo>
                <a:lnTo>
                  <a:pt x="22" y="71"/>
                </a:lnTo>
                <a:lnTo>
                  <a:pt x="22" y="71"/>
                </a:lnTo>
                <a:lnTo>
                  <a:pt x="22" y="71"/>
                </a:lnTo>
                <a:lnTo>
                  <a:pt x="22" y="71"/>
                </a:lnTo>
                <a:lnTo>
                  <a:pt x="21" y="71"/>
                </a:lnTo>
                <a:lnTo>
                  <a:pt x="21" y="71"/>
                </a:lnTo>
                <a:lnTo>
                  <a:pt x="21" y="70"/>
                </a:lnTo>
                <a:lnTo>
                  <a:pt x="21" y="70"/>
                </a:lnTo>
                <a:lnTo>
                  <a:pt x="21" y="70"/>
                </a:lnTo>
                <a:lnTo>
                  <a:pt x="19" y="70"/>
                </a:lnTo>
                <a:lnTo>
                  <a:pt x="19" y="70"/>
                </a:lnTo>
                <a:lnTo>
                  <a:pt x="19" y="70"/>
                </a:lnTo>
                <a:lnTo>
                  <a:pt x="19" y="70"/>
                </a:lnTo>
                <a:lnTo>
                  <a:pt x="19" y="70"/>
                </a:lnTo>
                <a:lnTo>
                  <a:pt x="19" y="70"/>
                </a:lnTo>
                <a:lnTo>
                  <a:pt x="18" y="70"/>
                </a:lnTo>
                <a:lnTo>
                  <a:pt x="18" y="68"/>
                </a:lnTo>
                <a:lnTo>
                  <a:pt x="18" y="68"/>
                </a:lnTo>
                <a:lnTo>
                  <a:pt x="18" y="68"/>
                </a:lnTo>
                <a:lnTo>
                  <a:pt x="18" y="68"/>
                </a:lnTo>
                <a:lnTo>
                  <a:pt x="18" y="68"/>
                </a:lnTo>
                <a:lnTo>
                  <a:pt x="17" y="68"/>
                </a:lnTo>
                <a:lnTo>
                  <a:pt x="17" y="68"/>
                </a:lnTo>
                <a:lnTo>
                  <a:pt x="17" y="68"/>
                </a:lnTo>
                <a:lnTo>
                  <a:pt x="17" y="68"/>
                </a:lnTo>
                <a:lnTo>
                  <a:pt x="17" y="67"/>
                </a:lnTo>
                <a:lnTo>
                  <a:pt x="17" y="67"/>
                </a:lnTo>
                <a:lnTo>
                  <a:pt x="16" y="67"/>
                </a:lnTo>
                <a:lnTo>
                  <a:pt x="16" y="67"/>
                </a:lnTo>
                <a:lnTo>
                  <a:pt x="16" y="67"/>
                </a:lnTo>
                <a:lnTo>
                  <a:pt x="16" y="67"/>
                </a:lnTo>
                <a:lnTo>
                  <a:pt x="16" y="67"/>
                </a:lnTo>
                <a:lnTo>
                  <a:pt x="16" y="67"/>
                </a:lnTo>
                <a:lnTo>
                  <a:pt x="15" y="66"/>
                </a:lnTo>
                <a:lnTo>
                  <a:pt x="15" y="66"/>
                </a:lnTo>
                <a:lnTo>
                  <a:pt x="15" y="66"/>
                </a:lnTo>
                <a:lnTo>
                  <a:pt x="15" y="66"/>
                </a:lnTo>
                <a:lnTo>
                  <a:pt x="15" y="66"/>
                </a:lnTo>
                <a:lnTo>
                  <a:pt x="15" y="66"/>
                </a:lnTo>
                <a:lnTo>
                  <a:pt x="14" y="66"/>
                </a:lnTo>
                <a:lnTo>
                  <a:pt x="14" y="66"/>
                </a:lnTo>
                <a:lnTo>
                  <a:pt x="14" y="65"/>
                </a:lnTo>
                <a:lnTo>
                  <a:pt x="14" y="65"/>
                </a:lnTo>
                <a:lnTo>
                  <a:pt x="14" y="65"/>
                </a:lnTo>
                <a:lnTo>
                  <a:pt x="14" y="65"/>
                </a:lnTo>
                <a:lnTo>
                  <a:pt x="14" y="65"/>
                </a:lnTo>
                <a:lnTo>
                  <a:pt x="13" y="65"/>
                </a:lnTo>
                <a:lnTo>
                  <a:pt x="13" y="65"/>
                </a:lnTo>
                <a:lnTo>
                  <a:pt x="13" y="65"/>
                </a:lnTo>
                <a:lnTo>
                  <a:pt x="13" y="64"/>
                </a:lnTo>
                <a:lnTo>
                  <a:pt x="13" y="64"/>
                </a:lnTo>
                <a:lnTo>
                  <a:pt x="13" y="64"/>
                </a:lnTo>
                <a:lnTo>
                  <a:pt x="13" y="64"/>
                </a:lnTo>
                <a:lnTo>
                  <a:pt x="12" y="64"/>
                </a:lnTo>
                <a:lnTo>
                  <a:pt x="12" y="64"/>
                </a:lnTo>
                <a:lnTo>
                  <a:pt x="12" y="64"/>
                </a:lnTo>
                <a:lnTo>
                  <a:pt x="12" y="63"/>
                </a:lnTo>
                <a:lnTo>
                  <a:pt x="12" y="63"/>
                </a:lnTo>
                <a:lnTo>
                  <a:pt x="12" y="63"/>
                </a:lnTo>
                <a:lnTo>
                  <a:pt x="12" y="63"/>
                </a:lnTo>
                <a:lnTo>
                  <a:pt x="10" y="63"/>
                </a:lnTo>
                <a:lnTo>
                  <a:pt x="10" y="63"/>
                </a:lnTo>
                <a:lnTo>
                  <a:pt x="10" y="63"/>
                </a:lnTo>
                <a:lnTo>
                  <a:pt x="10" y="62"/>
                </a:lnTo>
                <a:lnTo>
                  <a:pt x="10" y="62"/>
                </a:lnTo>
                <a:lnTo>
                  <a:pt x="10" y="62"/>
                </a:lnTo>
                <a:lnTo>
                  <a:pt x="10" y="62"/>
                </a:lnTo>
                <a:lnTo>
                  <a:pt x="10" y="62"/>
                </a:lnTo>
                <a:lnTo>
                  <a:pt x="9" y="62"/>
                </a:lnTo>
                <a:lnTo>
                  <a:pt x="9" y="61"/>
                </a:lnTo>
                <a:lnTo>
                  <a:pt x="9" y="61"/>
                </a:lnTo>
                <a:lnTo>
                  <a:pt x="9" y="61"/>
                </a:lnTo>
                <a:lnTo>
                  <a:pt x="9" y="61"/>
                </a:lnTo>
                <a:lnTo>
                  <a:pt x="9" y="61"/>
                </a:lnTo>
                <a:lnTo>
                  <a:pt x="9" y="61"/>
                </a:lnTo>
                <a:lnTo>
                  <a:pt x="8" y="61"/>
                </a:lnTo>
                <a:lnTo>
                  <a:pt x="8" y="59"/>
                </a:lnTo>
                <a:lnTo>
                  <a:pt x="8" y="59"/>
                </a:lnTo>
                <a:lnTo>
                  <a:pt x="8" y="59"/>
                </a:lnTo>
                <a:lnTo>
                  <a:pt x="8" y="59"/>
                </a:lnTo>
                <a:lnTo>
                  <a:pt x="8" y="59"/>
                </a:lnTo>
                <a:lnTo>
                  <a:pt x="8" y="59"/>
                </a:lnTo>
                <a:lnTo>
                  <a:pt x="8" y="58"/>
                </a:lnTo>
                <a:lnTo>
                  <a:pt x="8" y="58"/>
                </a:lnTo>
                <a:lnTo>
                  <a:pt x="7" y="58"/>
                </a:lnTo>
                <a:lnTo>
                  <a:pt x="7" y="58"/>
                </a:lnTo>
                <a:lnTo>
                  <a:pt x="7" y="58"/>
                </a:lnTo>
                <a:lnTo>
                  <a:pt x="7" y="58"/>
                </a:lnTo>
                <a:lnTo>
                  <a:pt x="7" y="57"/>
                </a:lnTo>
                <a:lnTo>
                  <a:pt x="7" y="57"/>
                </a:lnTo>
                <a:lnTo>
                  <a:pt x="7" y="57"/>
                </a:lnTo>
                <a:lnTo>
                  <a:pt x="7" y="57"/>
                </a:lnTo>
                <a:lnTo>
                  <a:pt x="7" y="57"/>
                </a:lnTo>
                <a:lnTo>
                  <a:pt x="6" y="57"/>
                </a:lnTo>
                <a:lnTo>
                  <a:pt x="6" y="56"/>
                </a:lnTo>
                <a:lnTo>
                  <a:pt x="6" y="56"/>
                </a:lnTo>
                <a:lnTo>
                  <a:pt x="6" y="56"/>
                </a:lnTo>
                <a:lnTo>
                  <a:pt x="6" y="56"/>
                </a:lnTo>
                <a:lnTo>
                  <a:pt x="6" y="56"/>
                </a:lnTo>
                <a:lnTo>
                  <a:pt x="6" y="56"/>
                </a:lnTo>
                <a:lnTo>
                  <a:pt x="6" y="55"/>
                </a:lnTo>
                <a:lnTo>
                  <a:pt x="6" y="55"/>
                </a:lnTo>
                <a:lnTo>
                  <a:pt x="6" y="55"/>
                </a:lnTo>
                <a:lnTo>
                  <a:pt x="5" y="55"/>
                </a:lnTo>
                <a:lnTo>
                  <a:pt x="5" y="55"/>
                </a:lnTo>
                <a:lnTo>
                  <a:pt x="5" y="54"/>
                </a:lnTo>
                <a:lnTo>
                  <a:pt x="5" y="54"/>
                </a:lnTo>
                <a:lnTo>
                  <a:pt x="5" y="54"/>
                </a:lnTo>
                <a:lnTo>
                  <a:pt x="5" y="54"/>
                </a:lnTo>
                <a:lnTo>
                  <a:pt x="5" y="54"/>
                </a:lnTo>
                <a:lnTo>
                  <a:pt x="5" y="54"/>
                </a:lnTo>
                <a:lnTo>
                  <a:pt x="5" y="53"/>
                </a:lnTo>
                <a:lnTo>
                  <a:pt x="5" y="53"/>
                </a:lnTo>
                <a:lnTo>
                  <a:pt x="5" y="53"/>
                </a:lnTo>
                <a:lnTo>
                  <a:pt x="4" y="53"/>
                </a:lnTo>
                <a:lnTo>
                  <a:pt x="4" y="53"/>
                </a:lnTo>
                <a:lnTo>
                  <a:pt x="4" y="52"/>
                </a:lnTo>
                <a:lnTo>
                  <a:pt x="4" y="52"/>
                </a:lnTo>
                <a:lnTo>
                  <a:pt x="4" y="52"/>
                </a:lnTo>
                <a:lnTo>
                  <a:pt x="4" y="52"/>
                </a:lnTo>
                <a:lnTo>
                  <a:pt x="4" y="52"/>
                </a:lnTo>
                <a:lnTo>
                  <a:pt x="4" y="50"/>
                </a:lnTo>
                <a:lnTo>
                  <a:pt x="4" y="50"/>
                </a:lnTo>
                <a:lnTo>
                  <a:pt x="4" y="50"/>
                </a:lnTo>
                <a:lnTo>
                  <a:pt x="4" y="50"/>
                </a:lnTo>
                <a:lnTo>
                  <a:pt x="4" y="50"/>
                </a:lnTo>
                <a:lnTo>
                  <a:pt x="4" y="50"/>
                </a:lnTo>
                <a:lnTo>
                  <a:pt x="3" y="49"/>
                </a:lnTo>
                <a:lnTo>
                  <a:pt x="3" y="49"/>
                </a:lnTo>
                <a:lnTo>
                  <a:pt x="3" y="49"/>
                </a:lnTo>
                <a:lnTo>
                  <a:pt x="3" y="49"/>
                </a:lnTo>
                <a:lnTo>
                  <a:pt x="3" y="49"/>
                </a:lnTo>
                <a:lnTo>
                  <a:pt x="3" y="48"/>
                </a:lnTo>
                <a:lnTo>
                  <a:pt x="3" y="48"/>
                </a:lnTo>
                <a:lnTo>
                  <a:pt x="3" y="48"/>
                </a:lnTo>
                <a:lnTo>
                  <a:pt x="3" y="48"/>
                </a:lnTo>
                <a:lnTo>
                  <a:pt x="3" y="48"/>
                </a:lnTo>
                <a:lnTo>
                  <a:pt x="3" y="47"/>
                </a:lnTo>
                <a:lnTo>
                  <a:pt x="3" y="47"/>
                </a:lnTo>
                <a:lnTo>
                  <a:pt x="3" y="47"/>
                </a:lnTo>
                <a:lnTo>
                  <a:pt x="3" y="47"/>
                </a:lnTo>
                <a:lnTo>
                  <a:pt x="3" y="47"/>
                </a:lnTo>
                <a:lnTo>
                  <a:pt x="3" y="46"/>
                </a:lnTo>
                <a:lnTo>
                  <a:pt x="1" y="46"/>
                </a:lnTo>
                <a:lnTo>
                  <a:pt x="1" y="46"/>
                </a:lnTo>
                <a:lnTo>
                  <a:pt x="1" y="46"/>
                </a:lnTo>
                <a:lnTo>
                  <a:pt x="1" y="46"/>
                </a:lnTo>
                <a:lnTo>
                  <a:pt x="1" y="45"/>
                </a:lnTo>
                <a:lnTo>
                  <a:pt x="1" y="45"/>
                </a:lnTo>
                <a:lnTo>
                  <a:pt x="1" y="45"/>
                </a:lnTo>
                <a:lnTo>
                  <a:pt x="1" y="45"/>
                </a:lnTo>
                <a:lnTo>
                  <a:pt x="1" y="45"/>
                </a:lnTo>
                <a:lnTo>
                  <a:pt x="1" y="44"/>
                </a:lnTo>
                <a:lnTo>
                  <a:pt x="1" y="44"/>
                </a:lnTo>
                <a:lnTo>
                  <a:pt x="1" y="44"/>
                </a:lnTo>
                <a:lnTo>
                  <a:pt x="1" y="44"/>
                </a:lnTo>
                <a:lnTo>
                  <a:pt x="1" y="44"/>
                </a:lnTo>
                <a:lnTo>
                  <a:pt x="1" y="43"/>
                </a:lnTo>
                <a:lnTo>
                  <a:pt x="1" y="43"/>
                </a:lnTo>
                <a:lnTo>
                  <a:pt x="1" y="43"/>
                </a:lnTo>
                <a:lnTo>
                  <a:pt x="1" y="43"/>
                </a:lnTo>
                <a:lnTo>
                  <a:pt x="1" y="43"/>
                </a:lnTo>
                <a:lnTo>
                  <a:pt x="1" y="41"/>
                </a:lnTo>
                <a:lnTo>
                  <a:pt x="1" y="41"/>
                </a:lnTo>
                <a:lnTo>
                  <a:pt x="1" y="41"/>
                </a:lnTo>
                <a:lnTo>
                  <a:pt x="1" y="41"/>
                </a:lnTo>
                <a:lnTo>
                  <a:pt x="1" y="40"/>
                </a:lnTo>
                <a:lnTo>
                  <a:pt x="1" y="40"/>
                </a:lnTo>
                <a:lnTo>
                  <a:pt x="1" y="40"/>
                </a:lnTo>
                <a:lnTo>
                  <a:pt x="1" y="40"/>
                </a:lnTo>
                <a:lnTo>
                  <a:pt x="1" y="40"/>
                </a:lnTo>
                <a:lnTo>
                  <a:pt x="1" y="39"/>
                </a:lnTo>
                <a:lnTo>
                  <a:pt x="1" y="39"/>
                </a:lnTo>
                <a:lnTo>
                  <a:pt x="1" y="39"/>
                </a:lnTo>
                <a:lnTo>
                  <a:pt x="1" y="39"/>
                </a:lnTo>
                <a:lnTo>
                  <a:pt x="0" y="39"/>
                </a:lnTo>
                <a:lnTo>
                  <a:pt x="0" y="38"/>
                </a:lnTo>
                <a:lnTo>
                  <a:pt x="0" y="38"/>
                </a:lnTo>
                <a:lnTo>
                  <a:pt x="0" y="38"/>
                </a:lnTo>
                <a:lnTo>
                  <a:pt x="0" y="38"/>
                </a:lnTo>
                <a:lnTo>
                  <a:pt x="0" y="37"/>
                </a:lnTo>
                <a:lnTo>
                  <a:pt x="0" y="37"/>
                </a:lnTo>
                <a:lnTo>
                  <a:pt x="0" y="37"/>
                </a:lnTo>
                <a:lnTo>
                  <a:pt x="0" y="37"/>
                </a:lnTo>
                <a:lnTo>
                  <a:pt x="0" y="37"/>
                </a:lnTo>
                <a:lnTo>
                  <a:pt x="0" y="36"/>
                </a:lnTo>
                <a:lnTo>
                  <a:pt x="0" y="36"/>
                </a:lnTo>
                <a:lnTo>
                  <a:pt x="0" y="36"/>
                </a:lnTo>
                <a:lnTo>
                  <a:pt x="0" y="36"/>
                </a:lnTo>
                <a:lnTo>
                  <a:pt x="0" y="36"/>
                </a:lnTo>
                <a:lnTo>
                  <a:pt x="1" y="35"/>
                </a:lnTo>
                <a:lnTo>
                  <a:pt x="1" y="35"/>
                </a:lnTo>
                <a:lnTo>
                  <a:pt x="1" y="35"/>
                </a:lnTo>
                <a:lnTo>
                  <a:pt x="1" y="35"/>
                </a:lnTo>
                <a:lnTo>
                  <a:pt x="1" y="34"/>
                </a:lnTo>
                <a:lnTo>
                  <a:pt x="1" y="34"/>
                </a:lnTo>
                <a:lnTo>
                  <a:pt x="1" y="34"/>
                </a:lnTo>
                <a:lnTo>
                  <a:pt x="1" y="34"/>
                </a:lnTo>
                <a:lnTo>
                  <a:pt x="1" y="34"/>
                </a:lnTo>
                <a:lnTo>
                  <a:pt x="1" y="32"/>
                </a:lnTo>
                <a:lnTo>
                  <a:pt x="1" y="32"/>
                </a:lnTo>
                <a:lnTo>
                  <a:pt x="1" y="32"/>
                </a:lnTo>
                <a:lnTo>
                  <a:pt x="1" y="32"/>
                </a:lnTo>
                <a:lnTo>
                  <a:pt x="1" y="32"/>
                </a:lnTo>
                <a:lnTo>
                  <a:pt x="1" y="31"/>
                </a:lnTo>
                <a:lnTo>
                  <a:pt x="1" y="31"/>
                </a:lnTo>
                <a:lnTo>
                  <a:pt x="1" y="31"/>
                </a:lnTo>
                <a:lnTo>
                  <a:pt x="1" y="31"/>
                </a:lnTo>
                <a:lnTo>
                  <a:pt x="1" y="31"/>
                </a:lnTo>
                <a:lnTo>
                  <a:pt x="1" y="30"/>
                </a:lnTo>
                <a:lnTo>
                  <a:pt x="1" y="30"/>
                </a:lnTo>
                <a:lnTo>
                  <a:pt x="1" y="30"/>
                </a:lnTo>
                <a:lnTo>
                  <a:pt x="1" y="30"/>
                </a:lnTo>
                <a:lnTo>
                  <a:pt x="1" y="30"/>
                </a:lnTo>
                <a:lnTo>
                  <a:pt x="1" y="29"/>
                </a:lnTo>
                <a:lnTo>
                  <a:pt x="1" y="29"/>
                </a:lnTo>
                <a:lnTo>
                  <a:pt x="1" y="29"/>
                </a:lnTo>
                <a:lnTo>
                  <a:pt x="1" y="29"/>
                </a:lnTo>
                <a:lnTo>
                  <a:pt x="1" y="29"/>
                </a:lnTo>
                <a:lnTo>
                  <a:pt x="1" y="28"/>
                </a:lnTo>
                <a:lnTo>
                  <a:pt x="1" y="28"/>
                </a:lnTo>
                <a:lnTo>
                  <a:pt x="1" y="28"/>
                </a:lnTo>
                <a:lnTo>
                  <a:pt x="3" y="28"/>
                </a:lnTo>
                <a:lnTo>
                  <a:pt x="3" y="28"/>
                </a:lnTo>
                <a:lnTo>
                  <a:pt x="3" y="27"/>
                </a:lnTo>
                <a:lnTo>
                  <a:pt x="3" y="27"/>
                </a:lnTo>
                <a:lnTo>
                  <a:pt x="3" y="27"/>
                </a:lnTo>
                <a:lnTo>
                  <a:pt x="3" y="27"/>
                </a:lnTo>
                <a:lnTo>
                  <a:pt x="3" y="27"/>
                </a:lnTo>
                <a:lnTo>
                  <a:pt x="3" y="26"/>
                </a:lnTo>
                <a:lnTo>
                  <a:pt x="3" y="26"/>
                </a:lnTo>
                <a:lnTo>
                  <a:pt x="3" y="26"/>
                </a:lnTo>
                <a:lnTo>
                  <a:pt x="3" y="26"/>
                </a:lnTo>
                <a:lnTo>
                  <a:pt x="3" y="26"/>
                </a:lnTo>
                <a:lnTo>
                  <a:pt x="3" y="25"/>
                </a:lnTo>
                <a:lnTo>
                  <a:pt x="3" y="25"/>
                </a:lnTo>
                <a:lnTo>
                  <a:pt x="3" y="25"/>
                </a:lnTo>
                <a:lnTo>
                  <a:pt x="3" y="25"/>
                </a:lnTo>
                <a:lnTo>
                  <a:pt x="4" y="25"/>
                </a:lnTo>
                <a:lnTo>
                  <a:pt x="4" y="23"/>
                </a:lnTo>
                <a:lnTo>
                  <a:pt x="4" y="23"/>
                </a:lnTo>
                <a:lnTo>
                  <a:pt x="4" y="23"/>
                </a:lnTo>
                <a:lnTo>
                  <a:pt x="4" y="23"/>
                </a:lnTo>
                <a:lnTo>
                  <a:pt x="4" y="23"/>
                </a:lnTo>
                <a:lnTo>
                  <a:pt x="4" y="22"/>
                </a:lnTo>
                <a:lnTo>
                  <a:pt x="4" y="22"/>
                </a:lnTo>
                <a:lnTo>
                  <a:pt x="4" y="22"/>
                </a:lnTo>
                <a:lnTo>
                  <a:pt x="4" y="22"/>
                </a:lnTo>
                <a:lnTo>
                  <a:pt x="4" y="22"/>
                </a:lnTo>
                <a:lnTo>
                  <a:pt x="4" y="22"/>
                </a:lnTo>
                <a:lnTo>
                  <a:pt x="4" y="21"/>
                </a:lnTo>
                <a:lnTo>
                  <a:pt x="5" y="21"/>
                </a:lnTo>
                <a:lnTo>
                  <a:pt x="5" y="21"/>
                </a:lnTo>
                <a:lnTo>
                  <a:pt x="5" y="21"/>
                </a:lnTo>
                <a:lnTo>
                  <a:pt x="5" y="21"/>
                </a:lnTo>
                <a:lnTo>
                  <a:pt x="5" y="20"/>
                </a:lnTo>
                <a:lnTo>
                  <a:pt x="5" y="20"/>
                </a:lnTo>
                <a:lnTo>
                  <a:pt x="5" y="20"/>
                </a:lnTo>
                <a:lnTo>
                  <a:pt x="5" y="20"/>
                </a:lnTo>
                <a:lnTo>
                  <a:pt x="5" y="20"/>
                </a:lnTo>
                <a:lnTo>
                  <a:pt x="5" y="20"/>
                </a:lnTo>
                <a:lnTo>
                  <a:pt x="5" y="19"/>
                </a:lnTo>
                <a:lnTo>
                  <a:pt x="6" y="19"/>
                </a:lnTo>
                <a:lnTo>
                  <a:pt x="6" y="19"/>
                </a:lnTo>
                <a:lnTo>
                  <a:pt x="6" y="19"/>
                </a:lnTo>
                <a:lnTo>
                  <a:pt x="6" y="19"/>
                </a:lnTo>
                <a:lnTo>
                  <a:pt x="6" y="18"/>
                </a:lnTo>
                <a:lnTo>
                  <a:pt x="6" y="18"/>
                </a:lnTo>
                <a:lnTo>
                  <a:pt x="6" y="18"/>
                </a:lnTo>
                <a:lnTo>
                  <a:pt x="6" y="18"/>
                </a:lnTo>
                <a:lnTo>
                  <a:pt x="6" y="18"/>
                </a:lnTo>
                <a:lnTo>
                  <a:pt x="6" y="18"/>
                </a:lnTo>
                <a:lnTo>
                  <a:pt x="7" y="17"/>
                </a:lnTo>
                <a:lnTo>
                  <a:pt x="7" y="17"/>
                </a:lnTo>
                <a:lnTo>
                  <a:pt x="7" y="17"/>
                </a:lnTo>
                <a:lnTo>
                  <a:pt x="7" y="17"/>
                </a:lnTo>
                <a:lnTo>
                  <a:pt x="7" y="17"/>
                </a:lnTo>
                <a:lnTo>
                  <a:pt x="7" y="17"/>
                </a:lnTo>
                <a:lnTo>
                  <a:pt x="7" y="16"/>
                </a:lnTo>
                <a:lnTo>
                  <a:pt x="7" y="16"/>
                </a:lnTo>
                <a:lnTo>
                  <a:pt x="7" y="16"/>
                </a:lnTo>
                <a:lnTo>
                  <a:pt x="8" y="16"/>
                </a:lnTo>
                <a:lnTo>
                  <a:pt x="8" y="16"/>
                </a:lnTo>
                <a:lnTo>
                  <a:pt x="8" y="16"/>
                </a:lnTo>
                <a:lnTo>
                  <a:pt x="8" y="14"/>
                </a:lnTo>
                <a:lnTo>
                  <a:pt x="8" y="14"/>
                </a:lnTo>
                <a:lnTo>
                  <a:pt x="8" y="14"/>
                </a:lnTo>
                <a:lnTo>
                  <a:pt x="8" y="14"/>
                </a:lnTo>
                <a:lnTo>
                  <a:pt x="8" y="14"/>
                </a:lnTo>
                <a:lnTo>
                  <a:pt x="8" y="14"/>
                </a:lnTo>
                <a:lnTo>
                  <a:pt x="9" y="13"/>
                </a:lnTo>
                <a:lnTo>
                  <a:pt x="9" y="13"/>
                </a:lnTo>
                <a:lnTo>
                  <a:pt x="9" y="13"/>
                </a:lnTo>
                <a:lnTo>
                  <a:pt x="9" y="13"/>
                </a:lnTo>
                <a:lnTo>
                  <a:pt x="9" y="13"/>
                </a:lnTo>
                <a:lnTo>
                  <a:pt x="9" y="13"/>
                </a:lnTo>
                <a:lnTo>
                  <a:pt x="9" y="13"/>
                </a:lnTo>
                <a:lnTo>
                  <a:pt x="10" y="12"/>
                </a:lnTo>
                <a:lnTo>
                  <a:pt x="10" y="12"/>
                </a:lnTo>
                <a:lnTo>
                  <a:pt x="10" y="12"/>
                </a:lnTo>
                <a:lnTo>
                  <a:pt x="10" y="12"/>
                </a:lnTo>
                <a:lnTo>
                  <a:pt x="10" y="12"/>
                </a:lnTo>
                <a:lnTo>
                  <a:pt x="10" y="12"/>
                </a:lnTo>
                <a:lnTo>
                  <a:pt x="10" y="11"/>
                </a:lnTo>
                <a:lnTo>
                  <a:pt x="10" y="11"/>
                </a:lnTo>
                <a:lnTo>
                  <a:pt x="12" y="11"/>
                </a:lnTo>
                <a:lnTo>
                  <a:pt x="12" y="11"/>
                </a:lnTo>
                <a:lnTo>
                  <a:pt x="12" y="11"/>
                </a:lnTo>
                <a:lnTo>
                  <a:pt x="12" y="11"/>
                </a:lnTo>
                <a:lnTo>
                  <a:pt x="12" y="11"/>
                </a:lnTo>
                <a:lnTo>
                  <a:pt x="12" y="10"/>
                </a:lnTo>
                <a:lnTo>
                  <a:pt x="12" y="10"/>
                </a:lnTo>
                <a:lnTo>
                  <a:pt x="13" y="10"/>
                </a:lnTo>
                <a:lnTo>
                  <a:pt x="13" y="10"/>
                </a:lnTo>
                <a:lnTo>
                  <a:pt x="13" y="10"/>
                </a:lnTo>
                <a:lnTo>
                  <a:pt x="13" y="10"/>
                </a:lnTo>
                <a:lnTo>
                  <a:pt x="13" y="10"/>
                </a:lnTo>
                <a:lnTo>
                  <a:pt x="13" y="9"/>
                </a:lnTo>
                <a:lnTo>
                  <a:pt x="13" y="9"/>
                </a:lnTo>
                <a:lnTo>
                  <a:pt x="14" y="9"/>
                </a:lnTo>
                <a:lnTo>
                  <a:pt x="14" y="9"/>
                </a:lnTo>
                <a:lnTo>
                  <a:pt x="14" y="9"/>
                </a:lnTo>
                <a:lnTo>
                  <a:pt x="14" y="9"/>
                </a:lnTo>
                <a:lnTo>
                  <a:pt x="14" y="9"/>
                </a:lnTo>
                <a:lnTo>
                  <a:pt x="14" y="9"/>
                </a:lnTo>
                <a:lnTo>
                  <a:pt x="14" y="8"/>
                </a:lnTo>
                <a:lnTo>
                  <a:pt x="15" y="8"/>
                </a:lnTo>
                <a:lnTo>
                  <a:pt x="15" y="8"/>
                </a:lnTo>
                <a:lnTo>
                  <a:pt x="15" y="8"/>
                </a:lnTo>
                <a:lnTo>
                  <a:pt x="15" y="8"/>
                </a:lnTo>
                <a:lnTo>
                  <a:pt x="15" y="8"/>
                </a:lnTo>
                <a:lnTo>
                  <a:pt x="15" y="8"/>
                </a:lnTo>
                <a:lnTo>
                  <a:pt x="16" y="8"/>
                </a:lnTo>
                <a:lnTo>
                  <a:pt x="16" y="7"/>
                </a:lnTo>
                <a:lnTo>
                  <a:pt x="16" y="7"/>
                </a:lnTo>
                <a:lnTo>
                  <a:pt x="16" y="7"/>
                </a:lnTo>
                <a:lnTo>
                  <a:pt x="16" y="7"/>
                </a:lnTo>
                <a:lnTo>
                  <a:pt x="16" y="7"/>
                </a:lnTo>
                <a:lnTo>
                  <a:pt x="17" y="7"/>
                </a:lnTo>
                <a:lnTo>
                  <a:pt x="17" y="7"/>
                </a:lnTo>
                <a:lnTo>
                  <a:pt x="17" y="7"/>
                </a:lnTo>
                <a:lnTo>
                  <a:pt x="17" y="5"/>
                </a:lnTo>
                <a:lnTo>
                  <a:pt x="17" y="5"/>
                </a:lnTo>
                <a:lnTo>
                  <a:pt x="17" y="5"/>
                </a:lnTo>
                <a:lnTo>
                  <a:pt x="18" y="5"/>
                </a:lnTo>
                <a:lnTo>
                  <a:pt x="18" y="5"/>
                </a:lnTo>
                <a:lnTo>
                  <a:pt x="18" y="5"/>
                </a:lnTo>
                <a:lnTo>
                  <a:pt x="18" y="5"/>
                </a:lnTo>
                <a:lnTo>
                  <a:pt x="18" y="5"/>
                </a:lnTo>
                <a:lnTo>
                  <a:pt x="18" y="5"/>
                </a:lnTo>
                <a:lnTo>
                  <a:pt x="19" y="5"/>
                </a:lnTo>
                <a:lnTo>
                  <a:pt x="19" y="4"/>
                </a:lnTo>
                <a:lnTo>
                  <a:pt x="19" y="4"/>
                </a:lnTo>
                <a:lnTo>
                  <a:pt x="19" y="4"/>
                </a:lnTo>
                <a:lnTo>
                  <a:pt x="19" y="4"/>
                </a:lnTo>
                <a:lnTo>
                  <a:pt x="19" y="4"/>
                </a:lnTo>
                <a:lnTo>
                  <a:pt x="21" y="4"/>
                </a:lnTo>
                <a:lnTo>
                  <a:pt x="21" y="4"/>
                </a:lnTo>
                <a:lnTo>
                  <a:pt x="21" y="4"/>
                </a:lnTo>
                <a:lnTo>
                  <a:pt x="21" y="4"/>
                </a:lnTo>
                <a:lnTo>
                  <a:pt x="21" y="4"/>
                </a:lnTo>
                <a:lnTo>
                  <a:pt x="22" y="3"/>
                </a:lnTo>
                <a:lnTo>
                  <a:pt x="22" y="3"/>
                </a:lnTo>
                <a:lnTo>
                  <a:pt x="22" y="3"/>
                </a:lnTo>
                <a:lnTo>
                  <a:pt x="22" y="3"/>
                </a:lnTo>
                <a:lnTo>
                  <a:pt x="22" y="3"/>
                </a:lnTo>
                <a:lnTo>
                  <a:pt x="22" y="3"/>
                </a:lnTo>
                <a:lnTo>
                  <a:pt x="23" y="3"/>
                </a:lnTo>
                <a:lnTo>
                  <a:pt x="23" y="3"/>
                </a:lnTo>
                <a:lnTo>
                  <a:pt x="23" y="3"/>
                </a:lnTo>
                <a:lnTo>
                  <a:pt x="23" y="3"/>
                </a:lnTo>
                <a:lnTo>
                  <a:pt x="23" y="3"/>
                </a:lnTo>
                <a:lnTo>
                  <a:pt x="24" y="2"/>
                </a:lnTo>
                <a:lnTo>
                  <a:pt x="24" y="2"/>
                </a:lnTo>
                <a:lnTo>
                  <a:pt x="24" y="2"/>
                </a:lnTo>
                <a:lnTo>
                  <a:pt x="24" y="2"/>
                </a:lnTo>
                <a:lnTo>
                  <a:pt x="24" y="2"/>
                </a:lnTo>
                <a:lnTo>
                  <a:pt x="24" y="2"/>
                </a:lnTo>
                <a:lnTo>
                  <a:pt x="25" y="2"/>
                </a:lnTo>
                <a:lnTo>
                  <a:pt x="25" y="2"/>
                </a:lnTo>
                <a:lnTo>
                  <a:pt x="25" y="2"/>
                </a:lnTo>
                <a:lnTo>
                  <a:pt x="25" y="2"/>
                </a:lnTo>
                <a:lnTo>
                  <a:pt x="25" y="2"/>
                </a:lnTo>
                <a:lnTo>
                  <a:pt x="26" y="2"/>
                </a:lnTo>
                <a:lnTo>
                  <a:pt x="26" y="2"/>
                </a:lnTo>
                <a:lnTo>
                  <a:pt x="26" y="1"/>
                </a:lnTo>
                <a:lnTo>
                  <a:pt x="26" y="1"/>
                </a:lnTo>
                <a:lnTo>
                  <a:pt x="26" y="1"/>
                </a:lnTo>
                <a:lnTo>
                  <a:pt x="27" y="1"/>
                </a:lnTo>
                <a:lnTo>
                  <a:pt x="27" y="1"/>
                </a:lnTo>
                <a:lnTo>
                  <a:pt x="27" y="1"/>
                </a:lnTo>
                <a:lnTo>
                  <a:pt x="27" y="1"/>
                </a:lnTo>
                <a:lnTo>
                  <a:pt x="27" y="1"/>
                </a:lnTo>
                <a:lnTo>
                  <a:pt x="28" y="1"/>
                </a:lnTo>
                <a:lnTo>
                  <a:pt x="28" y="1"/>
                </a:lnTo>
                <a:lnTo>
                  <a:pt x="28" y="1"/>
                </a:lnTo>
                <a:lnTo>
                  <a:pt x="28" y="1"/>
                </a:lnTo>
                <a:lnTo>
                  <a:pt x="28" y="1"/>
                </a:lnTo>
                <a:lnTo>
                  <a:pt x="30" y="1"/>
                </a:lnTo>
                <a:lnTo>
                  <a:pt x="30" y="1"/>
                </a:lnTo>
                <a:lnTo>
                  <a:pt x="30" y="1"/>
                </a:lnTo>
                <a:lnTo>
                  <a:pt x="30" y="1"/>
                </a:lnTo>
                <a:lnTo>
                  <a:pt x="30" y="1"/>
                </a:lnTo>
                <a:lnTo>
                  <a:pt x="31" y="0"/>
                </a:lnTo>
                <a:lnTo>
                  <a:pt x="31" y="0"/>
                </a:lnTo>
                <a:lnTo>
                  <a:pt x="31" y="0"/>
                </a:lnTo>
                <a:lnTo>
                  <a:pt x="31" y="0"/>
                </a:lnTo>
                <a:lnTo>
                  <a:pt x="31" y="0"/>
                </a:lnTo>
                <a:lnTo>
                  <a:pt x="32" y="0"/>
                </a:lnTo>
                <a:lnTo>
                  <a:pt x="32" y="0"/>
                </a:lnTo>
                <a:lnTo>
                  <a:pt x="32" y="0"/>
                </a:lnTo>
                <a:lnTo>
                  <a:pt x="32" y="0"/>
                </a:lnTo>
                <a:lnTo>
                  <a:pt x="32" y="0"/>
                </a:lnTo>
                <a:lnTo>
                  <a:pt x="33" y="0"/>
                </a:lnTo>
                <a:lnTo>
                  <a:pt x="33" y="0"/>
                </a:lnTo>
                <a:lnTo>
                  <a:pt x="33" y="0"/>
                </a:lnTo>
                <a:lnTo>
                  <a:pt x="33" y="0"/>
                </a:lnTo>
                <a:lnTo>
                  <a:pt x="33" y="0"/>
                </a:lnTo>
                <a:lnTo>
                  <a:pt x="34" y="0"/>
                </a:lnTo>
                <a:lnTo>
                  <a:pt x="34" y="0"/>
                </a:lnTo>
                <a:lnTo>
                  <a:pt x="34" y="0"/>
                </a:lnTo>
                <a:lnTo>
                  <a:pt x="34" y="0"/>
                </a:lnTo>
                <a:lnTo>
                  <a:pt x="34" y="0"/>
                </a:lnTo>
                <a:lnTo>
                  <a:pt x="35" y="0"/>
                </a:lnTo>
                <a:lnTo>
                  <a:pt x="35" y="0"/>
                </a:lnTo>
                <a:lnTo>
                  <a:pt x="35" y="0"/>
                </a:lnTo>
                <a:lnTo>
                  <a:pt x="35" y="0"/>
                </a:lnTo>
                <a:lnTo>
                  <a:pt x="36" y="0"/>
                </a:lnTo>
                <a:lnTo>
                  <a:pt x="36" y="0"/>
                </a:lnTo>
                <a:lnTo>
                  <a:pt x="36" y="0"/>
                </a:lnTo>
                <a:lnTo>
                  <a:pt x="36" y="0"/>
                </a:lnTo>
                <a:lnTo>
                  <a:pt x="36" y="0"/>
                </a:lnTo>
                <a:lnTo>
                  <a:pt x="37" y="0"/>
                </a:lnTo>
                <a:lnTo>
                  <a:pt x="37" y="0"/>
                </a:lnTo>
                <a:lnTo>
                  <a:pt x="37" y="0"/>
                </a:lnTo>
                <a:lnTo>
                  <a:pt x="37" y="0"/>
                </a:lnTo>
                <a:lnTo>
                  <a:pt x="37" y="0"/>
                </a:lnTo>
                <a:lnTo>
                  <a:pt x="39" y="0"/>
                </a:lnTo>
                <a:lnTo>
                  <a:pt x="39" y="0"/>
                </a:lnTo>
                <a:lnTo>
                  <a:pt x="39" y="0"/>
                </a:lnTo>
                <a:lnTo>
                  <a:pt x="39" y="0"/>
                </a:lnTo>
                <a:lnTo>
                  <a:pt x="40" y="0"/>
                </a:lnTo>
                <a:lnTo>
                  <a:pt x="40" y="0"/>
                </a:lnTo>
                <a:lnTo>
                  <a:pt x="40" y="0"/>
                </a:lnTo>
                <a:lnTo>
                  <a:pt x="40" y="0"/>
                </a:lnTo>
                <a:lnTo>
                  <a:pt x="40" y="0"/>
                </a:lnTo>
                <a:lnTo>
                  <a:pt x="41" y="0"/>
                </a:lnTo>
                <a:lnTo>
                  <a:pt x="41" y="0"/>
                </a:lnTo>
                <a:lnTo>
                  <a:pt x="41" y="0"/>
                </a:lnTo>
                <a:lnTo>
                  <a:pt x="41" y="0"/>
                </a:lnTo>
                <a:lnTo>
                  <a:pt x="41" y="0"/>
                </a:lnTo>
                <a:lnTo>
                  <a:pt x="42" y="0"/>
                </a:lnTo>
                <a:lnTo>
                  <a:pt x="42" y="0"/>
                </a:lnTo>
                <a:lnTo>
                  <a:pt x="42" y="0"/>
                </a:lnTo>
                <a:lnTo>
                  <a:pt x="42" y="0"/>
                </a:lnTo>
                <a:lnTo>
                  <a:pt x="42" y="0"/>
                </a:lnTo>
                <a:lnTo>
                  <a:pt x="43" y="0"/>
                </a:lnTo>
                <a:lnTo>
                  <a:pt x="43" y="0"/>
                </a:lnTo>
                <a:lnTo>
                  <a:pt x="43" y="0"/>
                </a:lnTo>
                <a:lnTo>
                  <a:pt x="43" y="0"/>
                </a:lnTo>
                <a:lnTo>
                  <a:pt x="44" y="0"/>
                </a:lnTo>
                <a:lnTo>
                  <a:pt x="44" y="0"/>
                </a:lnTo>
                <a:lnTo>
                  <a:pt x="44" y="0"/>
                </a:lnTo>
                <a:lnTo>
                  <a:pt x="44" y="0"/>
                </a:lnTo>
                <a:lnTo>
                  <a:pt x="44" y="0"/>
                </a:lnTo>
                <a:lnTo>
                  <a:pt x="45" y="0"/>
                </a:lnTo>
                <a:lnTo>
                  <a:pt x="45" y="0"/>
                </a:lnTo>
                <a:lnTo>
                  <a:pt x="45" y="0"/>
                </a:lnTo>
                <a:lnTo>
                  <a:pt x="45" y="0"/>
                </a:lnTo>
                <a:lnTo>
                  <a:pt x="45" y="0"/>
                </a:lnTo>
                <a:lnTo>
                  <a:pt x="46" y="0"/>
                </a:lnTo>
                <a:lnTo>
                  <a:pt x="46" y="0"/>
                </a:lnTo>
                <a:lnTo>
                  <a:pt x="46" y="0"/>
                </a:lnTo>
                <a:lnTo>
                  <a:pt x="46" y="0"/>
                </a:lnTo>
                <a:lnTo>
                  <a:pt x="46" y="1"/>
                </a:lnTo>
                <a:lnTo>
                  <a:pt x="48" y="1"/>
                </a:lnTo>
                <a:lnTo>
                  <a:pt x="48" y="1"/>
                </a:lnTo>
                <a:lnTo>
                  <a:pt x="48" y="1"/>
                </a:lnTo>
                <a:lnTo>
                  <a:pt x="48" y="1"/>
                </a:lnTo>
                <a:lnTo>
                  <a:pt x="48" y="1"/>
                </a:lnTo>
                <a:lnTo>
                  <a:pt x="49" y="1"/>
                </a:lnTo>
                <a:lnTo>
                  <a:pt x="49" y="1"/>
                </a:lnTo>
                <a:lnTo>
                  <a:pt x="49" y="1"/>
                </a:lnTo>
                <a:lnTo>
                  <a:pt x="49" y="1"/>
                </a:lnTo>
                <a:lnTo>
                  <a:pt x="49" y="1"/>
                </a:lnTo>
                <a:lnTo>
                  <a:pt x="50" y="1"/>
                </a:lnTo>
                <a:lnTo>
                  <a:pt x="50" y="1"/>
                </a:lnTo>
                <a:lnTo>
                  <a:pt x="50" y="1"/>
                </a:lnTo>
                <a:lnTo>
                  <a:pt x="50" y="1"/>
                </a:lnTo>
                <a:lnTo>
                  <a:pt x="50" y="1"/>
                </a:lnTo>
                <a:lnTo>
                  <a:pt x="51" y="1"/>
                </a:lnTo>
                <a:lnTo>
                  <a:pt x="51" y="1"/>
                </a:lnTo>
                <a:lnTo>
                  <a:pt x="51" y="2"/>
                </a:lnTo>
                <a:lnTo>
                  <a:pt x="51" y="2"/>
                </a:lnTo>
                <a:lnTo>
                  <a:pt x="51" y="2"/>
                </a:lnTo>
                <a:lnTo>
                  <a:pt x="52" y="2"/>
                </a:lnTo>
                <a:lnTo>
                  <a:pt x="52" y="2"/>
                </a:lnTo>
                <a:lnTo>
                  <a:pt x="52" y="2"/>
                </a:lnTo>
                <a:lnTo>
                  <a:pt x="52" y="2"/>
                </a:lnTo>
                <a:lnTo>
                  <a:pt x="52" y="2"/>
                </a:lnTo>
                <a:lnTo>
                  <a:pt x="52" y="2"/>
                </a:lnTo>
                <a:lnTo>
                  <a:pt x="53" y="2"/>
                </a:lnTo>
                <a:lnTo>
                  <a:pt x="53" y="2"/>
                </a:lnTo>
                <a:lnTo>
                  <a:pt x="53" y="2"/>
                </a:lnTo>
                <a:lnTo>
                  <a:pt x="53" y="2"/>
                </a:lnTo>
                <a:lnTo>
                  <a:pt x="53" y="3"/>
                </a:lnTo>
                <a:lnTo>
                  <a:pt x="54" y="3"/>
                </a:lnTo>
                <a:lnTo>
                  <a:pt x="54" y="3"/>
                </a:lnTo>
                <a:lnTo>
                  <a:pt x="54" y="3"/>
                </a:lnTo>
                <a:lnTo>
                  <a:pt x="54" y="3"/>
                </a:lnTo>
                <a:lnTo>
                  <a:pt x="54" y="3"/>
                </a:lnTo>
                <a:lnTo>
                  <a:pt x="55" y="3"/>
                </a:lnTo>
                <a:lnTo>
                  <a:pt x="55" y="3"/>
                </a:lnTo>
                <a:lnTo>
                  <a:pt x="55" y="3"/>
                </a:lnTo>
                <a:lnTo>
                  <a:pt x="55" y="3"/>
                </a:lnTo>
                <a:lnTo>
                  <a:pt x="55" y="3"/>
                </a:lnTo>
                <a:lnTo>
                  <a:pt x="55" y="4"/>
                </a:lnTo>
                <a:lnTo>
                  <a:pt x="57" y="4"/>
                </a:lnTo>
                <a:lnTo>
                  <a:pt x="57" y="4"/>
                </a:lnTo>
                <a:lnTo>
                  <a:pt x="57" y="4"/>
                </a:lnTo>
                <a:lnTo>
                  <a:pt x="57" y="4"/>
                </a:lnTo>
                <a:lnTo>
                  <a:pt x="57" y="4"/>
                </a:lnTo>
                <a:lnTo>
                  <a:pt x="57" y="4"/>
                </a:lnTo>
                <a:lnTo>
                  <a:pt x="58" y="4"/>
                </a:lnTo>
                <a:lnTo>
                  <a:pt x="58" y="4"/>
                </a:lnTo>
                <a:lnTo>
                  <a:pt x="58" y="4"/>
                </a:lnTo>
                <a:lnTo>
                  <a:pt x="58" y="5"/>
                </a:lnTo>
                <a:lnTo>
                  <a:pt x="58" y="5"/>
                </a:lnTo>
                <a:lnTo>
                  <a:pt x="59" y="5"/>
                </a:lnTo>
                <a:lnTo>
                  <a:pt x="59" y="5"/>
                </a:lnTo>
                <a:lnTo>
                  <a:pt x="59" y="5"/>
                </a:lnTo>
                <a:lnTo>
                  <a:pt x="59" y="5"/>
                </a:lnTo>
                <a:lnTo>
                  <a:pt x="59" y="5"/>
                </a:lnTo>
                <a:lnTo>
                  <a:pt x="59" y="5"/>
                </a:lnTo>
                <a:lnTo>
                  <a:pt x="60" y="5"/>
                </a:lnTo>
                <a:lnTo>
                  <a:pt x="60" y="5"/>
                </a:lnTo>
                <a:lnTo>
                  <a:pt x="60" y="7"/>
                </a:lnTo>
                <a:lnTo>
                  <a:pt x="60" y="7"/>
                </a:lnTo>
                <a:lnTo>
                  <a:pt x="60" y="7"/>
                </a:lnTo>
                <a:lnTo>
                  <a:pt x="60" y="7"/>
                </a:lnTo>
                <a:lnTo>
                  <a:pt x="61" y="7"/>
                </a:lnTo>
                <a:lnTo>
                  <a:pt x="61" y="7"/>
                </a:lnTo>
                <a:lnTo>
                  <a:pt x="61" y="7"/>
                </a:lnTo>
                <a:lnTo>
                  <a:pt x="61" y="7"/>
                </a:lnTo>
                <a:lnTo>
                  <a:pt x="61" y="8"/>
                </a:lnTo>
                <a:lnTo>
                  <a:pt x="61" y="8"/>
                </a:lnTo>
                <a:lnTo>
                  <a:pt x="61" y="8"/>
                </a:lnTo>
                <a:lnTo>
                  <a:pt x="62" y="8"/>
                </a:lnTo>
                <a:lnTo>
                  <a:pt x="62" y="8"/>
                </a:lnTo>
                <a:lnTo>
                  <a:pt x="62" y="8"/>
                </a:lnTo>
                <a:lnTo>
                  <a:pt x="62" y="8"/>
                </a:lnTo>
                <a:lnTo>
                  <a:pt x="62" y="8"/>
                </a:lnTo>
                <a:lnTo>
                  <a:pt x="62" y="9"/>
                </a:lnTo>
                <a:lnTo>
                  <a:pt x="63" y="9"/>
                </a:lnTo>
                <a:lnTo>
                  <a:pt x="63" y="9"/>
                </a:lnTo>
                <a:lnTo>
                  <a:pt x="63" y="9"/>
                </a:lnTo>
                <a:lnTo>
                  <a:pt x="63" y="9"/>
                </a:lnTo>
                <a:lnTo>
                  <a:pt x="63" y="9"/>
                </a:lnTo>
                <a:lnTo>
                  <a:pt x="63" y="9"/>
                </a:lnTo>
                <a:lnTo>
                  <a:pt x="63" y="9"/>
                </a:lnTo>
                <a:lnTo>
                  <a:pt x="64" y="10"/>
                </a:lnTo>
                <a:lnTo>
                  <a:pt x="64" y="10"/>
                </a:lnTo>
                <a:lnTo>
                  <a:pt x="64" y="10"/>
                </a:lnTo>
                <a:lnTo>
                  <a:pt x="64" y="10"/>
                </a:lnTo>
                <a:lnTo>
                  <a:pt x="64" y="10"/>
                </a:lnTo>
                <a:lnTo>
                  <a:pt x="64" y="10"/>
                </a:lnTo>
                <a:lnTo>
                  <a:pt x="64" y="10"/>
                </a:lnTo>
                <a:lnTo>
                  <a:pt x="66" y="11"/>
                </a:lnTo>
                <a:lnTo>
                  <a:pt x="66" y="11"/>
                </a:lnTo>
                <a:lnTo>
                  <a:pt x="66" y="11"/>
                </a:lnTo>
                <a:lnTo>
                  <a:pt x="66" y="11"/>
                </a:lnTo>
                <a:lnTo>
                  <a:pt x="66" y="11"/>
                </a:lnTo>
                <a:lnTo>
                  <a:pt x="66" y="11"/>
                </a:lnTo>
                <a:lnTo>
                  <a:pt x="66" y="11"/>
                </a:lnTo>
                <a:lnTo>
                  <a:pt x="67" y="12"/>
                </a:lnTo>
                <a:lnTo>
                  <a:pt x="67" y="12"/>
                </a:lnTo>
                <a:lnTo>
                  <a:pt x="67" y="12"/>
                </a:lnTo>
                <a:lnTo>
                  <a:pt x="67" y="12"/>
                </a:lnTo>
                <a:lnTo>
                  <a:pt x="67" y="12"/>
                </a:lnTo>
                <a:lnTo>
                  <a:pt x="67" y="12"/>
                </a:lnTo>
                <a:lnTo>
                  <a:pt x="67" y="13"/>
                </a:lnTo>
                <a:lnTo>
                  <a:pt x="67" y="13"/>
                </a:lnTo>
                <a:lnTo>
                  <a:pt x="68" y="13"/>
                </a:lnTo>
                <a:lnTo>
                  <a:pt x="68" y="13"/>
                </a:lnTo>
                <a:lnTo>
                  <a:pt x="68" y="13"/>
                </a:lnTo>
                <a:lnTo>
                  <a:pt x="68" y="13"/>
                </a:lnTo>
                <a:lnTo>
                  <a:pt x="68" y="13"/>
                </a:lnTo>
                <a:lnTo>
                  <a:pt x="68" y="14"/>
                </a:lnTo>
                <a:lnTo>
                  <a:pt x="68" y="14"/>
                </a:lnTo>
                <a:lnTo>
                  <a:pt x="68" y="14"/>
                </a:lnTo>
                <a:lnTo>
                  <a:pt x="69" y="14"/>
                </a:lnTo>
                <a:lnTo>
                  <a:pt x="69" y="14"/>
                </a:lnTo>
                <a:lnTo>
                  <a:pt x="69" y="14"/>
                </a:lnTo>
                <a:lnTo>
                  <a:pt x="69" y="16"/>
                </a:lnTo>
                <a:lnTo>
                  <a:pt x="69" y="16"/>
                </a:lnTo>
                <a:lnTo>
                  <a:pt x="69" y="16"/>
                </a:lnTo>
                <a:lnTo>
                  <a:pt x="69" y="16"/>
                </a:lnTo>
                <a:lnTo>
                  <a:pt x="69" y="16"/>
                </a:lnTo>
                <a:lnTo>
                  <a:pt x="70" y="16"/>
                </a:lnTo>
                <a:lnTo>
                  <a:pt x="70" y="17"/>
                </a:lnTo>
                <a:lnTo>
                  <a:pt x="70" y="17"/>
                </a:lnTo>
                <a:lnTo>
                  <a:pt x="70" y="17"/>
                </a:lnTo>
                <a:lnTo>
                  <a:pt x="70" y="17"/>
                </a:lnTo>
                <a:lnTo>
                  <a:pt x="70" y="17"/>
                </a:lnTo>
                <a:lnTo>
                  <a:pt x="70" y="17"/>
                </a:lnTo>
                <a:lnTo>
                  <a:pt x="70" y="18"/>
                </a:lnTo>
                <a:lnTo>
                  <a:pt x="70" y="18"/>
                </a:lnTo>
                <a:lnTo>
                  <a:pt x="71" y="18"/>
                </a:lnTo>
                <a:lnTo>
                  <a:pt x="71" y="18"/>
                </a:lnTo>
                <a:lnTo>
                  <a:pt x="71" y="18"/>
                </a:lnTo>
                <a:lnTo>
                  <a:pt x="71" y="18"/>
                </a:lnTo>
                <a:lnTo>
                  <a:pt x="71" y="19"/>
                </a:lnTo>
                <a:lnTo>
                  <a:pt x="71" y="19"/>
                </a:lnTo>
                <a:lnTo>
                  <a:pt x="71" y="19"/>
                </a:lnTo>
                <a:lnTo>
                  <a:pt x="71" y="19"/>
                </a:lnTo>
                <a:lnTo>
                  <a:pt x="71" y="19"/>
                </a:lnTo>
                <a:lnTo>
                  <a:pt x="71" y="20"/>
                </a:lnTo>
                <a:lnTo>
                  <a:pt x="72" y="20"/>
                </a:lnTo>
                <a:lnTo>
                  <a:pt x="72" y="20"/>
                </a:lnTo>
                <a:lnTo>
                  <a:pt x="72" y="20"/>
                </a:lnTo>
                <a:lnTo>
                  <a:pt x="72" y="20"/>
                </a:lnTo>
                <a:lnTo>
                  <a:pt x="72" y="20"/>
                </a:lnTo>
                <a:lnTo>
                  <a:pt x="72" y="21"/>
                </a:lnTo>
                <a:lnTo>
                  <a:pt x="72" y="21"/>
                </a:lnTo>
                <a:lnTo>
                  <a:pt x="72" y="21"/>
                </a:lnTo>
                <a:lnTo>
                  <a:pt x="72" y="21"/>
                </a:lnTo>
                <a:lnTo>
                  <a:pt x="72" y="21"/>
                </a:lnTo>
                <a:lnTo>
                  <a:pt x="72" y="22"/>
                </a:lnTo>
                <a:lnTo>
                  <a:pt x="72" y="22"/>
                </a:lnTo>
                <a:lnTo>
                  <a:pt x="73" y="22"/>
                </a:lnTo>
                <a:lnTo>
                  <a:pt x="73" y="22"/>
                </a:lnTo>
                <a:lnTo>
                  <a:pt x="73" y="22"/>
                </a:lnTo>
                <a:lnTo>
                  <a:pt x="73" y="22"/>
                </a:lnTo>
                <a:lnTo>
                  <a:pt x="73" y="23"/>
                </a:lnTo>
                <a:lnTo>
                  <a:pt x="73" y="23"/>
                </a:lnTo>
                <a:lnTo>
                  <a:pt x="73" y="23"/>
                </a:lnTo>
                <a:lnTo>
                  <a:pt x="73" y="23"/>
                </a:lnTo>
                <a:lnTo>
                  <a:pt x="73" y="23"/>
                </a:lnTo>
                <a:lnTo>
                  <a:pt x="73" y="25"/>
                </a:lnTo>
                <a:lnTo>
                  <a:pt x="73" y="25"/>
                </a:lnTo>
                <a:lnTo>
                  <a:pt x="73" y="25"/>
                </a:lnTo>
                <a:lnTo>
                  <a:pt x="73" y="25"/>
                </a:lnTo>
                <a:lnTo>
                  <a:pt x="75" y="25"/>
                </a:lnTo>
                <a:lnTo>
                  <a:pt x="75" y="26"/>
                </a:lnTo>
                <a:lnTo>
                  <a:pt x="75" y="26"/>
                </a:lnTo>
                <a:lnTo>
                  <a:pt x="75" y="26"/>
                </a:lnTo>
                <a:lnTo>
                  <a:pt x="75" y="26"/>
                </a:lnTo>
                <a:lnTo>
                  <a:pt x="75" y="26"/>
                </a:lnTo>
                <a:lnTo>
                  <a:pt x="75" y="27"/>
                </a:lnTo>
                <a:lnTo>
                  <a:pt x="75" y="27"/>
                </a:lnTo>
                <a:lnTo>
                  <a:pt x="75" y="27"/>
                </a:lnTo>
                <a:lnTo>
                  <a:pt x="75" y="27"/>
                </a:lnTo>
                <a:lnTo>
                  <a:pt x="75" y="27"/>
                </a:lnTo>
                <a:lnTo>
                  <a:pt x="75" y="28"/>
                </a:lnTo>
                <a:lnTo>
                  <a:pt x="75" y="28"/>
                </a:lnTo>
                <a:lnTo>
                  <a:pt x="75" y="28"/>
                </a:lnTo>
                <a:lnTo>
                  <a:pt x="75" y="28"/>
                </a:lnTo>
                <a:lnTo>
                  <a:pt x="75" y="28"/>
                </a:lnTo>
                <a:lnTo>
                  <a:pt x="75" y="29"/>
                </a:lnTo>
                <a:lnTo>
                  <a:pt x="75" y="29"/>
                </a:lnTo>
                <a:lnTo>
                  <a:pt x="75" y="29"/>
                </a:lnTo>
                <a:lnTo>
                  <a:pt x="76" y="29"/>
                </a:lnTo>
                <a:lnTo>
                  <a:pt x="76" y="29"/>
                </a:lnTo>
                <a:lnTo>
                  <a:pt x="76" y="30"/>
                </a:lnTo>
                <a:lnTo>
                  <a:pt x="76" y="30"/>
                </a:lnTo>
                <a:lnTo>
                  <a:pt x="76" y="30"/>
                </a:lnTo>
                <a:lnTo>
                  <a:pt x="76" y="30"/>
                </a:lnTo>
                <a:lnTo>
                  <a:pt x="76" y="30"/>
                </a:lnTo>
                <a:lnTo>
                  <a:pt x="76" y="31"/>
                </a:lnTo>
                <a:lnTo>
                  <a:pt x="76" y="31"/>
                </a:lnTo>
                <a:lnTo>
                  <a:pt x="76" y="31"/>
                </a:lnTo>
                <a:lnTo>
                  <a:pt x="76" y="31"/>
                </a:lnTo>
                <a:lnTo>
                  <a:pt x="76" y="31"/>
                </a:lnTo>
                <a:lnTo>
                  <a:pt x="76" y="32"/>
                </a:lnTo>
                <a:lnTo>
                  <a:pt x="76" y="32"/>
                </a:lnTo>
                <a:lnTo>
                  <a:pt x="76" y="32"/>
                </a:lnTo>
                <a:lnTo>
                  <a:pt x="76" y="32"/>
                </a:lnTo>
                <a:lnTo>
                  <a:pt x="76" y="32"/>
                </a:lnTo>
                <a:lnTo>
                  <a:pt x="76" y="34"/>
                </a:lnTo>
                <a:lnTo>
                  <a:pt x="76" y="34"/>
                </a:lnTo>
                <a:lnTo>
                  <a:pt x="76" y="34"/>
                </a:lnTo>
                <a:lnTo>
                  <a:pt x="76" y="34"/>
                </a:lnTo>
                <a:lnTo>
                  <a:pt x="76" y="34"/>
                </a:lnTo>
                <a:lnTo>
                  <a:pt x="76" y="35"/>
                </a:lnTo>
                <a:lnTo>
                  <a:pt x="76" y="35"/>
                </a:lnTo>
                <a:lnTo>
                  <a:pt x="76" y="35"/>
                </a:lnTo>
                <a:lnTo>
                  <a:pt x="76" y="35"/>
                </a:lnTo>
                <a:lnTo>
                  <a:pt x="76" y="36"/>
                </a:lnTo>
                <a:lnTo>
                  <a:pt x="76" y="36"/>
                </a:lnTo>
                <a:lnTo>
                  <a:pt x="76" y="36"/>
                </a:lnTo>
                <a:lnTo>
                  <a:pt x="76" y="36"/>
                </a:lnTo>
                <a:lnTo>
                  <a:pt x="76" y="36"/>
                </a:lnTo>
                <a:lnTo>
                  <a:pt x="76" y="37"/>
                </a:lnTo>
                <a:lnTo>
                  <a:pt x="76" y="37"/>
                </a:lnTo>
                <a:lnTo>
                  <a:pt x="76" y="37"/>
                </a:lnTo>
                <a:lnTo>
                  <a:pt x="76" y="37"/>
                </a:lnTo>
                <a:close/>
                <a:moveTo>
                  <a:pt x="78" y="41"/>
                </a:moveTo>
                <a:lnTo>
                  <a:pt x="78" y="34"/>
                </a:lnTo>
                <a:lnTo>
                  <a:pt x="94" y="34"/>
                </a:lnTo>
                <a:lnTo>
                  <a:pt x="94" y="41"/>
                </a:lnTo>
                <a:lnTo>
                  <a:pt x="78" y="41"/>
                </a:lnTo>
                <a:lnTo>
                  <a:pt x="78" y="41"/>
                </a:lnTo>
                <a:close/>
                <a:moveTo>
                  <a:pt x="125" y="41"/>
                </a:moveTo>
                <a:lnTo>
                  <a:pt x="125" y="34"/>
                </a:lnTo>
                <a:lnTo>
                  <a:pt x="141" y="34"/>
                </a:lnTo>
                <a:lnTo>
                  <a:pt x="141" y="41"/>
                </a:lnTo>
                <a:lnTo>
                  <a:pt x="125" y="41"/>
                </a:lnTo>
                <a:lnTo>
                  <a:pt x="125" y="41"/>
                </a:lnTo>
                <a:close/>
                <a:moveTo>
                  <a:pt x="173" y="41"/>
                </a:moveTo>
                <a:lnTo>
                  <a:pt x="173" y="34"/>
                </a:lnTo>
                <a:lnTo>
                  <a:pt x="188" y="34"/>
                </a:lnTo>
                <a:lnTo>
                  <a:pt x="188" y="41"/>
                </a:lnTo>
                <a:lnTo>
                  <a:pt x="173" y="41"/>
                </a:lnTo>
                <a:lnTo>
                  <a:pt x="173" y="41"/>
                </a:lnTo>
                <a:close/>
                <a:moveTo>
                  <a:pt x="220" y="41"/>
                </a:moveTo>
                <a:lnTo>
                  <a:pt x="220" y="34"/>
                </a:lnTo>
                <a:lnTo>
                  <a:pt x="236" y="34"/>
                </a:lnTo>
                <a:lnTo>
                  <a:pt x="236" y="41"/>
                </a:lnTo>
                <a:lnTo>
                  <a:pt x="220" y="41"/>
                </a:lnTo>
                <a:lnTo>
                  <a:pt x="220" y="41"/>
                </a:lnTo>
                <a:close/>
                <a:moveTo>
                  <a:pt x="267" y="41"/>
                </a:moveTo>
                <a:lnTo>
                  <a:pt x="267" y="34"/>
                </a:lnTo>
                <a:lnTo>
                  <a:pt x="283" y="34"/>
                </a:lnTo>
                <a:lnTo>
                  <a:pt x="283" y="41"/>
                </a:lnTo>
                <a:lnTo>
                  <a:pt x="267" y="41"/>
                </a:lnTo>
                <a:lnTo>
                  <a:pt x="267" y="41"/>
                </a:lnTo>
                <a:close/>
                <a:moveTo>
                  <a:pt x="314" y="41"/>
                </a:moveTo>
                <a:lnTo>
                  <a:pt x="314" y="34"/>
                </a:lnTo>
                <a:lnTo>
                  <a:pt x="330" y="34"/>
                </a:lnTo>
                <a:lnTo>
                  <a:pt x="330" y="41"/>
                </a:lnTo>
                <a:lnTo>
                  <a:pt x="314" y="41"/>
                </a:lnTo>
                <a:lnTo>
                  <a:pt x="314" y="41"/>
                </a:lnTo>
                <a:close/>
                <a:moveTo>
                  <a:pt x="362" y="41"/>
                </a:moveTo>
                <a:lnTo>
                  <a:pt x="362" y="34"/>
                </a:lnTo>
                <a:lnTo>
                  <a:pt x="376" y="34"/>
                </a:lnTo>
                <a:lnTo>
                  <a:pt x="376" y="41"/>
                </a:lnTo>
                <a:lnTo>
                  <a:pt x="362" y="41"/>
                </a:lnTo>
                <a:lnTo>
                  <a:pt x="362" y="41"/>
                </a:lnTo>
                <a:close/>
                <a:moveTo>
                  <a:pt x="408" y="41"/>
                </a:moveTo>
                <a:lnTo>
                  <a:pt x="408" y="34"/>
                </a:lnTo>
                <a:lnTo>
                  <a:pt x="424" y="34"/>
                </a:lnTo>
                <a:lnTo>
                  <a:pt x="424" y="41"/>
                </a:lnTo>
                <a:lnTo>
                  <a:pt x="408" y="41"/>
                </a:lnTo>
                <a:lnTo>
                  <a:pt x="408" y="41"/>
                </a:lnTo>
                <a:close/>
                <a:moveTo>
                  <a:pt x="455" y="41"/>
                </a:moveTo>
                <a:lnTo>
                  <a:pt x="455" y="34"/>
                </a:lnTo>
                <a:lnTo>
                  <a:pt x="471" y="34"/>
                </a:lnTo>
                <a:lnTo>
                  <a:pt x="471" y="41"/>
                </a:lnTo>
                <a:lnTo>
                  <a:pt x="455" y="41"/>
                </a:lnTo>
                <a:close/>
              </a:path>
            </a:pathLst>
          </a:custGeom>
          <a:solidFill>
            <a:srgbClr val="8497B0"/>
          </a:solidFill>
          <a:ln>
            <a:solidFill>
              <a:schemeClr val="accent3">
                <a:lumMod val="60000"/>
                <a:lumOff val="40000"/>
              </a:schemeClr>
            </a:solidFill>
          </a:ln>
        </p:spPr>
        <p:txBody>
          <a:bodyPr vert="horz" wrap="square" lIns="91440" tIns="45720" rIns="91440" bIns="45720" numCol="1" anchor="t" anchorCtr="0" compatLnSpc="1">
            <a:prstTxWarp prst="textNoShape">
              <a:avLst/>
            </a:prstTxWarp>
          </a:bodyPr>
          <a:lstStyle/>
          <a:p>
            <a:endParaRPr lang="en-US"/>
          </a:p>
        </p:txBody>
      </p:sp>
      <p:sp>
        <p:nvSpPr>
          <p:cNvPr id="116" name="Oval 69">
            <a:extLst>
              <a:ext uri="{FF2B5EF4-FFF2-40B4-BE49-F238E27FC236}">
                <a16:creationId xmlns:a16="http://schemas.microsoft.com/office/drawing/2014/main" id="{DB4D3688-7E3C-431F-9EDE-7AF63550D8E9}"/>
              </a:ext>
            </a:extLst>
          </p:cNvPr>
          <p:cNvSpPr>
            <a:spLocks noChangeArrowheads="1"/>
          </p:cNvSpPr>
          <p:nvPr/>
        </p:nvSpPr>
        <p:spPr bwMode="auto">
          <a:xfrm>
            <a:off x="8862037" y="4598921"/>
            <a:ext cx="798513" cy="798512"/>
          </a:xfrm>
          <a:prstGeom prst="ellipse">
            <a:avLst/>
          </a:prstGeom>
          <a:solidFill>
            <a:schemeClr val="accent3">
              <a:lumMod val="60000"/>
              <a:lumOff val="40000"/>
            </a:schemeClr>
          </a:solidFill>
          <a:ln>
            <a:noFill/>
          </a:ln>
          <a:effectLst/>
        </p:spPr>
        <p:txBody>
          <a:bodyPr vert="horz" wrap="square" lIns="91440" tIns="45720" rIns="91440" bIns="45720" numCol="1" anchor="ctr" anchorCtr="0" compatLnSpc="1">
            <a:prstTxWarp prst="textNoShape">
              <a:avLst/>
            </a:prstTxWarp>
          </a:bodyPr>
          <a:lstStyle/>
          <a:p>
            <a:pPr algn="ctr"/>
            <a:r>
              <a:rPr lang="uz-Cyrl-UZ" b="1" dirty="0"/>
              <a:t>5</a:t>
            </a:r>
            <a:endParaRPr lang="ru-RU" b="1" dirty="0"/>
          </a:p>
        </p:txBody>
      </p:sp>
      <p:sp>
        <p:nvSpPr>
          <p:cNvPr id="119" name="TextBox 118">
            <a:extLst>
              <a:ext uri="{FF2B5EF4-FFF2-40B4-BE49-F238E27FC236}">
                <a16:creationId xmlns:a16="http://schemas.microsoft.com/office/drawing/2014/main" id="{758FEE6E-1510-435A-8104-6F460D51AF41}"/>
              </a:ext>
            </a:extLst>
          </p:cNvPr>
          <p:cNvSpPr txBox="1"/>
          <p:nvPr/>
        </p:nvSpPr>
        <p:spPr>
          <a:xfrm flipH="1">
            <a:off x="9694509" y="4649734"/>
            <a:ext cx="2243981" cy="430887"/>
          </a:xfrm>
          <a:prstGeom prst="rect">
            <a:avLst/>
          </a:prstGeom>
          <a:noFill/>
        </p:spPr>
        <p:txBody>
          <a:bodyPr wrap="square" lIns="0" tIns="0" rIns="0" bIns="0" rtlCol="0" anchor="ctr">
            <a:spAutoFit/>
          </a:bodyPr>
          <a:lstStyle/>
          <a:p>
            <a:pPr algn="ctr"/>
            <a:r>
              <a:rPr lang="ru-RU" sz="1400" dirty="0" err="1" smtClean="0"/>
              <a:t>Талабаларнинг</a:t>
            </a:r>
            <a:r>
              <a:rPr lang="ru-RU" sz="1400" dirty="0" smtClean="0"/>
              <a:t> спорт </a:t>
            </a:r>
            <a:r>
              <a:rPr lang="ru-RU" sz="1400" dirty="0" err="1" smtClean="0"/>
              <a:t>билан</a:t>
            </a:r>
            <a:r>
              <a:rPr lang="ru-RU" sz="1400" dirty="0" smtClean="0"/>
              <a:t> </a:t>
            </a:r>
            <a:r>
              <a:rPr lang="ru-RU" sz="1400" dirty="0" err="1" smtClean="0"/>
              <a:t>шуғулланиши</a:t>
            </a:r>
            <a:endParaRPr lang="ru-RU" sz="1400" dirty="0"/>
          </a:p>
        </p:txBody>
      </p:sp>
    </p:spTree>
    <p:extLst>
      <p:ext uri="{BB962C8B-B14F-4D97-AF65-F5344CB8AC3E}">
        <p14:creationId xmlns:p14="http://schemas.microsoft.com/office/powerpoint/2010/main" val="21327818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59DDB6F-3787-481E-9941-97AF7B3B148A}"/>
              </a:ext>
            </a:extLst>
          </p:cNvPr>
          <p:cNvSpPr>
            <a:spLocks noGrp="1"/>
          </p:cNvSpPr>
          <p:nvPr>
            <p:ph type="ctrTitle"/>
          </p:nvPr>
        </p:nvSpPr>
        <p:spPr>
          <a:xfrm>
            <a:off x="1089388" y="418306"/>
            <a:ext cx="8721184" cy="1163395"/>
          </a:xfrm>
        </p:spPr>
        <p:txBody>
          <a:bodyPr/>
          <a:lstStyle/>
          <a:p>
            <a:r>
              <a:rPr lang="ru-RU" dirty="0"/>
              <a:t>Кредит-</a:t>
            </a:r>
            <a:r>
              <a:rPr lang="ru-RU" dirty="0" err="1"/>
              <a:t>модул</a:t>
            </a:r>
            <a:r>
              <a:rPr lang="ru-RU" dirty="0"/>
              <a:t> </a:t>
            </a:r>
            <a:r>
              <a:rPr lang="ru-RU" dirty="0" err="1" smtClean="0"/>
              <a:t>тизими</a:t>
            </a:r>
            <a:r>
              <a:rPr lang="uz-Cyrl-UZ" dirty="0" smtClean="0"/>
              <a:t>да маънавий-маърифий тарбия жараёни</a:t>
            </a:r>
            <a:r>
              <a:rPr lang="en-US" dirty="0" smtClean="0"/>
              <a:t> </a:t>
            </a:r>
            <a:endParaRPr lang="en-US" dirty="0"/>
          </a:p>
        </p:txBody>
      </p:sp>
      <p:sp>
        <p:nvSpPr>
          <p:cNvPr id="6" name="Rectangle 5">
            <a:extLst>
              <a:ext uri="{FF2B5EF4-FFF2-40B4-BE49-F238E27FC236}">
                <a16:creationId xmlns:a16="http://schemas.microsoft.com/office/drawing/2014/main" id="{6F766176-BAB7-4296-8C13-6FF63EB84E26}"/>
              </a:ext>
            </a:extLst>
          </p:cNvPr>
          <p:cNvSpPr/>
          <p:nvPr/>
        </p:nvSpPr>
        <p:spPr>
          <a:xfrm>
            <a:off x="0" y="1637161"/>
            <a:ext cx="12192000" cy="2247900"/>
          </a:xfrm>
          <a:prstGeom prst="rect">
            <a:avLst/>
          </a:prstGeom>
          <a:solidFill>
            <a:srgbClr val="246C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8C421DEA-38DE-458A-8701-4441ED058222}"/>
              </a:ext>
            </a:extLst>
          </p:cNvPr>
          <p:cNvSpPr/>
          <p:nvPr/>
        </p:nvSpPr>
        <p:spPr>
          <a:xfrm>
            <a:off x="1739864" y="3283082"/>
            <a:ext cx="1203958" cy="1203958"/>
          </a:xfrm>
          <a:prstGeom prst="ellipse">
            <a:avLst/>
          </a:prstGeom>
          <a:solidFill>
            <a:srgbClr val="0195BC"/>
          </a:solidFill>
          <a:ln w="1143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91440" rtlCol="0" anchor="ctr"/>
          <a:lstStyle/>
          <a:p>
            <a:pPr algn="ctr"/>
            <a:r>
              <a:rPr lang="en-US" sz="4000" dirty="0">
                <a:solidFill>
                  <a:schemeClr val="bg1"/>
                </a:solidFill>
                <a:latin typeface="+mj-lt"/>
              </a:rPr>
              <a:t>01</a:t>
            </a:r>
          </a:p>
        </p:txBody>
      </p:sp>
      <p:sp>
        <p:nvSpPr>
          <p:cNvPr id="12" name="Oval 11">
            <a:extLst>
              <a:ext uri="{FF2B5EF4-FFF2-40B4-BE49-F238E27FC236}">
                <a16:creationId xmlns:a16="http://schemas.microsoft.com/office/drawing/2014/main" id="{8D26B2D4-F1A3-4333-9A15-1B11FB24341F}"/>
              </a:ext>
            </a:extLst>
          </p:cNvPr>
          <p:cNvSpPr/>
          <p:nvPr/>
        </p:nvSpPr>
        <p:spPr>
          <a:xfrm>
            <a:off x="9248178" y="3283082"/>
            <a:ext cx="1203958" cy="1203958"/>
          </a:xfrm>
          <a:prstGeom prst="ellipse">
            <a:avLst/>
          </a:prstGeom>
          <a:solidFill>
            <a:srgbClr val="0195BC"/>
          </a:solidFill>
          <a:ln w="1143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91440" rtlCol="0" anchor="ctr"/>
          <a:lstStyle/>
          <a:p>
            <a:pPr algn="ctr"/>
            <a:r>
              <a:rPr lang="en-US" sz="4000" dirty="0">
                <a:solidFill>
                  <a:schemeClr val="bg1"/>
                </a:solidFill>
                <a:latin typeface="+mj-lt"/>
              </a:rPr>
              <a:t>03</a:t>
            </a:r>
          </a:p>
        </p:txBody>
      </p:sp>
      <p:sp>
        <p:nvSpPr>
          <p:cNvPr id="13" name="Oval 12">
            <a:extLst>
              <a:ext uri="{FF2B5EF4-FFF2-40B4-BE49-F238E27FC236}">
                <a16:creationId xmlns:a16="http://schemas.microsoft.com/office/drawing/2014/main" id="{74CFFC94-80D1-4F6C-973D-AA2E18C4DC31}"/>
              </a:ext>
            </a:extLst>
          </p:cNvPr>
          <p:cNvSpPr/>
          <p:nvPr/>
        </p:nvSpPr>
        <p:spPr>
          <a:xfrm>
            <a:off x="5494022" y="3283082"/>
            <a:ext cx="1203958" cy="1203958"/>
          </a:xfrm>
          <a:prstGeom prst="ellipse">
            <a:avLst/>
          </a:prstGeom>
          <a:solidFill>
            <a:srgbClr val="0195BC"/>
          </a:solidFill>
          <a:ln w="1143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91440" rtlCol="0" anchor="ctr"/>
          <a:lstStyle/>
          <a:p>
            <a:pPr algn="ctr"/>
            <a:r>
              <a:rPr lang="en-US" sz="4000" dirty="0">
                <a:solidFill>
                  <a:schemeClr val="bg1"/>
                </a:solidFill>
                <a:latin typeface="+mj-lt"/>
              </a:rPr>
              <a:t>02</a:t>
            </a:r>
          </a:p>
        </p:txBody>
      </p:sp>
      <p:cxnSp>
        <p:nvCxnSpPr>
          <p:cNvPr id="16" name="Straight Connector 15">
            <a:extLst>
              <a:ext uri="{FF2B5EF4-FFF2-40B4-BE49-F238E27FC236}">
                <a16:creationId xmlns:a16="http://schemas.microsoft.com/office/drawing/2014/main" id="{F0F5E93B-EE5C-42E7-ADBB-E24DDBCCC121}"/>
              </a:ext>
            </a:extLst>
          </p:cNvPr>
          <p:cNvCxnSpPr/>
          <p:nvPr/>
        </p:nvCxnSpPr>
        <p:spPr>
          <a:xfrm>
            <a:off x="4218922" y="4532761"/>
            <a:ext cx="0" cy="133350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B8987F2-2ABE-4A26-8A52-7EED6E3C1151}"/>
              </a:ext>
            </a:extLst>
          </p:cNvPr>
          <p:cNvCxnSpPr/>
          <p:nvPr/>
        </p:nvCxnSpPr>
        <p:spPr>
          <a:xfrm>
            <a:off x="7973079" y="4532761"/>
            <a:ext cx="0" cy="133350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BA8651EB-C2D5-43A9-8CD5-33977EDE436F}"/>
              </a:ext>
            </a:extLst>
          </p:cNvPr>
          <p:cNvSpPr txBox="1"/>
          <p:nvPr/>
        </p:nvSpPr>
        <p:spPr>
          <a:xfrm>
            <a:off x="358923" y="4594681"/>
            <a:ext cx="3620892" cy="1477328"/>
          </a:xfrm>
          <a:prstGeom prst="rect">
            <a:avLst/>
          </a:prstGeom>
          <a:noFill/>
        </p:spPr>
        <p:txBody>
          <a:bodyPr wrap="square" lIns="0" tIns="0" rIns="0" bIns="0" rtlCol="0">
            <a:spAutoFit/>
          </a:bodyPr>
          <a:lstStyle/>
          <a:p>
            <a:pPr algn="just">
              <a:lnSpc>
                <a:spcPct val="120000"/>
              </a:lnSpc>
            </a:pPr>
            <a:r>
              <a:rPr lang="ru-RU" sz="1600" dirty="0" err="1">
                <a:solidFill>
                  <a:srgbClr val="262626"/>
                </a:solidFill>
              </a:rPr>
              <a:t>Бу</a:t>
            </a:r>
            <a:r>
              <a:rPr lang="ru-RU" sz="1600" dirty="0">
                <a:solidFill>
                  <a:srgbClr val="262626"/>
                </a:solidFill>
              </a:rPr>
              <a:t> </a:t>
            </a:r>
            <a:r>
              <a:rPr lang="ru-RU" sz="1600" dirty="0" err="1">
                <a:solidFill>
                  <a:srgbClr val="262626"/>
                </a:solidFill>
              </a:rPr>
              <a:t>ҳолат</a:t>
            </a:r>
            <a:r>
              <a:rPr lang="ru-RU" sz="1600" dirty="0">
                <a:solidFill>
                  <a:srgbClr val="262626"/>
                </a:solidFill>
              </a:rPr>
              <a:t> </a:t>
            </a:r>
            <a:r>
              <a:rPr lang="ru-RU" sz="1600" dirty="0" err="1">
                <a:solidFill>
                  <a:srgbClr val="262626"/>
                </a:solidFill>
              </a:rPr>
              <a:t>маънавий-маърифий</a:t>
            </a:r>
            <a:r>
              <a:rPr lang="ru-RU" sz="1600" dirty="0">
                <a:solidFill>
                  <a:srgbClr val="262626"/>
                </a:solidFill>
              </a:rPr>
              <a:t> </a:t>
            </a:r>
            <a:r>
              <a:rPr lang="ru-RU" sz="1600" dirty="0" err="1">
                <a:solidFill>
                  <a:srgbClr val="262626"/>
                </a:solidFill>
              </a:rPr>
              <a:t>тарбия</a:t>
            </a:r>
            <a:r>
              <a:rPr lang="ru-RU" sz="1600" dirty="0">
                <a:solidFill>
                  <a:srgbClr val="262626"/>
                </a:solidFill>
              </a:rPr>
              <a:t> </a:t>
            </a:r>
            <a:r>
              <a:rPr lang="ru-RU" sz="1600" dirty="0" err="1">
                <a:solidFill>
                  <a:srgbClr val="262626"/>
                </a:solidFill>
              </a:rPr>
              <a:t>жараёнини</a:t>
            </a:r>
            <a:r>
              <a:rPr lang="ru-RU" sz="1600" dirty="0">
                <a:solidFill>
                  <a:srgbClr val="262626"/>
                </a:solidFill>
              </a:rPr>
              <a:t> </a:t>
            </a:r>
            <a:r>
              <a:rPr lang="ru-RU" sz="1600" dirty="0" err="1">
                <a:solidFill>
                  <a:srgbClr val="262626"/>
                </a:solidFill>
              </a:rPr>
              <a:t>янги</a:t>
            </a:r>
            <a:r>
              <a:rPr lang="ru-RU" sz="1600" dirty="0">
                <a:solidFill>
                  <a:srgbClr val="262626"/>
                </a:solidFill>
              </a:rPr>
              <a:t> </a:t>
            </a:r>
            <a:r>
              <a:rPr lang="ru-RU" sz="1600" dirty="0" err="1">
                <a:solidFill>
                  <a:srgbClr val="262626"/>
                </a:solidFill>
              </a:rPr>
              <a:t>шаклда</a:t>
            </a:r>
            <a:r>
              <a:rPr lang="ru-RU" sz="1600" dirty="0" smtClean="0">
                <a:solidFill>
                  <a:srgbClr val="262626"/>
                </a:solidFill>
              </a:rPr>
              <a:t>, </a:t>
            </a:r>
            <a:r>
              <a:rPr lang="ru-RU" sz="1600" dirty="0" err="1">
                <a:solidFill>
                  <a:srgbClr val="262626"/>
                </a:solidFill>
              </a:rPr>
              <a:t>талабаларнинг</a:t>
            </a:r>
            <a:r>
              <a:rPr lang="ru-RU" sz="1600" dirty="0">
                <a:solidFill>
                  <a:srgbClr val="262626"/>
                </a:solidFill>
              </a:rPr>
              <a:t> </a:t>
            </a:r>
            <a:r>
              <a:rPr lang="ru-RU" sz="1600" dirty="0" err="1">
                <a:solidFill>
                  <a:srgbClr val="262626"/>
                </a:solidFill>
              </a:rPr>
              <a:t>манфаатларидан</a:t>
            </a:r>
            <a:r>
              <a:rPr lang="ru-RU" sz="1600" dirty="0">
                <a:solidFill>
                  <a:srgbClr val="262626"/>
                </a:solidFill>
              </a:rPr>
              <a:t> </a:t>
            </a:r>
            <a:r>
              <a:rPr lang="ru-RU" sz="1600" dirty="0" err="1">
                <a:solidFill>
                  <a:srgbClr val="262626"/>
                </a:solidFill>
              </a:rPr>
              <a:t>келиб</a:t>
            </a:r>
            <a:r>
              <a:rPr lang="ru-RU" sz="1600" dirty="0">
                <a:solidFill>
                  <a:srgbClr val="262626"/>
                </a:solidFill>
              </a:rPr>
              <a:t> </a:t>
            </a:r>
            <a:r>
              <a:rPr lang="ru-RU" sz="1600" dirty="0" err="1">
                <a:solidFill>
                  <a:srgbClr val="262626"/>
                </a:solidFill>
              </a:rPr>
              <a:t>чиқиб</a:t>
            </a:r>
            <a:r>
              <a:rPr lang="ru-RU" sz="1600" dirty="0">
                <a:solidFill>
                  <a:srgbClr val="262626"/>
                </a:solidFill>
              </a:rPr>
              <a:t>, </a:t>
            </a:r>
            <a:r>
              <a:rPr lang="ru-RU" sz="1600" dirty="0" err="1">
                <a:solidFill>
                  <a:srgbClr val="262626"/>
                </a:solidFill>
              </a:rPr>
              <a:t>тизимли</a:t>
            </a:r>
            <a:r>
              <a:rPr lang="ru-RU" sz="1600" dirty="0">
                <a:solidFill>
                  <a:srgbClr val="262626"/>
                </a:solidFill>
              </a:rPr>
              <a:t> </a:t>
            </a:r>
            <a:r>
              <a:rPr lang="ru-RU" sz="1600" dirty="0" err="1">
                <a:solidFill>
                  <a:srgbClr val="262626"/>
                </a:solidFill>
              </a:rPr>
              <a:t>ташкил</a:t>
            </a:r>
            <a:r>
              <a:rPr lang="ru-RU" sz="1600" dirty="0">
                <a:solidFill>
                  <a:srgbClr val="262626"/>
                </a:solidFill>
              </a:rPr>
              <a:t> </a:t>
            </a:r>
            <a:r>
              <a:rPr lang="ru-RU" sz="1600" dirty="0" err="1">
                <a:solidFill>
                  <a:srgbClr val="262626"/>
                </a:solidFill>
              </a:rPr>
              <a:t>этиш</a:t>
            </a:r>
            <a:r>
              <a:rPr lang="ru-RU" sz="1600" dirty="0">
                <a:solidFill>
                  <a:srgbClr val="262626"/>
                </a:solidFill>
              </a:rPr>
              <a:t> </a:t>
            </a:r>
            <a:r>
              <a:rPr lang="ru-RU" sz="1600" dirty="0" err="1">
                <a:solidFill>
                  <a:srgbClr val="262626"/>
                </a:solidFill>
              </a:rPr>
              <a:t>заруратини</a:t>
            </a:r>
            <a:r>
              <a:rPr lang="ru-RU" sz="1600" dirty="0">
                <a:solidFill>
                  <a:srgbClr val="262626"/>
                </a:solidFill>
              </a:rPr>
              <a:t> </a:t>
            </a:r>
            <a:r>
              <a:rPr lang="ru-RU" sz="1600" dirty="0" err="1">
                <a:solidFill>
                  <a:srgbClr val="262626"/>
                </a:solidFill>
              </a:rPr>
              <a:t>юзага</a:t>
            </a:r>
            <a:r>
              <a:rPr lang="ru-RU" sz="1600" dirty="0">
                <a:solidFill>
                  <a:srgbClr val="262626"/>
                </a:solidFill>
              </a:rPr>
              <a:t> </a:t>
            </a:r>
            <a:r>
              <a:rPr lang="ru-RU" sz="1600" dirty="0" err="1">
                <a:solidFill>
                  <a:srgbClr val="262626"/>
                </a:solidFill>
              </a:rPr>
              <a:t>келтирган</a:t>
            </a:r>
            <a:r>
              <a:rPr lang="ru-RU" sz="1600" dirty="0">
                <a:solidFill>
                  <a:srgbClr val="262626"/>
                </a:solidFill>
              </a:rPr>
              <a:t>.</a:t>
            </a:r>
          </a:p>
        </p:txBody>
      </p:sp>
      <p:sp>
        <p:nvSpPr>
          <p:cNvPr id="19" name="TextBox 18">
            <a:extLst>
              <a:ext uri="{FF2B5EF4-FFF2-40B4-BE49-F238E27FC236}">
                <a16:creationId xmlns:a16="http://schemas.microsoft.com/office/drawing/2014/main" id="{32DCF64A-FC16-4B2F-B09F-E8FB253BDBDE}"/>
              </a:ext>
            </a:extLst>
          </p:cNvPr>
          <p:cNvSpPr txBox="1"/>
          <p:nvPr/>
        </p:nvSpPr>
        <p:spPr>
          <a:xfrm>
            <a:off x="8414269" y="4731364"/>
            <a:ext cx="2871776" cy="1772793"/>
          </a:xfrm>
          <a:prstGeom prst="rect">
            <a:avLst/>
          </a:prstGeom>
          <a:noFill/>
        </p:spPr>
        <p:txBody>
          <a:bodyPr wrap="square" lIns="0" tIns="0" rIns="0" bIns="0" rtlCol="0">
            <a:spAutoFit/>
          </a:bodyPr>
          <a:lstStyle/>
          <a:p>
            <a:pPr algn="ctr">
              <a:lnSpc>
                <a:spcPct val="120000"/>
              </a:lnSpc>
            </a:pPr>
            <a:r>
              <a:rPr lang="ru-RU" sz="1600" dirty="0">
                <a:solidFill>
                  <a:srgbClr val="262626"/>
                </a:solidFill>
              </a:rPr>
              <a:t> </a:t>
            </a:r>
            <a:r>
              <a:rPr lang="ru-RU" sz="1600" dirty="0" err="1" smtClean="0">
                <a:solidFill>
                  <a:srgbClr val="262626"/>
                </a:solidFill>
              </a:rPr>
              <a:t>Ижтимоий</a:t>
            </a:r>
            <a:r>
              <a:rPr lang="ru-RU" sz="1600" dirty="0" smtClean="0">
                <a:solidFill>
                  <a:srgbClr val="262626"/>
                </a:solidFill>
              </a:rPr>
              <a:t> </a:t>
            </a:r>
            <a:r>
              <a:rPr lang="ru-RU" sz="1600" dirty="0" err="1" smtClean="0">
                <a:solidFill>
                  <a:srgbClr val="262626"/>
                </a:solidFill>
              </a:rPr>
              <a:t>фаоллиги</a:t>
            </a:r>
            <a:r>
              <a:rPr lang="ru-RU" sz="1600" dirty="0" smtClean="0">
                <a:solidFill>
                  <a:srgbClr val="262626"/>
                </a:solidFill>
              </a:rPr>
              <a:t> </a:t>
            </a:r>
            <a:r>
              <a:rPr lang="ru-RU" sz="1600" dirty="0" err="1" smtClean="0">
                <a:solidFill>
                  <a:srgbClr val="262626"/>
                </a:solidFill>
              </a:rPr>
              <a:t>кўрсаткичи</a:t>
            </a:r>
            <a:r>
              <a:rPr lang="ru-RU" sz="1600" dirty="0" smtClean="0">
                <a:solidFill>
                  <a:srgbClr val="262626"/>
                </a:solidFill>
              </a:rPr>
              <a:t> </a:t>
            </a:r>
            <a:r>
              <a:rPr lang="ru-RU" sz="1600" dirty="0" err="1" smtClean="0">
                <a:solidFill>
                  <a:srgbClr val="262626"/>
                </a:solidFill>
              </a:rPr>
              <a:t>бўйича</a:t>
            </a:r>
            <a:r>
              <a:rPr lang="ru-RU" sz="1600" dirty="0" smtClean="0">
                <a:solidFill>
                  <a:srgbClr val="262626"/>
                </a:solidFill>
              </a:rPr>
              <a:t> </a:t>
            </a:r>
            <a:r>
              <a:rPr lang="ru-RU" sz="1600" dirty="0" err="1" smtClean="0">
                <a:solidFill>
                  <a:srgbClr val="262626"/>
                </a:solidFill>
              </a:rPr>
              <a:t>рағбатлантириш</a:t>
            </a:r>
            <a:r>
              <a:rPr lang="ru-RU" sz="1600" dirty="0" smtClean="0">
                <a:solidFill>
                  <a:srgbClr val="262626"/>
                </a:solidFill>
              </a:rPr>
              <a:t>, </a:t>
            </a:r>
            <a:r>
              <a:rPr lang="ru-RU" sz="1600" dirty="0" err="1" smtClean="0">
                <a:solidFill>
                  <a:srgbClr val="262626"/>
                </a:solidFill>
              </a:rPr>
              <a:t>таълим</a:t>
            </a:r>
            <a:r>
              <a:rPr lang="ru-RU" sz="1600" dirty="0" smtClean="0">
                <a:solidFill>
                  <a:srgbClr val="262626"/>
                </a:solidFill>
              </a:rPr>
              <a:t> </a:t>
            </a:r>
            <a:r>
              <a:rPr lang="ru-RU" sz="1600" dirty="0" err="1" smtClean="0">
                <a:solidFill>
                  <a:srgbClr val="262626"/>
                </a:solidFill>
              </a:rPr>
              <a:t>грантига</a:t>
            </a:r>
            <a:r>
              <a:rPr lang="ru-RU" sz="1600" dirty="0" smtClean="0">
                <a:solidFill>
                  <a:srgbClr val="262626"/>
                </a:solidFill>
              </a:rPr>
              <a:t> </a:t>
            </a:r>
            <a:r>
              <a:rPr lang="ru-RU" sz="1600" dirty="0" err="1" smtClean="0">
                <a:solidFill>
                  <a:srgbClr val="262626"/>
                </a:solidFill>
              </a:rPr>
              <a:t>талабгорларни</a:t>
            </a:r>
            <a:r>
              <a:rPr lang="ru-RU" sz="1600" dirty="0" smtClean="0">
                <a:solidFill>
                  <a:srgbClr val="262626"/>
                </a:solidFill>
              </a:rPr>
              <a:t> </a:t>
            </a:r>
            <a:r>
              <a:rPr lang="ru-RU" sz="1600" dirty="0" err="1" smtClean="0">
                <a:solidFill>
                  <a:srgbClr val="262626"/>
                </a:solidFill>
              </a:rPr>
              <a:t>аниқлашда</a:t>
            </a:r>
            <a:r>
              <a:rPr lang="ru-RU" sz="1600" dirty="0" smtClean="0">
                <a:solidFill>
                  <a:srgbClr val="262626"/>
                </a:solidFill>
              </a:rPr>
              <a:t> </a:t>
            </a:r>
            <a:r>
              <a:rPr lang="ru-RU" sz="1600" dirty="0" err="1" smtClean="0">
                <a:solidFill>
                  <a:srgbClr val="262626"/>
                </a:solidFill>
              </a:rPr>
              <a:t>ижтимоий</a:t>
            </a:r>
            <a:r>
              <a:rPr lang="ru-RU" sz="1600" dirty="0" smtClean="0">
                <a:solidFill>
                  <a:srgbClr val="262626"/>
                </a:solidFill>
              </a:rPr>
              <a:t> </a:t>
            </a:r>
            <a:r>
              <a:rPr lang="ru-RU" sz="1600" dirty="0" err="1" smtClean="0">
                <a:solidFill>
                  <a:srgbClr val="262626"/>
                </a:solidFill>
              </a:rPr>
              <a:t>фаоллиги</a:t>
            </a:r>
            <a:r>
              <a:rPr lang="ru-RU" sz="1600" dirty="0" err="1" smtClean="0">
                <a:solidFill>
                  <a:srgbClr val="262626"/>
                </a:solidFill>
              </a:rPr>
              <a:t>ни</a:t>
            </a:r>
            <a:r>
              <a:rPr lang="ru-RU" sz="1600" dirty="0" smtClean="0">
                <a:solidFill>
                  <a:srgbClr val="262626"/>
                </a:solidFill>
              </a:rPr>
              <a:t> </a:t>
            </a:r>
            <a:r>
              <a:rPr lang="ru-RU" sz="1600" dirty="0" err="1" smtClean="0">
                <a:solidFill>
                  <a:srgbClr val="262626"/>
                </a:solidFill>
              </a:rPr>
              <a:t>ҳисобга</a:t>
            </a:r>
            <a:r>
              <a:rPr lang="ru-RU" sz="1600" dirty="0" smtClean="0">
                <a:solidFill>
                  <a:srgbClr val="262626"/>
                </a:solidFill>
              </a:rPr>
              <a:t> </a:t>
            </a:r>
            <a:r>
              <a:rPr lang="ru-RU" sz="1600" dirty="0" err="1" smtClean="0">
                <a:solidFill>
                  <a:srgbClr val="262626"/>
                </a:solidFill>
              </a:rPr>
              <a:t>олиш</a:t>
            </a:r>
            <a:r>
              <a:rPr lang="uz-Cyrl-UZ" sz="1600" dirty="0" smtClean="0">
                <a:solidFill>
                  <a:srgbClr val="262626"/>
                </a:solidFill>
              </a:rPr>
              <a:t> тартиби </a:t>
            </a:r>
            <a:r>
              <a:rPr lang="uz-Cyrl-UZ" sz="1600" dirty="0" smtClean="0">
                <a:solidFill>
                  <a:srgbClr val="262626"/>
                </a:solidFill>
              </a:rPr>
              <a:t>жорий </a:t>
            </a:r>
            <a:r>
              <a:rPr lang="uz-Cyrl-UZ" sz="1600" dirty="0" smtClean="0">
                <a:solidFill>
                  <a:srgbClr val="262626"/>
                </a:solidFill>
              </a:rPr>
              <a:t>этилди.</a:t>
            </a:r>
            <a:endParaRPr lang="en-US" sz="1600" dirty="0">
              <a:solidFill>
                <a:srgbClr val="262626"/>
              </a:solidFill>
            </a:endParaRPr>
          </a:p>
        </p:txBody>
      </p:sp>
      <p:sp>
        <p:nvSpPr>
          <p:cNvPr id="20" name="TextBox 19">
            <a:extLst>
              <a:ext uri="{FF2B5EF4-FFF2-40B4-BE49-F238E27FC236}">
                <a16:creationId xmlns:a16="http://schemas.microsoft.com/office/drawing/2014/main" id="{ACEE9828-140F-4C90-B410-E42629B8A76D}"/>
              </a:ext>
            </a:extLst>
          </p:cNvPr>
          <p:cNvSpPr txBox="1"/>
          <p:nvPr/>
        </p:nvSpPr>
        <p:spPr>
          <a:xfrm>
            <a:off x="4421005" y="4594224"/>
            <a:ext cx="3312967" cy="2048510"/>
          </a:xfrm>
          <a:prstGeom prst="rect">
            <a:avLst/>
          </a:prstGeom>
          <a:noFill/>
        </p:spPr>
        <p:txBody>
          <a:bodyPr wrap="square" lIns="0" tIns="0" rIns="0" bIns="0" rtlCol="0">
            <a:spAutoFit/>
          </a:bodyPr>
          <a:lstStyle/>
          <a:p>
            <a:pPr algn="just">
              <a:lnSpc>
                <a:spcPct val="120000"/>
              </a:lnSpc>
            </a:pPr>
            <a:r>
              <a:rPr lang="ru-RU" sz="1600" dirty="0" err="1">
                <a:solidFill>
                  <a:srgbClr val="262626"/>
                </a:solidFill>
              </a:rPr>
              <a:t>Хорижий</a:t>
            </a:r>
            <a:r>
              <a:rPr lang="ru-RU" sz="1600" dirty="0">
                <a:solidFill>
                  <a:srgbClr val="262626"/>
                </a:solidFill>
              </a:rPr>
              <a:t> </a:t>
            </a:r>
            <a:r>
              <a:rPr lang="ru-RU" sz="1600" dirty="0" err="1">
                <a:solidFill>
                  <a:srgbClr val="262626"/>
                </a:solidFill>
              </a:rPr>
              <a:t>тажрибадан</a:t>
            </a:r>
            <a:r>
              <a:rPr lang="ru-RU" sz="1600" dirty="0">
                <a:solidFill>
                  <a:srgbClr val="262626"/>
                </a:solidFill>
              </a:rPr>
              <a:t> </a:t>
            </a:r>
            <a:r>
              <a:rPr lang="ru-RU" sz="1600" dirty="0" err="1">
                <a:solidFill>
                  <a:srgbClr val="262626"/>
                </a:solidFill>
              </a:rPr>
              <a:t>келиб</a:t>
            </a:r>
            <a:r>
              <a:rPr lang="ru-RU" sz="1600" dirty="0">
                <a:solidFill>
                  <a:srgbClr val="262626"/>
                </a:solidFill>
              </a:rPr>
              <a:t> </a:t>
            </a:r>
            <a:r>
              <a:rPr lang="ru-RU" sz="1600" dirty="0" err="1">
                <a:solidFill>
                  <a:srgbClr val="262626"/>
                </a:solidFill>
              </a:rPr>
              <a:t>чиқиб</a:t>
            </a:r>
            <a:r>
              <a:rPr lang="ru-RU" sz="1600" dirty="0">
                <a:solidFill>
                  <a:srgbClr val="262626"/>
                </a:solidFill>
              </a:rPr>
              <a:t>, </a:t>
            </a:r>
            <a:r>
              <a:rPr lang="ru-RU" sz="1600" dirty="0" err="1">
                <a:solidFill>
                  <a:srgbClr val="262626"/>
                </a:solidFill>
              </a:rPr>
              <a:t>ҳар</a:t>
            </a:r>
            <a:r>
              <a:rPr lang="ru-RU" sz="1600" dirty="0">
                <a:solidFill>
                  <a:srgbClr val="262626"/>
                </a:solidFill>
              </a:rPr>
              <a:t> </a:t>
            </a:r>
            <a:r>
              <a:rPr lang="ru-RU" sz="1600" dirty="0" err="1">
                <a:solidFill>
                  <a:srgbClr val="262626"/>
                </a:solidFill>
              </a:rPr>
              <a:t>бир</a:t>
            </a:r>
            <a:r>
              <a:rPr lang="ru-RU" sz="1600" dirty="0">
                <a:solidFill>
                  <a:srgbClr val="262626"/>
                </a:solidFill>
              </a:rPr>
              <a:t> </a:t>
            </a:r>
            <a:r>
              <a:rPr lang="ru-RU" sz="1600" dirty="0" err="1">
                <a:solidFill>
                  <a:srgbClr val="262626"/>
                </a:solidFill>
              </a:rPr>
              <a:t>талабанинг</a:t>
            </a:r>
            <a:r>
              <a:rPr lang="ru-RU" sz="1600" dirty="0">
                <a:solidFill>
                  <a:srgbClr val="262626"/>
                </a:solidFill>
              </a:rPr>
              <a:t> </a:t>
            </a:r>
            <a:r>
              <a:rPr lang="ru-RU" sz="1600" dirty="0" err="1">
                <a:solidFill>
                  <a:srgbClr val="262626"/>
                </a:solidFill>
              </a:rPr>
              <a:t>ўқиш</a:t>
            </a:r>
            <a:r>
              <a:rPr lang="ru-RU" sz="1600" dirty="0">
                <a:solidFill>
                  <a:srgbClr val="262626"/>
                </a:solidFill>
              </a:rPr>
              <a:t> </a:t>
            </a:r>
            <a:r>
              <a:rPr lang="ru-RU" sz="1600" dirty="0" err="1">
                <a:solidFill>
                  <a:srgbClr val="262626"/>
                </a:solidFill>
              </a:rPr>
              <a:t>жараёнида</a:t>
            </a:r>
            <a:r>
              <a:rPr lang="ru-RU" sz="1600" dirty="0">
                <a:solidFill>
                  <a:srgbClr val="262626"/>
                </a:solidFill>
              </a:rPr>
              <a:t> </a:t>
            </a:r>
            <a:r>
              <a:rPr lang="ru-RU" sz="1600" dirty="0" err="1">
                <a:solidFill>
                  <a:srgbClr val="262626"/>
                </a:solidFill>
              </a:rPr>
              <a:t>маънавий-маърифий</a:t>
            </a:r>
            <a:r>
              <a:rPr lang="ru-RU" sz="1600" dirty="0">
                <a:solidFill>
                  <a:srgbClr val="262626"/>
                </a:solidFill>
              </a:rPr>
              <a:t> </a:t>
            </a:r>
            <a:r>
              <a:rPr lang="ru-RU" sz="1600" dirty="0" err="1">
                <a:solidFill>
                  <a:srgbClr val="262626"/>
                </a:solidFill>
              </a:rPr>
              <a:t>тадбирлардаги</a:t>
            </a:r>
            <a:r>
              <a:rPr lang="ru-RU" sz="1600" dirty="0">
                <a:solidFill>
                  <a:srgbClr val="262626"/>
                </a:solidFill>
              </a:rPr>
              <a:t> </a:t>
            </a:r>
            <a:r>
              <a:rPr lang="ru-RU" sz="1600" dirty="0" err="1">
                <a:solidFill>
                  <a:srgbClr val="262626"/>
                </a:solidFill>
              </a:rPr>
              <a:t>иштироки</a:t>
            </a:r>
            <a:r>
              <a:rPr lang="ru-RU" sz="1600" dirty="0">
                <a:solidFill>
                  <a:srgbClr val="262626"/>
                </a:solidFill>
              </a:rPr>
              <a:t>, </a:t>
            </a:r>
            <a:r>
              <a:rPr lang="ru-RU" sz="1600" dirty="0" err="1">
                <a:solidFill>
                  <a:srgbClr val="262626"/>
                </a:solidFill>
              </a:rPr>
              <a:t>ҳаракати</a:t>
            </a:r>
            <a:r>
              <a:rPr lang="ru-RU" sz="1600" dirty="0">
                <a:solidFill>
                  <a:srgbClr val="262626"/>
                </a:solidFill>
              </a:rPr>
              <a:t> (</a:t>
            </a:r>
            <a:r>
              <a:rPr lang="ru-RU" sz="1600" dirty="0" err="1">
                <a:solidFill>
                  <a:srgbClr val="262626"/>
                </a:solidFill>
              </a:rPr>
              <a:t>ёки</a:t>
            </a:r>
            <a:r>
              <a:rPr lang="ru-RU" sz="1600" dirty="0">
                <a:solidFill>
                  <a:srgbClr val="262626"/>
                </a:solidFill>
              </a:rPr>
              <a:t> </a:t>
            </a:r>
            <a:r>
              <a:rPr lang="ru-RU" sz="1600" dirty="0" err="1">
                <a:solidFill>
                  <a:srgbClr val="262626"/>
                </a:solidFill>
              </a:rPr>
              <a:t>ҳаракатсизлиги</a:t>
            </a:r>
            <a:r>
              <a:rPr lang="ru-RU" sz="1600" dirty="0">
                <a:solidFill>
                  <a:srgbClr val="262626"/>
                </a:solidFill>
              </a:rPr>
              <a:t>) </a:t>
            </a:r>
            <a:r>
              <a:rPr lang="ru-RU" sz="1600" b="1" dirty="0">
                <a:solidFill>
                  <a:srgbClr val="00B0F0"/>
                </a:solidFill>
              </a:rPr>
              <a:t>“</a:t>
            </a:r>
            <a:r>
              <a:rPr lang="ru-RU" sz="1600" b="1" dirty="0" err="1">
                <a:solidFill>
                  <a:srgbClr val="00B0F0"/>
                </a:solidFill>
              </a:rPr>
              <a:t>Ижтимоий</a:t>
            </a:r>
            <a:r>
              <a:rPr lang="ru-RU" sz="1600" b="1" dirty="0">
                <a:solidFill>
                  <a:srgbClr val="00B0F0"/>
                </a:solidFill>
              </a:rPr>
              <a:t> </a:t>
            </a:r>
            <a:r>
              <a:rPr lang="ru-RU" sz="1600" b="1" dirty="0" err="1">
                <a:solidFill>
                  <a:srgbClr val="00B0F0"/>
                </a:solidFill>
              </a:rPr>
              <a:t>фаоллик</a:t>
            </a:r>
            <a:r>
              <a:rPr lang="ru-RU" sz="1600" b="1" dirty="0">
                <a:solidFill>
                  <a:srgbClr val="00B0F0"/>
                </a:solidFill>
              </a:rPr>
              <a:t> </a:t>
            </a:r>
            <a:r>
              <a:rPr lang="ru-RU" sz="1600" b="1" dirty="0" err="1">
                <a:solidFill>
                  <a:srgbClr val="00B0F0"/>
                </a:solidFill>
              </a:rPr>
              <a:t>индекси</a:t>
            </a:r>
            <a:r>
              <a:rPr lang="ru-RU" sz="1600" b="1" dirty="0">
                <a:solidFill>
                  <a:srgbClr val="00B0F0"/>
                </a:solidFill>
              </a:rPr>
              <a:t>”</a:t>
            </a:r>
            <a:r>
              <a:rPr lang="ru-RU" sz="1600" dirty="0">
                <a:solidFill>
                  <a:srgbClr val="262626"/>
                </a:solidFill>
              </a:rPr>
              <a:t> </a:t>
            </a:r>
            <a:r>
              <a:rPr lang="ru-RU" sz="1600" dirty="0" err="1">
                <a:solidFill>
                  <a:srgbClr val="262626"/>
                </a:solidFill>
              </a:rPr>
              <a:t>сифатида</a:t>
            </a:r>
            <a:r>
              <a:rPr lang="ru-RU" sz="1600" dirty="0">
                <a:solidFill>
                  <a:srgbClr val="262626"/>
                </a:solidFill>
              </a:rPr>
              <a:t> </a:t>
            </a:r>
            <a:r>
              <a:rPr lang="ru-RU" sz="1600" dirty="0" err="1">
                <a:solidFill>
                  <a:srgbClr val="262626"/>
                </a:solidFill>
              </a:rPr>
              <a:t>баҳоланиб</a:t>
            </a:r>
            <a:r>
              <a:rPr lang="ru-RU" sz="1600" dirty="0">
                <a:solidFill>
                  <a:srgbClr val="262626"/>
                </a:solidFill>
              </a:rPr>
              <a:t> </a:t>
            </a:r>
            <a:r>
              <a:rPr lang="ru-RU" sz="1600" dirty="0" err="1">
                <a:solidFill>
                  <a:srgbClr val="262626"/>
                </a:solidFill>
              </a:rPr>
              <a:t>борилиши</a:t>
            </a:r>
            <a:r>
              <a:rPr lang="ru-RU" sz="1600" dirty="0">
                <a:solidFill>
                  <a:srgbClr val="262626"/>
                </a:solidFill>
              </a:rPr>
              <a:t>.</a:t>
            </a:r>
          </a:p>
        </p:txBody>
      </p:sp>
      <p:sp>
        <p:nvSpPr>
          <p:cNvPr id="22" name="TextBox 21">
            <a:extLst>
              <a:ext uri="{FF2B5EF4-FFF2-40B4-BE49-F238E27FC236}">
                <a16:creationId xmlns:a16="http://schemas.microsoft.com/office/drawing/2014/main" id="{34503F9C-1DB9-4926-A2DC-2E22BFBB0288}"/>
              </a:ext>
            </a:extLst>
          </p:cNvPr>
          <p:cNvSpPr txBox="1"/>
          <p:nvPr/>
        </p:nvSpPr>
        <p:spPr>
          <a:xfrm>
            <a:off x="188007" y="1720929"/>
            <a:ext cx="11818834" cy="1162113"/>
          </a:xfrm>
          <a:prstGeom prst="rect">
            <a:avLst/>
          </a:prstGeom>
          <a:noFill/>
        </p:spPr>
        <p:txBody>
          <a:bodyPr wrap="square" lIns="0" tIns="0" rIns="0" bIns="0" rtlCol="0">
            <a:spAutoFit/>
          </a:bodyPr>
          <a:lstStyle/>
          <a:p>
            <a:pPr algn="just">
              <a:lnSpc>
                <a:spcPct val="120000"/>
              </a:lnSpc>
            </a:pPr>
            <a:r>
              <a:rPr lang="ru-RU" sz="1600" dirty="0" err="1">
                <a:solidFill>
                  <a:schemeClr val="bg1"/>
                </a:solidFill>
                <a:cs typeface="Arial" panose="020B0604020202020204" pitchFamily="34" charset="0"/>
              </a:rPr>
              <a:t>Ўқув</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жараёнига</a:t>
            </a:r>
            <a:r>
              <a:rPr lang="ru-RU" sz="1600" dirty="0">
                <a:solidFill>
                  <a:schemeClr val="bg1"/>
                </a:solidFill>
                <a:cs typeface="Arial" panose="020B0604020202020204" pitchFamily="34" charset="0"/>
              </a:rPr>
              <a:t> кредит-</a:t>
            </a:r>
            <a:r>
              <a:rPr lang="ru-RU" sz="1600" dirty="0" err="1">
                <a:solidFill>
                  <a:schemeClr val="bg1"/>
                </a:solidFill>
                <a:cs typeface="Arial" panose="020B0604020202020204" pitchFamily="34" charset="0"/>
              </a:rPr>
              <a:t>модул</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тизимининг</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жорий</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этилиши</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натижасида</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талабалар</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айнан</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фанлардан</a:t>
            </a:r>
            <a:r>
              <a:rPr lang="ru-RU" sz="1600" dirty="0">
                <a:solidFill>
                  <a:schemeClr val="bg1"/>
                </a:solidFill>
                <a:cs typeface="Arial" panose="020B0604020202020204" pitchFamily="34" charset="0"/>
              </a:rPr>
              <a:t> кредит </a:t>
            </a:r>
            <a:r>
              <a:rPr lang="ru-RU" sz="1600" dirty="0" err="1">
                <a:solidFill>
                  <a:schemeClr val="bg1"/>
                </a:solidFill>
                <a:cs typeface="Arial" panose="020B0604020202020204" pitchFamily="34" charset="0"/>
              </a:rPr>
              <a:t>тўплашга</a:t>
            </a:r>
            <a:r>
              <a:rPr lang="ru-RU" sz="1600" dirty="0">
                <a:solidFill>
                  <a:schemeClr val="bg1"/>
                </a:solidFill>
                <a:cs typeface="Arial" panose="020B0604020202020204" pitchFamily="34" charset="0"/>
              </a:rPr>
              <a:t> бор </a:t>
            </a:r>
            <a:r>
              <a:rPr lang="ru-RU" sz="1600" dirty="0" err="1">
                <a:solidFill>
                  <a:schemeClr val="bg1"/>
                </a:solidFill>
                <a:cs typeface="Arial" panose="020B0604020202020204" pitchFamily="34" charset="0"/>
              </a:rPr>
              <a:t>эътиборини</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қаратмоқда</a:t>
            </a:r>
            <a:r>
              <a:rPr lang="ru-RU" sz="1600" dirty="0">
                <a:solidFill>
                  <a:schemeClr val="bg1"/>
                </a:solidFill>
                <a:cs typeface="Arial" panose="020B0604020202020204" pitchFamily="34" charset="0"/>
              </a:rPr>
              <a:t>. </a:t>
            </a:r>
          </a:p>
          <a:p>
            <a:pPr algn="just">
              <a:lnSpc>
                <a:spcPct val="120000"/>
              </a:lnSpc>
            </a:pPr>
            <a:r>
              <a:rPr lang="ru-RU" sz="1600" dirty="0" err="1">
                <a:solidFill>
                  <a:schemeClr val="bg1"/>
                </a:solidFill>
                <a:cs typeface="Arial" panose="020B0604020202020204" pitchFamily="34" charset="0"/>
              </a:rPr>
              <a:t>Натижада</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уларни</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маънавий-маърифий</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тадбирлар</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деярли</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қизиқтирмаяпти</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бу</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ҳолат</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эса</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талабаларнинг</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маънавий</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дунёқараши</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ва</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сиёсий</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мафкуравий-ҳуқуқий</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саводхонлигини</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ошириш</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билан</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боғлиқ</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тадбирларни</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самарали</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ташкил</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этишга</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монеълик</a:t>
            </a:r>
            <a:r>
              <a:rPr lang="ru-RU" sz="1600" dirty="0">
                <a:solidFill>
                  <a:schemeClr val="bg1"/>
                </a:solidFill>
                <a:cs typeface="Arial" panose="020B0604020202020204" pitchFamily="34" charset="0"/>
              </a:rPr>
              <a:t> </a:t>
            </a:r>
            <a:r>
              <a:rPr lang="ru-RU" sz="1600" dirty="0" err="1">
                <a:solidFill>
                  <a:schemeClr val="bg1"/>
                </a:solidFill>
                <a:cs typeface="Arial" panose="020B0604020202020204" pitchFamily="34" charset="0"/>
              </a:rPr>
              <a:t>қилмоқда</a:t>
            </a:r>
            <a:r>
              <a:rPr lang="ru-RU" sz="1600" dirty="0">
                <a:solidFill>
                  <a:schemeClr val="bg1"/>
                </a:solidFill>
                <a:cs typeface="Arial" panose="020B0604020202020204" pitchFamily="34" charset="0"/>
              </a:rPr>
              <a:t>.</a:t>
            </a:r>
          </a:p>
        </p:txBody>
      </p:sp>
    </p:spTree>
    <p:extLst>
      <p:ext uri="{BB962C8B-B14F-4D97-AF65-F5344CB8AC3E}">
        <p14:creationId xmlns:p14="http://schemas.microsoft.com/office/powerpoint/2010/main" val="1419575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17B9E7-01E9-42D5-8F5D-E014825C78C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1" name="think-cell Slide" r:id="rId6" imgW="351" imgH="351" progId="TCLayout.ActiveDocument.1">
                  <p:embed/>
                </p:oleObj>
              </mc:Choice>
              <mc:Fallback>
                <p:oleObj name="think-cell Slide" r:id="rId6" imgW="351" imgH="351" progId="TCLayout.ActiveDocument.1">
                  <p:embed/>
                  <p:pic>
                    <p:nvPicPr>
                      <p:cNvPr id="4" name="Object 3" hidden="1">
                        <a:extLst>
                          <a:ext uri="{FF2B5EF4-FFF2-40B4-BE49-F238E27FC236}">
                            <a16:creationId xmlns:a16="http://schemas.microsoft.com/office/drawing/2014/main" id="{BD17B9E7-01E9-42D5-8F5D-E014825C78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27F9D39-406C-47E5-89D6-F081726E66A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FE526C6A-5815-4A3A-9F28-DE90F48827BC}"/>
              </a:ext>
            </a:extLst>
          </p:cNvPr>
          <p:cNvSpPr/>
          <p:nvPr/>
        </p:nvSpPr>
        <p:spPr>
          <a:xfrm>
            <a:off x="6096000" y="1689100"/>
            <a:ext cx="6096000" cy="424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2" name="TextBox 11">
            <a:extLst>
              <a:ext uri="{FF2B5EF4-FFF2-40B4-BE49-F238E27FC236}">
                <a16:creationId xmlns:a16="http://schemas.microsoft.com/office/drawing/2014/main" id="{9ECE0980-64EA-4607-BBB6-E1BBB3AFF96D}"/>
              </a:ext>
            </a:extLst>
          </p:cNvPr>
          <p:cNvSpPr txBox="1"/>
          <p:nvPr/>
        </p:nvSpPr>
        <p:spPr>
          <a:xfrm>
            <a:off x="7645403" y="2059901"/>
            <a:ext cx="4013195" cy="492443"/>
          </a:xfrm>
          <a:prstGeom prst="rect">
            <a:avLst/>
          </a:prstGeom>
          <a:noFill/>
        </p:spPr>
        <p:txBody>
          <a:bodyPr wrap="square" lIns="0" tIns="0" rIns="0" bIns="0">
            <a:spAutoFit/>
          </a:bodyPr>
          <a:lstStyle/>
          <a:p>
            <a:r>
              <a:rPr lang="ru-RU" sz="1600" dirty="0" err="1">
                <a:solidFill>
                  <a:schemeClr val="bg1"/>
                </a:solidFill>
              </a:rPr>
              <a:t>Талабанинг</a:t>
            </a:r>
            <a:r>
              <a:rPr lang="ru-RU" sz="1600" dirty="0">
                <a:solidFill>
                  <a:schemeClr val="bg1"/>
                </a:solidFill>
              </a:rPr>
              <a:t> </a:t>
            </a:r>
            <a:r>
              <a:rPr lang="ru-RU" sz="1600" dirty="0" err="1" smtClean="0">
                <a:solidFill>
                  <a:schemeClr val="bg1"/>
                </a:solidFill>
              </a:rPr>
              <a:t>ижтимоий</a:t>
            </a:r>
            <a:r>
              <a:rPr lang="ru-RU" sz="1600" dirty="0" smtClean="0">
                <a:solidFill>
                  <a:schemeClr val="bg1"/>
                </a:solidFill>
              </a:rPr>
              <a:t> </a:t>
            </a:r>
            <a:r>
              <a:rPr lang="ru-RU" sz="1600" dirty="0" err="1">
                <a:solidFill>
                  <a:schemeClr val="bg1"/>
                </a:solidFill>
              </a:rPr>
              <a:t>фаоллигини</a:t>
            </a:r>
            <a:r>
              <a:rPr lang="ru-RU" sz="1600" dirty="0">
                <a:solidFill>
                  <a:schemeClr val="bg1"/>
                </a:solidFill>
              </a:rPr>
              <a:t> </a:t>
            </a:r>
            <a:r>
              <a:rPr lang="ru-RU" sz="1600" dirty="0" err="1">
                <a:solidFill>
                  <a:schemeClr val="bg1"/>
                </a:solidFill>
              </a:rPr>
              <a:t>максимал</a:t>
            </a:r>
            <a:r>
              <a:rPr lang="ru-RU" sz="1600" dirty="0">
                <a:solidFill>
                  <a:schemeClr val="bg1"/>
                </a:solidFill>
              </a:rPr>
              <a:t> 100 </a:t>
            </a:r>
            <a:r>
              <a:rPr lang="ru-RU" sz="1600" dirty="0" err="1">
                <a:solidFill>
                  <a:schemeClr val="bg1"/>
                </a:solidFill>
              </a:rPr>
              <a:t>баллик</a:t>
            </a:r>
            <a:r>
              <a:rPr lang="ru-RU" sz="1600" dirty="0">
                <a:solidFill>
                  <a:schemeClr val="bg1"/>
                </a:solidFill>
              </a:rPr>
              <a:t> </a:t>
            </a:r>
            <a:r>
              <a:rPr lang="ru-RU" sz="1600" dirty="0" err="1">
                <a:solidFill>
                  <a:schemeClr val="bg1"/>
                </a:solidFill>
              </a:rPr>
              <a:t>тизимда</a:t>
            </a:r>
            <a:r>
              <a:rPr lang="ru-RU" sz="1600" dirty="0">
                <a:solidFill>
                  <a:schemeClr val="bg1"/>
                </a:solidFill>
              </a:rPr>
              <a:t> </a:t>
            </a:r>
            <a:r>
              <a:rPr lang="ru-RU" sz="1600" dirty="0" err="1">
                <a:solidFill>
                  <a:schemeClr val="bg1"/>
                </a:solidFill>
              </a:rPr>
              <a:t>баҳолашни</a:t>
            </a:r>
            <a:r>
              <a:rPr lang="ru-RU" sz="1600" dirty="0">
                <a:solidFill>
                  <a:schemeClr val="bg1"/>
                </a:solidFill>
              </a:rPr>
              <a:t> </a:t>
            </a:r>
            <a:r>
              <a:rPr lang="ru-RU" sz="1600" dirty="0" err="1">
                <a:solidFill>
                  <a:schemeClr val="bg1"/>
                </a:solidFill>
              </a:rPr>
              <a:t>жорий</a:t>
            </a:r>
            <a:r>
              <a:rPr lang="ru-RU" sz="1600" dirty="0">
                <a:solidFill>
                  <a:schemeClr val="bg1"/>
                </a:solidFill>
              </a:rPr>
              <a:t> </a:t>
            </a:r>
            <a:r>
              <a:rPr lang="ru-RU" sz="1600" dirty="0" err="1" smtClean="0">
                <a:solidFill>
                  <a:schemeClr val="bg1"/>
                </a:solidFill>
              </a:rPr>
              <a:t>этиш</a:t>
            </a:r>
            <a:r>
              <a:rPr lang="ru-RU" sz="1600" dirty="0" smtClean="0">
                <a:solidFill>
                  <a:schemeClr val="bg1"/>
                </a:solidFill>
              </a:rPr>
              <a:t>; </a:t>
            </a:r>
            <a:endParaRPr lang="ru-RU" sz="1600" dirty="0">
              <a:solidFill>
                <a:schemeClr val="bg1"/>
              </a:solidFill>
            </a:endParaRPr>
          </a:p>
        </p:txBody>
      </p:sp>
      <p:sp>
        <p:nvSpPr>
          <p:cNvPr id="15" name="TextBox 14">
            <a:extLst>
              <a:ext uri="{FF2B5EF4-FFF2-40B4-BE49-F238E27FC236}">
                <a16:creationId xmlns:a16="http://schemas.microsoft.com/office/drawing/2014/main" id="{A831D8B2-B347-4F6F-8F61-5F076DA14713}"/>
              </a:ext>
            </a:extLst>
          </p:cNvPr>
          <p:cNvSpPr txBox="1"/>
          <p:nvPr/>
        </p:nvSpPr>
        <p:spPr>
          <a:xfrm>
            <a:off x="7763334" y="4905939"/>
            <a:ext cx="4417782" cy="246221"/>
          </a:xfrm>
          <a:prstGeom prst="rect">
            <a:avLst/>
          </a:prstGeom>
          <a:noFill/>
        </p:spPr>
        <p:txBody>
          <a:bodyPr wrap="square" lIns="0" tIns="0" rIns="0" bIns="0">
            <a:spAutoFit/>
          </a:bodyPr>
          <a:lstStyle/>
          <a:p>
            <a:pPr algn="just"/>
            <a:r>
              <a:rPr lang="uz-Cyrl-UZ" sz="1600" dirty="0" smtClean="0">
                <a:solidFill>
                  <a:schemeClr val="bg1"/>
                </a:solidFill>
              </a:rPr>
              <a:t>Махсус ахборот тизимини ишлаб чиқиш</a:t>
            </a:r>
            <a:endParaRPr lang="ru-RU" sz="1600" dirty="0">
              <a:solidFill>
                <a:schemeClr val="bg1"/>
              </a:solidFill>
            </a:endParaRPr>
          </a:p>
        </p:txBody>
      </p:sp>
      <p:sp>
        <p:nvSpPr>
          <p:cNvPr id="19" name="TextBox 18">
            <a:extLst>
              <a:ext uri="{FF2B5EF4-FFF2-40B4-BE49-F238E27FC236}">
                <a16:creationId xmlns:a16="http://schemas.microsoft.com/office/drawing/2014/main" id="{DAB90DBB-9AB4-4D75-BD35-4940F877CEEB}"/>
              </a:ext>
            </a:extLst>
          </p:cNvPr>
          <p:cNvSpPr txBox="1"/>
          <p:nvPr/>
        </p:nvSpPr>
        <p:spPr>
          <a:xfrm>
            <a:off x="8178800" y="3232572"/>
            <a:ext cx="3479798" cy="738664"/>
          </a:xfrm>
          <a:prstGeom prst="rect">
            <a:avLst/>
          </a:prstGeom>
          <a:noFill/>
        </p:spPr>
        <p:txBody>
          <a:bodyPr wrap="square" lIns="0" tIns="0" rIns="0" bIns="0">
            <a:spAutoFit/>
          </a:bodyPr>
          <a:lstStyle/>
          <a:p>
            <a:pPr algn="just"/>
            <a:r>
              <a:rPr lang="ru-RU" sz="1600" dirty="0" err="1" smtClean="0">
                <a:solidFill>
                  <a:schemeClr val="bg1"/>
                </a:solidFill>
              </a:rPr>
              <a:t>Ижтимоий</a:t>
            </a:r>
            <a:r>
              <a:rPr lang="ru-RU" sz="1600" dirty="0" smtClean="0">
                <a:solidFill>
                  <a:schemeClr val="bg1"/>
                </a:solidFill>
              </a:rPr>
              <a:t> </a:t>
            </a:r>
            <a:r>
              <a:rPr lang="ru-RU" sz="1600" dirty="0" err="1" smtClean="0">
                <a:solidFill>
                  <a:schemeClr val="bg1"/>
                </a:solidFill>
              </a:rPr>
              <a:t>фаолликни</a:t>
            </a:r>
            <a:r>
              <a:rPr lang="ru-RU" sz="1600" dirty="0" smtClean="0">
                <a:solidFill>
                  <a:schemeClr val="bg1"/>
                </a:solidFill>
              </a:rPr>
              <a:t> </a:t>
            </a:r>
            <a:r>
              <a:rPr lang="ru-RU" sz="1600" dirty="0" err="1" smtClean="0">
                <a:solidFill>
                  <a:schemeClr val="bg1"/>
                </a:solidFill>
              </a:rPr>
              <a:t>баҳолашда</a:t>
            </a:r>
            <a:r>
              <a:rPr lang="ru-RU" sz="1600" dirty="0" smtClean="0">
                <a:solidFill>
                  <a:schemeClr val="bg1"/>
                </a:solidFill>
              </a:rPr>
              <a:t> </a:t>
            </a:r>
            <a:r>
              <a:rPr lang="ru-RU" sz="1600" dirty="0" err="1" smtClean="0">
                <a:solidFill>
                  <a:schemeClr val="bg1"/>
                </a:solidFill>
              </a:rPr>
              <a:t>инсон</a:t>
            </a:r>
            <a:r>
              <a:rPr lang="ru-RU" sz="1600" dirty="0" smtClean="0">
                <a:solidFill>
                  <a:schemeClr val="bg1"/>
                </a:solidFill>
              </a:rPr>
              <a:t> </a:t>
            </a:r>
            <a:r>
              <a:rPr lang="ru-RU" sz="1600" dirty="0" err="1" smtClean="0">
                <a:solidFill>
                  <a:schemeClr val="bg1"/>
                </a:solidFill>
              </a:rPr>
              <a:t>омилини</a:t>
            </a:r>
            <a:r>
              <a:rPr lang="ru-RU" sz="1600" dirty="0" smtClean="0">
                <a:solidFill>
                  <a:schemeClr val="bg1"/>
                </a:solidFill>
              </a:rPr>
              <a:t> </a:t>
            </a:r>
            <a:r>
              <a:rPr lang="ru-RU" sz="1600" dirty="0" err="1" smtClean="0">
                <a:solidFill>
                  <a:schemeClr val="bg1"/>
                </a:solidFill>
              </a:rPr>
              <a:t>камайтириш</a:t>
            </a:r>
            <a:r>
              <a:rPr lang="ru-RU" sz="1600" dirty="0" smtClean="0">
                <a:solidFill>
                  <a:schemeClr val="bg1"/>
                </a:solidFill>
              </a:rPr>
              <a:t>, </a:t>
            </a:r>
            <a:r>
              <a:rPr lang="ru-RU" sz="1600" dirty="0" err="1" smtClean="0">
                <a:solidFill>
                  <a:schemeClr val="bg1"/>
                </a:solidFill>
              </a:rPr>
              <a:t>шаффоф</a:t>
            </a:r>
            <a:r>
              <a:rPr lang="ru-RU" sz="1600" dirty="0" smtClean="0">
                <a:solidFill>
                  <a:schemeClr val="bg1"/>
                </a:solidFill>
              </a:rPr>
              <a:t> </a:t>
            </a:r>
            <a:r>
              <a:rPr lang="ru-RU" sz="1600" dirty="0" err="1" smtClean="0">
                <a:solidFill>
                  <a:schemeClr val="bg1"/>
                </a:solidFill>
              </a:rPr>
              <a:t>тизимни</a:t>
            </a:r>
            <a:r>
              <a:rPr lang="ru-RU" sz="1600" dirty="0" smtClean="0">
                <a:solidFill>
                  <a:schemeClr val="bg1"/>
                </a:solidFill>
              </a:rPr>
              <a:t> </a:t>
            </a:r>
            <a:r>
              <a:rPr lang="ru-RU" sz="1600" dirty="0" err="1" smtClean="0">
                <a:solidFill>
                  <a:schemeClr val="bg1"/>
                </a:solidFill>
              </a:rPr>
              <a:t>жорий</a:t>
            </a:r>
            <a:r>
              <a:rPr lang="ru-RU" sz="1600" dirty="0" smtClean="0">
                <a:solidFill>
                  <a:schemeClr val="bg1"/>
                </a:solidFill>
              </a:rPr>
              <a:t> </a:t>
            </a:r>
            <a:r>
              <a:rPr lang="ru-RU" sz="1600" dirty="0" err="1" smtClean="0">
                <a:solidFill>
                  <a:schemeClr val="bg1"/>
                </a:solidFill>
              </a:rPr>
              <a:t>этиш</a:t>
            </a:r>
            <a:endParaRPr lang="ru-RU" sz="1600" dirty="0">
              <a:solidFill>
                <a:schemeClr val="bg1"/>
              </a:solidFill>
            </a:endParaRPr>
          </a:p>
        </p:txBody>
      </p:sp>
      <p:cxnSp>
        <p:nvCxnSpPr>
          <p:cNvPr id="21" name="Straight Connector 20">
            <a:extLst>
              <a:ext uri="{FF2B5EF4-FFF2-40B4-BE49-F238E27FC236}">
                <a16:creationId xmlns:a16="http://schemas.microsoft.com/office/drawing/2014/main" id="{ADE04804-541A-4244-B627-265AAC56E7AB}"/>
              </a:ext>
            </a:extLst>
          </p:cNvPr>
          <p:cNvCxnSpPr>
            <a:cxnSpLocks/>
          </p:cNvCxnSpPr>
          <p:nvPr/>
        </p:nvCxnSpPr>
        <p:spPr>
          <a:xfrm>
            <a:off x="7645403" y="2738660"/>
            <a:ext cx="401319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C5A1C55-48BF-49C0-93C1-F16DE4084F42}"/>
              </a:ext>
            </a:extLst>
          </p:cNvPr>
          <p:cNvCxnSpPr>
            <a:cxnSpLocks/>
          </p:cNvCxnSpPr>
          <p:nvPr/>
        </p:nvCxnSpPr>
        <p:spPr>
          <a:xfrm>
            <a:off x="7845517" y="4377139"/>
            <a:ext cx="401319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33" name="Picture 32" descr="A group of people standing in front of a crowd&#10;&#10;Description automatically generated">
            <a:extLst>
              <a:ext uri="{FF2B5EF4-FFF2-40B4-BE49-F238E27FC236}">
                <a16:creationId xmlns:a16="http://schemas.microsoft.com/office/drawing/2014/main" id="{43881F76-86A9-4237-94DD-F3459CD0C6B9}"/>
              </a:ext>
            </a:extLst>
          </p:cNvPr>
          <p:cNvPicPr>
            <a:picLocks noChangeAspect="1"/>
          </p:cNvPicPr>
          <p:nvPr/>
        </p:nvPicPr>
        <p:blipFill>
          <a:blip r:embed="rId8" cstate="screen">
            <a:extLst>
              <a:ext uri="{BEBA8EAE-BF5A-486C-A8C5-ECC9F3942E4B}">
                <a14:imgProps xmlns:a14="http://schemas.microsoft.com/office/drawing/2010/main">
                  <a14:imgLayer r:embed="rId9">
                    <a14:imgEffect>
                      <a14:saturation sat="66000"/>
                    </a14:imgEffect>
                  </a14:imgLayer>
                </a14:imgProps>
              </a:ext>
              <a:ext uri="{28A0092B-C50C-407E-A947-70E740481C1C}">
                <a14:useLocalDpi xmlns:a14="http://schemas.microsoft.com/office/drawing/2010/main"/>
              </a:ext>
            </a:extLst>
          </a:blip>
          <a:srcRect t="15714" r="5408" b="4762"/>
          <a:stretch>
            <a:fillRect/>
          </a:stretch>
        </p:blipFill>
        <p:spPr>
          <a:xfrm>
            <a:off x="0" y="1689101"/>
            <a:ext cx="7556500" cy="4241798"/>
          </a:xfrm>
          <a:custGeom>
            <a:avLst/>
            <a:gdLst>
              <a:gd name="connsiteX0" fmla="*/ 0 w 7556500"/>
              <a:gd name="connsiteY0" fmla="*/ 0 h 4241798"/>
              <a:gd name="connsiteX1" fmla="*/ 6496050 w 7556500"/>
              <a:gd name="connsiteY1" fmla="*/ 0 h 4241798"/>
              <a:gd name="connsiteX2" fmla="*/ 7556500 w 7556500"/>
              <a:gd name="connsiteY2" fmla="*/ 2120899 h 4241798"/>
              <a:gd name="connsiteX3" fmla="*/ 6496050 w 7556500"/>
              <a:gd name="connsiteY3" fmla="*/ 4241798 h 4241798"/>
              <a:gd name="connsiteX4" fmla="*/ 0 w 7556500"/>
              <a:gd name="connsiteY4" fmla="*/ 4241798 h 4241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6500" h="4241798">
                <a:moveTo>
                  <a:pt x="0" y="0"/>
                </a:moveTo>
                <a:lnTo>
                  <a:pt x="6496050" y="0"/>
                </a:lnTo>
                <a:lnTo>
                  <a:pt x="7556500" y="2120899"/>
                </a:lnTo>
                <a:lnTo>
                  <a:pt x="6496050" y="4241798"/>
                </a:lnTo>
                <a:lnTo>
                  <a:pt x="0" y="4241798"/>
                </a:lnTo>
                <a:close/>
              </a:path>
            </a:pathLst>
          </a:custGeom>
        </p:spPr>
      </p:pic>
      <p:sp>
        <p:nvSpPr>
          <p:cNvPr id="2" name="Title 1">
            <a:extLst>
              <a:ext uri="{FF2B5EF4-FFF2-40B4-BE49-F238E27FC236}">
                <a16:creationId xmlns:a16="http://schemas.microsoft.com/office/drawing/2014/main" id="{7021FE75-C335-4112-9A8E-80A794B675BF}"/>
              </a:ext>
            </a:extLst>
          </p:cNvPr>
          <p:cNvSpPr>
            <a:spLocks noGrp="1"/>
          </p:cNvSpPr>
          <p:nvPr>
            <p:ph type="title"/>
          </p:nvPr>
        </p:nvSpPr>
        <p:spPr/>
        <p:txBody>
          <a:bodyPr/>
          <a:lstStyle/>
          <a:p>
            <a:r>
              <a:rPr lang="ru-RU" b="1" dirty="0" err="1" smtClean="0"/>
              <a:t>Баҳолаш</a:t>
            </a:r>
            <a:r>
              <a:rPr lang="ru-RU" b="1" dirty="0" smtClean="0"/>
              <a:t> </a:t>
            </a:r>
            <a:r>
              <a:rPr lang="ru-RU" b="1" dirty="0" err="1" smtClean="0"/>
              <a:t>механизмлари</a:t>
            </a:r>
            <a:endParaRPr lang="en-ID" b="1" dirty="0"/>
          </a:p>
        </p:txBody>
      </p:sp>
      <p:sp>
        <p:nvSpPr>
          <p:cNvPr id="31" name="Freeform: Shape 30">
            <a:extLst>
              <a:ext uri="{FF2B5EF4-FFF2-40B4-BE49-F238E27FC236}">
                <a16:creationId xmlns:a16="http://schemas.microsoft.com/office/drawing/2014/main" id="{6177E9EF-F38F-41AB-BD64-75D9E276219D}"/>
              </a:ext>
            </a:extLst>
          </p:cNvPr>
          <p:cNvSpPr/>
          <p:nvPr/>
        </p:nvSpPr>
        <p:spPr>
          <a:xfrm>
            <a:off x="0" y="1689101"/>
            <a:ext cx="7982652" cy="4241798"/>
          </a:xfrm>
          <a:custGeom>
            <a:avLst/>
            <a:gdLst>
              <a:gd name="connsiteX0" fmla="*/ 0 w 7556500"/>
              <a:gd name="connsiteY0" fmla="*/ 0 h 4241798"/>
              <a:gd name="connsiteX1" fmla="*/ 6496050 w 7556500"/>
              <a:gd name="connsiteY1" fmla="*/ 0 h 4241798"/>
              <a:gd name="connsiteX2" fmla="*/ 7556500 w 7556500"/>
              <a:gd name="connsiteY2" fmla="*/ 2120899 h 4241798"/>
              <a:gd name="connsiteX3" fmla="*/ 6496050 w 7556500"/>
              <a:gd name="connsiteY3" fmla="*/ 4241798 h 4241798"/>
              <a:gd name="connsiteX4" fmla="*/ 0 w 7556500"/>
              <a:gd name="connsiteY4" fmla="*/ 4241798 h 4241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6500" h="4241798">
                <a:moveTo>
                  <a:pt x="0" y="0"/>
                </a:moveTo>
                <a:lnTo>
                  <a:pt x="6496050" y="0"/>
                </a:lnTo>
                <a:lnTo>
                  <a:pt x="7556500" y="2120899"/>
                </a:lnTo>
                <a:lnTo>
                  <a:pt x="6496050" y="4241798"/>
                </a:lnTo>
                <a:lnTo>
                  <a:pt x="0" y="4241798"/>
                </a:lnTo>
                <a:close/>
              </a:path>
            </a:pathLst>
          </a:custGeom>
          <a:gradFill>
            <a:gsLst>
              <a:gs pos="0">
                <a:schemeClr val="accent3">
                  <a:lumMod val="50000"/>
                  <a:alpha val="77000"/>
                </a:schemeClr>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7" name="Hexagon 6">
            <a:extLst>
              <a:ext uri="{FF2B5EF4-FFF2-40B4-BE49-F238E27FC236}">
                <a16:creationId xmlns:a16="http://schemas.microsoft.com/office/drawing/2014/main" id="{5E42367A-D8F5-4F9E-9160-2BA9F5869A44}"/>
              </a:ext>
            </a:extLst>
          </p:cNvPr>
          <p:cNvSpPr/>
          <p:nvPr/>
        </p:nvSpPr>
        <p:spPr>
          <a:xfrm>
            <a:off x="6313718" y="1939191"/>
            <a:ext cx="1113968" cy="960316"/>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8" name="Hexagon 7">
            <a:extLst>
              <a:ext uri="{FF2B5EF4-FFF2-40B4-BE49-F238E27FC236}">
                <a16:creationId xmlns:a16="http://schemas.microsoft.com/office/drawing/2014/main" id="{DAB31F72-512A-42A9-B913-99889AB8C8D4}"/>
              </a:ext>
            </a:extLst>
          </p:cNvPr>
          <p:cNvSpPr/>
          <p:nvPr/>
        </p:nvSpPr>
        <p:spPr>
          <a:xfrm>
            <a:off x="6870702" y="3329842"/>
            <a:ext cx="1113968" cy="960316"/>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9" name="Hexagon 8">
            <a:extLst>
              <a:ext uri="{FF2B5EF4-FFF2-40B4-BE49-F238E27FC236}">
                <a16:creationId xmlns:a16="http://schemas.microsoft.com/office/drawing/2014/main" id="{6D69D62A-8BFD-4722-BB36-97A6BE75CB72}"/>
              </a:ext>
            </a:extLst>
          </p:cNvPr>
          <p:cNvSpPr/>
          <p:nvPr/>
        </p:nvSpPr>
        <p:spPr>
          <a:xfrm>
            <a:off x="6313718" y="4720493"/>
            <a:ext cx="1113968" cy="960316"/>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25" name="TextBox 24">
            <a:extLst>
              <a:ext uri="{FF2B5EF4-FFF2-40B4-BE49-F238E27FC236}">
                <a16:creationId xmlns:a16="http://schemas.microsoft.com/office/drawing/2014/main" id="{D98FD0C8-9116-4132-BDF9-A5186FAADD1A}"/>
              </a:ext>
            </a:extLst>
          </p:cNvPr>
          <p:cNvSpPr txBox="1"/>
          <p:nvPr/>
        </p:nvSpPr>
        <p:spPr>
          <a:xfrm>
            <a:off x="6675211" y="2234683"/>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1</a:t>
            </a:r>
          </a:p>
        </p:txBody>
      </p:sp>
      <p:sp>
        <p:nvSpPr>
          <p:cNvPr id="26" name="TextBox 25">
            <a:extLst>
              <a:ext uri="{FF2B5EF4-FFF2-40B4-BE49-F238E27FC236}">
                <a16:creationId xmlns:a16="http://schemas.microsoft.com/office/drawing/2014/main" id="{03A486F9-D21F-43F2-9267-47B6ACAB3897}"/>
              </a:ext>
            </a:extLst>
          </p:cNvPr>
          <p:cNvSpPr txBox="1"/>
          <p:nvPr/>
        </p:nvSpPr>
        <p:spPr>
          <a:xfrm>
            <a:off x="6675211" y="5015985"/>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3</a:t>
            </a:r>
          </a:p>
        </p:txBody>
      </p:sp>
      <p:sp>
        <p:nvSpPr>
          <p:cNvPr id="27" name="TextBox 26">
            <a:extLst>
              <a:ext uri="{FF2B5EF4-FFF2-40B4-BE49-F238E27FC236}">
                <a16:creationId xmlns:a16="http://schemas.microsoft.com/office/drawing/2014/main" id="{EEA6E1D3-5C3B-4863-9561-7D0C513D65C2}"/>
              </a:ext>
            </a:extLst>
          </p:cNvPr>
          <p:cNvSpPr txBox="1"/>
          <p:nvPr/>
        </p:nvSpPr>
        <p:spPr>
          <a:xfrm>
            <a:off x="7232195" y="3625334"/>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2</a:t>
            </a:r>
          </a:p>
        </p:txBody>
      </p:sp>
      <p:sp>
        <p:nvSpPr>
          <p:cNvPr id="34" name="TextBox 33">
            <a:extLst>
              <a:ext uri="{FF2B5EF4-FFF2-40B4-BE49-F238E27FC236}">
                <a16:creationId xmlns:a16="http://schemas.microsoft.com/office/drawing/2014/main" id="{82EA8FB9-1C0A-46FA-8C6E-6DF19C08AC2D}"/>
              </a:ext>
            </a:extLst>
          </p:cNvPr>
          <p:cNvSpPr txBox="1"/>
          <p:nvPr/>
        </p:nvSpPr>
        <p:spPr>
          <a:xfrm>
            <a:off x="1010761" y="3148010"/>
            <a:ext cx="5433789" cy="1477328"/>
          </a:xfrm>
          <a:prstGeom prst="rect">
            <a:avLst/>
          </a:prstGeom>
          <a:noFill/>
        </p:spPr>
        <p:txBody>
          <a:bodyPr wrap="square" lIns="0" tIns="0" rIns="0" bIns="0">
            <a:spAutoFit/>
          </a:bodyPr>
          <a:lstStyle/>
          <a:p>
            <a:r>
              <a:rPr lang="ru-RU" sz="2400" dirty="0" err="1" smtClean="0">
                <a:solidFill>
                  <a:schemeClr val="bg1"/>
                </a:solidFill>
              </a:rPr>
              <a:t>Таълим</a:t>
            </a:r>
            <a:r>
              <a:rPr lang="ru-RU" sz="2400" dirty="0" smtClean="0">
                <a:solidFill>
                  <a:schemeClr val="bg1"/>
                </a:solidFill>
              </a:rPr>
              <a:t> </a:t>
            </a:r>
            <a:r>
              <a:rPr lang="ru-RU" sz="2400" dirty="0" err="1" smtClean="0">
                <a:solidFill>
                  <a:schemeClr val="bg1"/>
                </a:solidFill>
              </a:rPr>
              <a:t>гранти</a:t>
            </a:r>
            <a:r>
              <a:rPr lang="ru-RU" sz="2400" dirty="0" smtClean="0">
                <a:solidFill>
                  <a:schemeClr val="bg1"/>
                </a:solidFill>
              </a:rPr>
              <a:t> </a:t>
            </a:r>
            <a:r>
              <a:rPr lang="ru-RU" sz="2400" dirty="0" err="1" smtClean="0">
                <a:solidFill>
                  <a:schemeClr val="bg1"/>
                </a:solidFill>
              </a:rPr>
              <a:t>учун</a:t>
            </a:r>
            <a:r>
              <a:rPr lang="ru-RU" sz="2400" dirty="0" smtClean="0">
                <a:solidFill>
                  <a:schemeClr val="bg1"/>
                </a:solidFill>
              </a:rPr>
              <a:t> </a:t>
            </a:r>
            <a:r>
              <a:rPr lang="ru-RU" sz="2400" dirty="0" err="1" smtClean="0">
                <a:solidFill>
                  <a:schemeClr val="bg1"/>
                </a:solidFill>
              </a:rPr>
              <a:t>талабаларнинг</a:t>
            </a:r>
            <a:r>
              <a:rPr lang="ru-RU" sz="2400" dirty="0" smtClean="0">
                <a:solidFill>
                  <a:schemeClr val="bg1"/>
                </a:solidFill>
              </a:rPr>
              <a:t> </a:t>
            </a:r>
            <a:r>
              <a:rPr lang="ru-RU" sz="2400" dirty="0" err="1">
                <a:solidFill>
                  <a:schemeClr val="bg1"/>
                </a:solidFill>
              </a:rPr>
              <a:t>ижтимоий</a:t>
            </a:r>
            <a:r>
              <a:rPr lang="ru-RU" sz="2400" dirty="0">
                <a:solidFill>
                  <a:schemeClr val="bg1"/>
                </a:solidFill>
              </a:rPr>
              <a:t> </a:t>
            </a:r>
            <a:r>
              <a:rPr lang="ru-RU" sz="2400" dirty="0" err="1">
                <a:solidFill>
                  <a:schemeClr val="bg1"/>
                </a:solidFill>
              </a:rPr>
              <a:t>фаоллигини</a:t>
            </a:r>
            <a:r>
              <a:rPr lang="ru-RU" sz="2400" dirty="0">
                <a:solidFill>
                  <a:schemeClr val="bg1"/>
                </a:solidFill>
              </a:rPr>
              <a:t> </a:t>
            </a:r>
            <a:r>
              <a:rPr lang="ru-RU" sz="2400" dirty="0" err="1" smtClean="0">
                <a:solidFill>
                  <a:schemeClr val="bg1"/>
                </a:solidFill>
              </a:rPr>
              <a:t>ҳисоблашда</a:t>
            </a:r>
            <a:r>
              <a:rPr lang="ru-RU" sz="2400" b="0" i="0" dirty="0" smtClean="0">
                <a:solidFill>
                  <a:schemeClr val="bg1"/>
                </a:solidFill>
                <a:effectLst/>
              </a:rPr>
              <a:t>, </a:t>
            </a:r>
            <a:r>
              <a:rPr lang="ru-RU" sz="2400" b="0" i="0" dirty="0" err="1">
                <a:solidFill>
                  <a:schemeClr val="bg1"/>
                </a:solidFill>
                <a:effectLst/>
              </a:rPr>
              <a:t>қуйидагилар</a:t>
            </a:r>
            <a:r>
              <a:rPr lang="ru-RU" sz="2400" b="0" i="0" dirty="0">
                <a:solidFill>
                  <a:schemeClr val="bg1"/>
                </a:solidFill>
                <a:effectLst/>
              </a:rPr>
              <a:t> </a:t>
            </a:r>
            <a:r>
              <a:rPr lang="ru-RU" sz="2400" b="1" i="0" dirty="0" err="1">
                <a:solidFill>
                  <a:srgbClr val="00B0F0"/>
                </a:solidFill>
                <a:effectLst/>
              </a:rPr>
              <a:t>таклиф</a:t>
            </a:r>
            <a:r>
              <a:rPr lang="ru-RU" sz="2400" b="1" i="0" dirty="0">
                <a:solidFill>
                  <a:srgbClr val="00B0F0"/>
                </a:solidFill>
                <a:effectLst/>
              </a:rPr>
              <a:t> </a:t>
            </a:r>
            <a:r>
              <a:rPr lang="ru-RU" sz="2400" b="1" i="0" dirty="0" err="1">
                <a:solidFill>
                  <a:srgbClr val="00B0F0"/>
                </a:solidFill>
                <a:effectLst/>
              </a:rPr>
              <a:t>этилади</a:t>
            </a:r>
            <a:r>
              <a:rPr lang="ru-RU" sz="2400" b="1" i="0" dirty="0">
                <a:solidFill>
                  <a:srgbClr val="00B0F0"/>
                </a:solidFill>
                <a:effectLst/>
              </a:rPr>
              <a:t>:</a:t>
            </a:r>
          </a:p>
          <a:p>
            <a:endParaRPr lang="ru-RU" sz="2400" b="0" i="0" dirty="0">
              <a:solidFill>
                <a:schemeClr val="bg1"/>
              </a:solidFill>
              <a:effectLst/>
            </a:endParaRPr>
          </a:p>
        </p:txBody>
      </p:sp>
    </p:spTree>
    <p:extLst>
      <p:ext uri="{BB962C8B-B14F-4D97-AF65-F5344CB8AC3E}">
        <p14:creationId xmlns:p14="http://schemas.microsoft.com/office/powerpoint/2010/main" val="28745072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17B9E7-01E9-42D5-8F5D-E014825C78C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351" imgH="351" progId="TCLayout.ActiveDocument.1">
                  <p:embed/>
                </p:oleObj>
              </mc:Choice>
              <mc:Fallback>
                <p:oleObj name="think-cell Slide" r:id="rId6" imgW="351" imgH="351" progId="TCLayout.ActiveDocument.1">
                  <p:embed/>
                  <p:pic>
                    <p:nvPicPr>
                      <p:cNvPr id="4" name="Object 3" hidden="1">
                        <a:extLst>
                          <a:ext uri="{FF2B5EF4-FFF2-40B4-BE49-F238E27FC236}">
                            <a16:creationId xmlns:a16="http://schemas.microsoft.com/office/drawing/2014/main" id="{BD17B9E7-01E9-42D5-8F5D-E014825C78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27F9D39-406C-47E5-89D6-F081726E66A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7021FE75-C335-4112-9A8E-80A794B675BF}"/>
              </a:ext>
            </a:extLst>
          </p:cNvPr>
          <p:cNvSpPr>
            <a:spLocks noGrp="1"/>
          </p:cNvSpPr>
          <p:nvPr>
            <p:ph type="title"/>
          </p:nvPr>
        </p:nvSpPr>
        <p:spPr/>
        <p:txBody>
          <a:bodyPr/>
          <a:lstStyle/>
          <a:p>
            <a:r>
              <a:rPr lang="ru-RU" b="1" dirty="0" err="1" smtClean="0"/>
              <a:t>Баҳолаш</a:t>
            </a:r>
            <a:r>
              <a:rPr lang="ru-RU" b="1" dirty="0" smtClean="0"/>
              <a:t> </a:t>
            </a:r>
            <a:r>
              <a:rPr lang="ru-RU" b="1" dirty="0" err="1" smtClean="0"/>
              <a:t>механизмлари</a:t>
            </a:r>
            <a:endParaRPr lang="en-ID" b="1" dirty="0"/>
          </a:p>
        </p:txBody>
      </p:sp>
      <p:sp>
        <p:nvSpPr>
          <p:cNvPr id="25" name="TextBox 24">
            <a:extLst>
              <a:ext uri="{FF2B5EF4-FFF2-40B4-BE49-F238E27FC236}">
                <a16:creationId xmlns:a16="http://schemas.microsoft.com/office/drawing/2014/main" id="{D98FD0C8-9116-4132-BDF9-A5186FAADD1A}"/>
              </a:ext>
            </a:extLst>
          </p:cNvPr>
          <p:cNvSpPr txBox="1"/>
          <p:nvPr/>
        </p:nvSpPr>
        <p:spPr>
          <a:xfrm>
            <a:off x="6675211" y="2234683"/>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1</a:t>
            </a:r>
          </a:p>
        </p:txBody>
      </p:sp>
      <p:sp>
        <p:nvSpPr>
          <p:cNvPr id="26" name="TextBox 25">
            <a:extLst>
              <a:ext uri="{FF2B5EF4-FFF2-40B4-BE49-F238E27FC236}">
                <a16:creationId xmlns:a16="http://schemas.microsoft.com/office/drawing/2014/main" id="{03A486F9-D21F-43F2-9267-47B6ACAB3897}"/>
              </a:ext>
            </a:extLst>
          </p:cNvPr>
          <p:cNvSpPr txBox="1"/>
          <p:nvPr/>
        </p:nvSpPr>
        <p:spPr>
          <a:xfrm>
            <a:off x="6675211" y="5015985"/>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3</a:t>
            </a:r>
          </a:p>
        </p:txBody>
      </p:sp>
      <p:sp>
        <p:nvSpPr>
          <p:cNvPr id="27" name="TextBox 26">
            <a:extLst>
              <a:ext uri="{FF2B5EF4-FFF2-40B4-BE49-F238E27FC236}">
                <a16:creationId xmlns:a16="http://schemas.microsoft.com/office/drawing/2014/main" id="{EEA6E1D3-5C3B-4863-9561-7D0C513D65C2}"/>
              </a:ext>
            </a:extLst>
          </p:cNvPr>
          <p:cNvSpPr txBox="1"/>
          <p:nvPr/>
        </p:nvSpPr>
        <p:spPr>
          <a:xfrm>
            <a:off x="7232195" y="3625334"/>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2</a:t>
            </a:r>
          </a:p>
        </p:txBody>
      </p:sp>
      <p:graphicFrame>
        <p:nvGraphicFramePr>
          <p:cNvPr id="5" name="Таблица 4"/>
          <p:cNvGraphicFramePr>
            <a:graphicFrameLocks noGrp="1"/>
          </p:cNvGraphicFramePr>
          <p:nvPr>
            <p:extLst>
              <p:ext uri="{D42A27DB-BD31-4B8C-83A1-F6EECF244321}">
                <p14:modId xmlns:p14="http://schemas.microsoft.com/office/powerpoint/2010/main" val="2668974913"/>
              </p:ext>
            </p:extLst>
          </p:nvPr>
        </p:nvGraphicFramePr>
        <p:xfrm>
          <a:off x="607464" y="1511093"/>
          <a:ext cx="11014816" cy="2845956"/>
        </p:xfrm>
        <a:graphic>
          <a:graphicData uri="http://schemas.openxmlformats.org/drawingml/2006/table">
            <a:tbl>
              <a:tblPr firstRow="1" firstCol="1" bandRow="1">
                <a:tableStyleId>{5C22544A-7EE6-4342-B048-85BDC9FD1C3A}</a:tableStyleId>
              </a:tblPr>
              <a:tblGrid>
                <a:gridCol w="376515">
                  <a:extLst>
                    <a:ext uri="{9D8B030D-6E8A-4147-A177-3AD203B41FA5}">
                      <a16:colId xmlns:a16="http://schemas.microsoft.com/office/drawing/2014/main" val="2701929278"/>
                    </a:ext>
                  </a:extLst>
                </a:gridCol>
                <a:gridCol w="2142749">
                  <a:extLst>
                    <a:ext uri="{9D8B030D-6E8A-4147-A177-3AD203B41FA5}">
                      <a16:colId xmlns:a16="http://schemas.microsoft.com/office/drawing/2014/main" val="1867250339"/>
                    </a:ext>
                  </a:extLst>
                </a:gridCol>
                <a:gridCol w="4297485">
                  <a:extLst>
                    <a:ext uri="{9D8B030D-6E8A-4147-A177-3AD203B41FA5}">
                      <a16:colId xmlns:a16="http://schemas.microsoft.com/office/drawing/2014/main" val="4111598934"/>
                    </a:ext>
                  </a:extLst>
                </a:gridCol>
                <a:gridCol w="499904">
                  <a:extLst>
                    <a:ext uri="{9D8B030D-6E8A-4147-A177-3AD203B41FA5}">
                      <a16:colId xmlns:a16="http://schemas.microsoft.com/office/drawing/2014/main" val="2493081592"/>
                    </a:ext>
                  </a:extLst>
                </a:gridCol>
                <a:gridCol w="3698163">
                  <a:extLst>
                    <a:ext uri="{9D8B030D-6E8A-4147-A177-3AD203B41FA5}">
                      <a16:colId xmlns:a16="http://schemas.microsoft.com/office/drawing/2014/main" val="1917889495"/>
                    </a:ext>
                  </a:extLst>
                </a:gridCol>
              </a:tblGrid>
              <a:tr h="193855">
                <a:tc>
                  <a:txBody>
                    <a:bodyPr/>
                    <a:lstStyle/>
                    <a:p>
                      <a:pPr algn="ctr">
                        <a:lnSpc>
                          <a:spcPct val="107000"/>
                        </a:lnSpc>
                        <a:spcAft>
                          <a:spcPts val="0"/>
                        </a:spcAft>
                      </a:pPr>
                      <a:r>
                        <a:rPr lang="uz-Cyrl-UZ" sz="1400">
                          <a:effectLst/>
                        </a:rPr>
                        <a:t>№</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uz-Cyrl-UZ" sz="1400" dirty="0">
                          <a:effectLst/>
                        </a:rPr>
                        <a:t>Мезонлар номи</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uz-Cyrl-UZ" sz="1400">
                          <a:effectLst/>
                        </a:rPr>
                        <a:t>Мезонлар тавсифи</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uz-Cyrl-UZ" sz="1400">
                          <a:effectLst/>
                        </a:rPr>
                        <a:t>Бал</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uz-Cyrl-UZ" sz="1400">
                          <a:effectLst/>
                        </a:rPr>
                        <a:t>Аниқлаш механизми</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22658907"/>
                  </a:ext>
                </a:extLst>
              </a:tr>
              <a:tr h="2627770">
                <a:tc>
                  <a:txBody>
                    <a:bodyPr/>
                    <a:lstStyle/>
                    <a:p>
                      <a:pPr algn="just">
                        <a:lnSpc>
                          <a:spcPct val="107000"/>
                        </a:lnSpc>
                        <a:spcAft>
                          <a:spcPts val="0"/>
                        </a:spcAft>
                      </a:pPr>
                      <a:r>
                        <a:rPr lang="uz-Cyrl-UZ" sz="1400" dirty="0">
                          <a:effectLst/>
                        </a:rPr>
                        <a:t>1</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dirty="0">
                          <a:effectLst/>
                        </a:rPr>
                        <a:t>Китобхонлик маданияти</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Талабаларга 100 та энг сара бадиий адабиётлар мутолаа қилиш учун тавсия этилади.</a:t>
                      </a:r>
                      <a:endParaRPr lang="ru-RU" sz="1100">
                        <a:effectLst/>
                      </a:endParaRPr>
                    </a:p>
                    <a:p>
                      <a:pPr algn="just">
                        <a:lnSpc>
                          <a:spcPct val="107000"/>
                        </a:lnSpc>
                        <a:spcAft>
                          <a:spcPts val="0"/>
                        </a:spcAft>
                      </a:pPr>
                      <a:r>
                        <a:rPr lang="uz-Cyrl-UZ" sz="1400">
                          <a:effectLst/>
                        </a:rPr>
                        <a:t>1. 1 семестр давомида 7-12 та бадиий адабиётларни ўқиган талабага максимал 20 балл берилади;</a:t>
                      </a:r>
                      <a:endParaRPr lang="ru-RU" sz="1100">
                        <a:effectLst/>
                      </a:endParaRPr>
                    </a:p>
                    <a:p>
                      <a:pPr algn="just">
                        <a:lnSpc>
                          <a:spcPct val="107000"/>
                        </a:lnSpc>
                        <a:spcAft>
                          <a:spcPts val="0"/>
                        </a:spcAft>
                      </a:pPr>
                      <a:r>
                        <a:rPr lang="uz-Cyrl-UZ" sz="1400">
                          <a:effectLst/>
                        </a:rPr>
                        <a:t>2. 1 семестр давомида 4-6 та бадиий адабиётларни ўқиган талабага максимал 15 балл берилади;</a:t>
                      </a:r>
                      <a:endParaRPr lang="ru-RU" sz="1100">
                        <a:effectLst/>
                      </a:endParaRPr>
                    </a:p>
                    <a:p>
                      <a:pPr algn="just">
                        <a:lnSpc>
                          <a:spcPct val="107000"/>
                        </a:lnSpc>
                        <a:spcAft>
                          <a:spcPts val="0"/>
                        </a:spcAft>
                      </a:pPr>
                      <a:r>
                        <a:rPr lang="uz-Cyrl-UZ" sz="1400">
                          <a:effectLst/>
                        </a:rPr>
                        <a:t>3. 1 семестр давомида 1-3 та бадиий адабиётларни ўқиган талабага максимал 10 балл берилади;</a:t>
                      </a:r>
                      <a:endParaRPr lang="ru-RU" sz="1100">
                        <a:effectLst/>
                      </a:endParaRPr>
                    </a:p>
                    <a:p>
                      <a:pPr algn="just">
                        <a:lnSpc>
                          <a:spcPct val="107000"/>
                        </a:lnSpc>
                        <a:spcAft>
                          <a:spcPts val="0"/>
                        </a:spcAft>
                      </a:pPr>
                      <a:r>
                        <a:rPr lang="uz-Cyrl-UZ" sz="1400">
                          <a:effectLst/>
                        </a:rPr>
                        <a:t>4. 1 семестр давомида бадиий адабиёт ўқимаган талабага балл берилмайди.</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20</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dirty="0">
                          <a:effectLst/>
                        </a:rPr>
                        <a:t>100 та энг сара бадиий адабиётлар рўйхати платформага жойлаштирилади.</a:t>
                      </a:r>
                      <a:endParaRPr lang="ru-RU" sz="1100" dirty="0">
                        <a:effectLst/>
                      </a:endParaRPr>
                    </a:p>
                    <a:p>
                      <a:pPr algn="just">
                        <a:lnSpc>
                          <a:spcPct val="107000"/>
                        </a:lnSpc>
                        <a:spcAft>
                          <a:spcPts val="0"/>
                        </a:spcAft>
                      </a:pPr>
                      <a:r>
                        <a:rPr lang="uz-Cyrl-UZ" sz="1400" dirty="0">
                          <a:effectLst/>
                        </a:rPr>
                        <a:t>Талабаларнинг китобларни мутолаа қилганлигини аниқлаш бўйича тестлар тузилади ва платформага жойлаштирилади.</a:t>
                      </a:r>
                      <a:endParaRPr lang="ru-RU" sz="1100" dirty="0">
                        <a:effectLst/>
                      </a:endParaRPr>
                    </a:p>
                    <a:p>
                      <a:pPr algn="just">
                        <a:lnSpc>
                          <a:spcPct val="107000"/>
                        </a:lnSpc>
                        <a:spcAft>
                          <a:spcPts val="0"/>
                        </a:spcAft>
                      </a:pPr>
                      <a:r>
                        <a:rPr lang="uz-Cyrl-UZ" sz="1400" dirty="0">
                          <a:effectLst/>
                        </a:rPr>
                        <a:t>Бадиий асарни ўқиган талабалар исталган пайтда олий таълим муассасаси АРМга келиб, HEMIS дастури орқали ўз ID рақами ва логин парол билан айнан ўқиган асари бўйича компьютерда тест топширади ва ижобий баҳоланса, автоматик тарзда балл олади.</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33281452"/>
                  </a:ext>
                </a:extLst>
              </a:tr>
            </a:tbl>
          </a:graphicData>
        </a:graphic>
      </p:graphicFrame>
    </p:spTree>
    <p:extLst>
      <p:ext uri="{BB962C8B-B14F-4D97-AF65-F5344CB8AC3E}">
        <p14:creationId xmlns:p14="http://schemas.microsoft.com/office/powerpoint/2010/main" val="3962135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17B9E7-01E9-42D5-8F5D-E014825C78C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6" imgW="351" imgH="351" progId="TCLayout.ActiveDocument.1">
                  <p:embed/>
                </p:oleObj>
              </mc:Choice>
              <mc:Fallback>
                <p:oleObj name="think-cell Slide" r:id="rId6" imgW="351" imgH="351" progId="TCLayout.ActiveDocument.1">
                  <p:embed/>
                  <p:pic>
                    <p:nvPicPr>
                      <p:cNvPr id="4" name="Object 3" hidden="1">
                        <a:extLst>
                          <a:ext uri="{FF2B5EF4-FFF2-40B4-BE49-F238E27FC236}">
                            <a16:creationId xmlns:a16="http://schemas.microsoft.com/office/drawing/2014/main" id="{BD17B9E7-01E9-42D5-8F5D-E014825C78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27F9D39-406C-47E5-89D6-F081726E66A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7021FE75-C335-4112-9A8E-80A794B675BF}"/>
              </a:ext>
            </a:extLst>
          </p:cNvPr>
          <p:cNvSpPr>
            <a:spLocks noGrp="1"/>
          </p:cNvSpPr>
          <p:nvPr>
            <p:ph type="title"/>
          </p:nvPr>
        </p:nvSpPr>
        <p:spPr/>
        <p:txBody>
          <a:bodyPr/>
          <a:lstStyle/>
          <a:p>
            <a:r>
              <a:rPr lang="ru-RU" b="1" dirty="0" err="1" smtClean="0"/>
              <a:t>Баҳолаш</a:t>
            </a:r>
            <a:r>
              <a:rPr lang="ru-RU" b="1" dirty="0" smtClean="0"/>
              <a:t> </a:t>
            </a:r>
            <a:r>
              <a:rPr lang="ru-RU" b="1" dirty="0" err="1" smtClean="0"/>
              <a:t>механизмлари</a:t>
            </a:r>
            <a:endParaRPr lang="en-ID" b="1" dirty="0"/>
          </a:p>
        </p:txBody>
      </p:sp>
      <p:sp>
        <p:nvSpPr>
          <p:cNvPr id="25" name="TextBox 24">
            <a:extLst>
              <a:ext uri="{FF2B5EF4-FFF2-40B4-BE49-F238E27FC236}">
                <a16:creationId xmlns:a16="http://schemas.microsoft.com/office/drawing/2014/main" id="{D98FD0C8-9116-4132-BDF9-A5186FAADD1A}"/>
              </a:ext>
            </a:extLst>
          </p:cNvPr>
          <p:cNvSpPr txBox="1"/>
          <p:nvPr/>
        </p:nvSpPr>
        <p:spPr>
          <a:xfrm>
            <a:off x="6675211" y="2234683"/>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1</a:t>
            </a:r>
          </a:p>
        </p:txBody>
      </p:sp>
      <p:sp>
        <p:nvSpPr>
          <p:cNvPr id="26" name="TextBox 25">
            <a:extLst>
              <a:ext uri="{FF2B5EF4-FFF2-40B4-BE49-F238E27FC236}">
                <a16:creationId xmlns:a16="http://schemas.microsoft.com/office/drawing/2014/main" id="{03A486F9-D21F-43F2-9267-47B6ACAB3897}"/>
              </a:ext>
            </a:extLst>
          </p:cNvPr>
          <p:cNvSpPr txBox="1"/>
          <p:nvPr/>
        </p:nvSpPr>
        <p:spPr>
          <a:xfrm>
            <a:off x="6675211" y="5015985"/>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3</a:t>
            </a:r>
          </a:p>
        </p:txBody>
      </p:sp>
      <p:sp>
        <p:nvSpPr>
          <p:cNvPr id="27" name="TextBox 26">
            <a:extLst>
              <a:ext uri="{FF2B5EF4-FFF2-40B4-BE49-F238E27FC236}">
                <a16:creationId xmlns:a16="http://schemas.microsoft.com/office/drawing/2014/main" id="{EEA6E1D3-5C3B-4863-9561-7D0C513D65C2}"/>
              </a:ext>
            </a:extLst>
          </p:cNvPr>
          <p:cNvSpPr txBox="1"/>
          <p:nvPr/>
        </p:nvSpPr>
        <p:spPr>
          <a:xfrm>
            <a:off x="7232195" y="3625334"/>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2</a:t>
            </a:r>
          </a:p>
        </p:txBody>
      </p:sp>
      <p:graphicFrame>
        <p:nvGraphicFramePr>
          <p:cNvPr id="6" name="Таблица 5"/>
          <p:cNvGraphicFramePr>
            <a:graphicFrameLocks noGrp="1"/>
          </p:cNvGraphicFramePr>
          <p:nvPr>
            <p:extLst>
              <p:ext uri="{D42A27DB-BD31-4B8C-83A1-F6EECF244321}">
                <p14:modId xmlns:p14="http://schemas.microsoft.com/office/powerpoint/2010/main" val="893944242"/>
              </p:ext>
            </p:extLst>
          </p:nvPr>
        </p:nvGraphicFramePr>
        <p:xfrm>
          <a:off x="777091" y="1853932"/>
          <a:ext cx="10477719" cy="2739390"/>
        </p:xfrm>
        <a:graphic>
          <a:graphicData uri="http://schemas.openxmlformats.org/drawingml/2006/table">
            <a:tbl>
              <a:tblPr firstRow="1" firstCol="1" bandRow="1">
                <a:tableStyleId>{5C22544A-7EE6-4342-B048-85BDC9FD1C3A}</a:tableStyleId>
              </a:tblPr>
              <a:tblGrid>
                <a:gridCol w="358155">
                  <a:extLst>
                    <a:ext uri="{9D8B030D-6E8A-4147-A177-3AD203B41FA5}">
                      <a16:colId xmlns:a16="http://schemas.microsoft.com/office/drawing/2014/main" val="713493931"/>
                    </a:ext>
                  </a:extLst>
                </a:gridCol>
                <a:gridCol w="2038266">
                  <a:extLst>
                    <a:ext uri="{9D8B030D-6E8A-4147-A177-3AD203B41FA5}">
                      <a16:colId xmlns:a16="http://schemas.microsoft.com/office/drawing/2014/main" val="2288000393"/>
                    </a:ext>
                  </a:extLst>
                </a:gridCol>
                <a:gridCol w="4087934">
                  <a:extLst>
                    <a:ext uri="{9D8B030D-6E8A-4147-A177-3AD203B41FA5}">
                      <a16:colId xmlns:a16="http://schemas.microsoft.com/office/drawing/2014/main" val="2054657378"/>
                    </a:ext>
                  </a:extLst>
                </a:gridCol>
                <a:gridCol w="475528">
                  <a:extLst>
                    <a:ext uri="{9D8B030D-6E8A-4147-A177-3AD203B41FA5}">
                      <a16:colId xmlns:a16="http://schemas.microsoft.com/office/drawing/2014/main" val="2061531303"/>
                    </a:ext>
                  </a:extLst>
                </a:gridCol>
                <a:gridCol w="3517836">
                  <a:extLst>
                    <a:ext uri="{9D8B030D-6E8A-4147-A177-3AD203B41FA5}">
                      <a16:colId xmlns:a16="http://schemas.microsoft.com/office/drawing/2014/main" val="3088774532"/>
                    </a:ext>
                  </a:extLst>
                </a:gridCol>
              </a:tblGrid>
              <a:tr h="2675339">
                <a:tc>
                  <a:txBody>
                    <a:bodyPr/>
                    <a:lstStyle/>
                    <a:p>
                      <a:pPr algn="just">
                        <a:lnSpc>
                          <a:spcPct val="107000"/>
                        </a:lnSpc>
                        <a:spcAft>
                          <a:spcPts val="0"/>
                        </a:spcAft>
                      </a:pPr>
                      <a:r>
                        <a:rPr lang="uz-Cyrl-UZ" sz="1400">
                          <a:effectLst/>
                        </a:rPr>
                        <a:t>2</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5 муҳим ташаббус доирасидаги тўгаракларда фаол иштироки</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1. 5 ташаббус доирасидаги ҳар бир тўгаракдаги иштирок учун 4 баллгача баҳоланади.</a:t>
                      </a:r>
                      <a:endParaRPr lang="ru-RU" sz="1100">
                        <a:effectLst/>
                      </a:endParaRPr>
                    </a:p>
                    <a:p>
                      <a:pPr algn="just">
                        <a:lnSpc>
                          <a:spcPct val="107000"/>
                        </a:lnSpc>
                        <a:spcAft>
                          <a:spcPts val="0"/>
                        </a:spcAft>
                      </a:pPr>
                      <a:r>
                        <a:rPr lang="uz-Cyrl-UZ" sz="1400">
                          <a:effectLst/>
                        </a:rPr>
                        <a:t> 2. Маданият ва санъат йўналишидаги тўгаракларда иштирок учун – 4 балл;</a:t>
                      </a:r>
                      <a:endParaRPr lang="ru-RU" sz="1100">
                        <a:effectLst/>
                      </a:endParaRPr>
                    </a:p>
                    <a:p>
                      <a:pPr algn="just">
                        <a:lnSpc>
                          <a:spcPct val="107000"/>
                        </a:lnSpc>
                        <a:spcAft>
                          <a:spcPts val="0"/>
                        </a:spcAft>
                      </a:pPr>
                      <a:r>
                        <a:rPr lang="uz-Cyrl-UZ" sz="1400">
                          <a:effectLst/>
                        </a:rPr>
                        <a:t>3. Спорт йўналишида секцияларда иштирок учун – 4 балл;</a:t>
                      </a:r>
                      <a:endParaRPr lang="ru-RU" sz="1100">
                        <a:effectLst/>
                      </a:endParaRPr>
                    </a:p>
                    <a:p>
                      <a:pPr algn="just">
                        <a:lnSpc>
                          <a:spcPct val="107000"/>
                        </a:lnSpc>
                        <a:spcAft>
                          <a:spcPts val="0"/>
                        </a:spcAft>
                      </a:pPr>
                      <a:r>
                        <a:rPr lang="uz-Cyrl-UZ" sz="1400">
                          <a:effectLst/>
                        </a:rPr>
                        <a:t>4. Ахборот технологиялари йўналишида тўгаракларда иштирок учун – 4 балл;</a:t>
                      </a:r>
                      <a:endParaRPr lang="ru-RU" sz="1100">
                        <a:effectLst/>
                      </a:endParaRPr>
                    </a:p>
                    <a:p>
                      <a:pPr algn="just">
                        <a:lnSpc>
                          <a:spcPct val="107000"/>
                        </a:lnSpc>
                        <a:spcAft>
                          <a:spcPts val="0"/>
                        </a:spcAft>
                      </a:pPr>
                      <a:r>
                        <a:rPr lang="uz-Cyrl-UZ" sz="1400">
                          <a:effectLst/>
                        </a:rPr>
                        <a:t>5. Китобхонлик ва адабиёт йўналишида тўгаракларда иштирок учун – 4 балл;</a:t>
                      </a:r>
                      <a:endParaRPr lang="ru-RU" sz="1100">
                        <a:effectLst/>
                      </a:endParaRPr>
                    </a:p>
                    <a:p>
                      <a:pPr algn="just">
                        <a:lnSpc>
                          <a:spcPct val="107000"/>
                        </a:lnSpc>
                        <a:spcAft>
                          <a:spcPts val="0"/>
                        </a:spcAft>
                      </a:pPr>
                      <a:r>
                        <a:rPr lang="uz-Cyrl-UZ" sz="1400">
                          <a:effectLst/>
                        </a:rPr>
                        <a:t>6. Бандлик йўналишида</a:t>
                      </a:r>
                      <a:r>
                        <a:rPr lang="uz-Cyrl-UZ" sz="1200">
                          <a:effectLst/>
                        </a:rPr>
                        <a:t> </a:t>
                      </a:r>
                      <a:r>
                        <a:rPr lang="uz-Cyrl-UZ" sz="1400">
                          <a:effectLst/>
                        </a:rPr>
                        <a:t>тўгаракларда иштирок учун – 4 балл;</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20</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dirty="0">
                          <a:effectLst/>
                        </a:rPr>
                        <a:t>Ҳар семестр якунида талабанинг </a:t>
                      </a:r>
                      <a:br>
                        <a:rPr lang="uz-Cyrl-UZ" sz="1400" dirty="0">
                          <a:effectLst/>
                        </a:rPr>
                      </a:br>
                      <a:r>
                        <a:rPr lang="uz-Cyrl-UZ" sz="1400" dirty="0">
                          <a:effectLst/>
                        </a:rPr>
                        <a:t>5 ташаббус доирасида ташкил этилган тўгарак ва спорт секцияларидаги иштироки тўгарак раҳбарлари томонида юритиладиган журнал асосида платформага киритилади ва автоматик тарзда баҳоланади.</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204063664"/>
                  </a:ext>
                </a:extLst>
              </a:tr>
            </a:tbl>
          </a:graphicData>
        </a:graphic>
      </p:graphicFrame>
    </p:spTree>
    <p:extLst>
      <p:ext uri="{BB962C8B-B14F-4D97-AF65-F5344CB8AC3E}">
        <p14:creationId xmlns:p14="http://schemas.microsoft.com/office/powerpoint/2010/main" val="8661663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17B9E7-01E9-42D5-8F5D-E014825C78C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6" imgW="351" imgH="351" progId="TCLayout.ActiveDocument.1">
                  <p:embed/>
                </p:oleObj>
              </mc:Choice>
              <mc:Fallback>
                <p:oleObj name="think-cell Slide" r:id="rId6" imgW="351" imgH="351" progId="TCLayout.ActiveDocument.1">
                  <p:embed/>
                  <p:pic>
                    <p:nvPicPr>
                      <p:cNvPr id="4" name="Object 3" hidden="1">
                        <a:extLst>
                          <a:ext uri="{FF2B5EF4-FFF2-40B4-BE49-F238E27FC236}">
                            <a16:creationId xmlns:a16="http://schemas.microsoft.com/office/drawing/2014/main" id="{BD17B9E7-01E9-42D5-8F5D-E014825C78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27F9D39-406C-47E5-89D6-F081726E66A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7021FE75-C335-4112-9A8E-80A794B675BF}"/>
              </a:ext>
            </a:extLst>
          </p:cNvPr>
          <p:cNvSpPr>
            <a:spLocks noGrp="1"/>
          </p:cNvSpPr>
          <p:nvPr>
            <p:ph type="title"/>
          </p:nvPr>
        </p:nvSpPr>
        <p:spPr/>
        <p:txBody>
          <a:bodyPr/>
          <a:lstStyle/>
          <a:p>
            <a:r>
              <a:rPr lang="ru-RU" b="1" dirty="0" err="1" smtClean="0"/>
              <a:t>Баҳолаш</a:t>
            </a:r>
            <a:r>
              <a:rPr lang="ru-RU" b="1" dirty="0" smtClean="0"/>
              <a:t> </a:t>
            </a:r>
            <a:r>
              <a:rPr lang="ru-RU" b="1" dirty="0" err="1" smtClean="0"/>
              <a:t>механизмлари</a:t>
            </a:r>
            <a:endParaRPr lang="en-ID" b="1" dirty="0"/>
          </a:p>
        </p:txBody>
      </p:sp>
      <p:sp>
        <p:nvSpPr>
          <p:cNvPr id="25" name="TextBox 24">
            <a:extLst>
              <a:ext uri="{FF2B5EF4-FFF2-40B4-BE49-F238E27FC236}">
                <a16:creationId xmlns:a16="http://schemas.microsoft.com/office/drawing/2014/main" id="{D98FD0C8-9116-4132-BDF9-A5186FAADD1A}"/>
              </a:ext>
            </a:extLst>
          </p:cNvPr>
          <p:cNvSpPr txBox="1"/>
          <p:nvPr/>
        </p:nvSpPr>
        <p:spPr>
          <a:xfrm>
            <a:off x="6675211" y="2234683"/>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1</a:t>
            </a:r>
          </a:p>
        </p:txBody>
      </p:sp>
      <p:sp>
        <p:nvSpPr>
          <p:cNvPr id="26" name="TextBox 25">
            <a:extLst>
              <a:ext uri="{FF2B5EF4-FFF2-40B4-BE49-F238E27FC236}">
                <a16:creationId xmlns:a16="http://schemas.microsoft.com/office/drawing/2014/main" id="{03A486F9-D21F-43F2-9267-47B6ACAB3897}"/>
              </a:ext>
            </a:extLst>
          </p:cNvPr>
          <p:cNvSpPr txBox="1"/>
          <p:nvPr/>
        </p:nvSpPr>
        <p:spPr>
          <a:xfrm>
            <a:off x="6675211" y="5015985"/>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3</a:t>
            </a:r>
          </a:p>
        </p:txBody>
      </p:sp>
      <p:sp>
        <p:nvSpPr>
          <p:cNvPr id="27" name="TextBox 26">
            <a:extLst>
              <a:ext uri="{FF2B5EF4-FFF2-40B4-BE49-F238E27FC236}">
                <a16:creationId xmlns:a16="http://schemas.microsoft.com/office/drawing/2014/main" id="{EEA6E1D3-5C3B-4863-9561-7D0C513D65C2}"/>
              </a:ext>
            </a:extLst>
          </p:cNvPr>
          <p:cNvSpPr txBox="1"/>
          <p:nvPr/>
        </p:nvSpPr>
        <p:spPr>
          <a:xfrm>
            <a:off x="7232195" y="3625334"/>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2</a:t>
            </a:r>
          </a:p>
        </p:txBody>
      </p:sp>
      <p:graphicFrame>
        <p:nvGraphicFramePr>
          <p:cNvPr id="5" name="Таблица 4"/>
          <p:cNvGraphicFramePr>
            <a:graphicFrameLocks noGrp="1"/>
          </p:cNvGraphicFramePr>
          <p:nvPr>
            <p:extLst>
              <p:ext uri="{D42A27DB-BD31-4B8C-83A1-F6EECF244321}">
                <p14:modId xmlns:p14="http://schemas.microsoft.com/office/powerpoint/2010/main" val="2946477209"/>
              </p:ext>
            </p:extLst>
          </p:nvPr>
        </p:nvGraphicFramePr>
        <p:xfrm>
          <a:off x="1136015" y="1765553"/>
          <a:ext cx="9919970" cy="4088893"/>
        </p:xfrm>
        <a:graphic>
          <a:graphicData uri="http://schemas.openxmlformats.org/drawingml/2006/table">
            <a:tbl>
              <a:tblPr firstRow="1" firstCol="1" bandRow="1">
                <a:tableStyleId>{5C22544A-7EE6-4342-B048-85BDC9FD1C3A}</a:tableStyleId>
              </a:tblPr>
              <a:tblGrid>
                <a:gridCol w="339090">
                  <a:extLst>
                    <a:ext uri="{9D8B030D-6E8A-4147-A177-3AD203B41FA5}">
                      <a16:colId xmlns:a16="http://schemas.microsoft.com/office/drawing/2014/main" val="3711590527"/>
                    </a:ext>
                  </a:extLst>
                </a:gridCol>
                <a:gridCol w="1929765">
                  <a:extLst>
                    <a:ext uri="{9D8B030D-6E8A-4147-A177-3AD203B41FA5}">
                      <a16:colId xmlns:a16="http://schemas.microsoft.com/office/drawing/2014/main" val="1126771906"/>
                    </a:ext>
                  </a:extLst>
                </a:gridCol>
                <a:gridCol w="3870325">
                  <a:extLst>
                    <a:ext uri="{9D8B030D-6E8A-4147-A177-3AD203B41FA5}">
                      <a16:colId xmlns:a16="http://schemas.microsoft.com/office/drawing/2014/main" val="3637840939"/>
                    </a:ext>
                  </a:extLst>
                </a:gridCol>
                <a:gridCol w="450215">
                  <a:extLst>
                    <a:ext uri="{9D8B030D-6E8A-4147-A177-3AD203B41FA5}">
                      <a16:colId xmlns:a16="http://schemas.microsoft.com/office/drawing/2014/main" val="2930902897"/>
                    </a:ext>
                  </a:extLst>
                </a:gridCol>
                <a:gridCol w="3330575">
                  <a:extLst>
                    <a:ext uri="{9D8B030D-6E8A-4147-A177-3AD203B41FA5}">
                      <a16:colId xmlns:a16="http://schemas.microsoft.com/office/drawing/2014/main" val="2134503528"/>
                    </a:ext>
                  </a:extLst>
                </a:gridCol>
              </a:tblGrid>
              <a:tr h="0">
                <a:tc>
                  <a:txBody>
                    <a:bodyPr/>
                    <a:lstStyle/>
                    <a:p>
                      <a:pPr algn="just">
                        <a:lnSpc>
                          <a:spcPct val="107000"/>
                        </a:lnSpc>
                        <a:spcAft>
                          <a:spcPts val="0"/>
                        </a:spcAft>
                      </a:pPr>
                      <a:r>
                        <a:rPr lang="uz-Cyrl-UZ" sz="1400">
                          <a:effectLst/>
                        </a:rPr>
                        <a:t>3</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Талабанинг академик ўзлаштириши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1. Талабанинг барча фанлардан ўзлаштириш кўрсаткичлари – максимал 10 баллгача баҳоланади. </a:t>
                      </a:r>
                      <a:endParaRPr lang="ru-RU" sz="1100">
                        <a:effectLst/>
                      </a:endParaRPr>
                    </a:p>
                    <a:p>
                      <a:pPr algn="just">
                        <a:lnSpc>
                          <a:spcPct val="107000"/>
                        </a:lnSpc>
                        <a:spcAft>
                          <a:spcPts val="0"/>
                        </a:spcAft>
                      </a:pPr>
                      <a:r>
                        <a:rPr lang="uz-Cyrl-UZ" sz="1400">
                          <a:effectLst/>
                        </a:rPr>
                        <a:t>2. Ўзлаштириш кўрсаткичи 86-100 гача бўлганда 10-балл берилади.</a:t>
                      </a:r>
                      <a:endParaRPr lang="ru-RU" sz="1100">
                        <a:effectLst/>
                      </a:endParaRPr>
                    </a:p>
                    <a:p>
                      <a:pPr algn="just">
                        <a:lnSpc>
                          <a:spcPct val="107000"/>
                        </a:lnSpc>
                        <a:spcAft>
                          <a:spcPts val="0"/>
                        </a:spcAft>
                      </a:pPr>
                      <a:r>
                        <a:rPr lang="uz-Cyrl-UZ" sz="1400">
                          <a:effectLst/>
                        </a:rPr>
                        <a:t>3. 71-86 гача бўлганда 5 балл берилади; </a:t>
                      </a:r>
                      <a:endParaRPr lang="ru-RU" sz="1100">
                        <a:effectLst/>
                      </a:endParaRPr>
                    </a:p>
                    <a:p>
                      <a:pPr algn="just">
                        <a:lnSpc>
                          <a:spcPct val="107000"/>
                        </a:lnSpc>
                        <a:spcAft>
                          <a:spcPts val="0"/>
                        </a:spcAft>
                      </a:pPr>
                      <a:r>
                        <a:rPr lang="uz-Cyrl-UZ" sz="1400">
                          <a:effectLst/>
                        </a:rPr>
                        <a:t>4. 55-70 гача бўлганда 3 балл берилади;</a:t>
                      </a:r>
                      <a:endParaRPr lang="ru-RU" sz="1100">
                        <a:effectLst/>
                      </a:endParaRPr>
                    </a:p>
                    <a:p>
                      <a:pPr algn="just">
                        <a:lnSpc>
                          <a:spcPct val="107000"/>
                        </a:lnSpc>
                        <a:spcAft>
                          <a:spcPts val="0"/>
                        </a:spcAft>
                      </a:pPr>
                      <a:r>
                        <a:rPr lang="uz-Cyrl-UZ" sz="1400">
                          <a:effectLst/>
                        </a:rPr>
                        <a:t>5. 55 дан паст бўлганда балл берилмайди.</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10</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Платформа HEMIS дастурига интеграция қилинади ва шу орқали талабанинг ўзлаштириш кўрсаткичлари олиниб, ҳар семестр якуни бўйича баллар автоматик тарзда қўйиб борилади.</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61204926"/>
                  </a:ext>
                </a:extLst>
              </a:tr>
              <a:tr h="0">
                <a:tc>
                  <a:txBody>
                    <a:bodyPr/>
                    <a:lstStyle/>
                    <a:p>
                      <a:pPr algn="just">
                        <a:lnSpc>
                          <a:spcPct val="107000"/>
                        </a:lnSpc>
                        <a:spcAft>
                          <a:spcPts val="0"/>
                        </a:spcAft>
                      </a:pPr>
                      <a:r>
                        <a:rPr lang="uz-Cyrl-UZ" sz="1400">
                          <a:effectLst/>
                        </a:rPr>
                        <a:t>4</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dirty="0">
                          <a:effectLst/>
                        </a:rPr>
                        <a:t>Талабанинг ОТМ ички тартиб қоидалари ва Одоб-ахлоқ кодексига риоя этиши</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1. Кийиниш маданияти (дресскод) талабларига риоя этиши - 5 баллгача;</a:t>
                      </a:r>
                      <a:endParaRPr lang="ru-RU" sz="1100">
                        <a:effectLst/>
                      </a:endParaRPr>
                    </a:p>
                    <a:p>
                      <a:pPr algn="just">
                        <a:lnSpc>
                          <a:spcPct val="107000"/>
                        </a:lnSpc>
                        <a:spcAft>
                          <a:spcPts val="0"/>
                        </a:spcAft>
                      </a:pPr>
                      <a:r>
                        <a:rPr lang="uz-Cyrl-UZ" sz="1400">
                          <a:effectLst/>
                        </a:rPr>
                        <a:t>2. Одоб-ахлоқ кодексида белгиланган талабларга риоя этиши 5 баллгача баҳоланади.</a:t>
                      </a:r>
                      <a:endParaRPr lang="ru-RU" sz="1100">
                        <a:effectLst/>
                      </a:endParaRPr>
                    </a:p>
                    <a:p>
                      <a:pPr algn="just">
                        <a:lnSpc>
                          <a:spcPct val="107000"/>
                        </a:lnSpc>
                        <a:spcAft>
                          <a:spcPts val="0"/>
                        </a:spcAft>
                      </a:pPr>
                      <a:r>
                        <a:rPr lang="uz-Cyrl-UZ" sz="1400">
                          <a:effectLst/>
                        </a:rPr>
                        <a:t>Талабанинг дресскод қоидаларини бузмаслиги, Одоб-ахлоқ кодексида белгиланган талабларга риоя этиши унинг максимал балл олишини кафолатлайди.</a:t>
                      </a:r>
                      <a:endParaRPr lang="ru-RU" sz="1100">
                        <a:effectLst/>
                      </a:endParaRPr>
                    </a:p>
                    <a:p>
                      <a:pPr algn="just">
                        <a:lnSpc>
                          <a:spcPct val="107000"/>
                        </a:lnSpc>
                        <a:spcAft>
                          <a:spcPts val="0"/>
                        </a:spcAft>
                      </a:pPr>
                      <a:r>
                        <a:rPr lang="uz-Cyrl-UZ" sz="1400">
                          <a:effectLst/>
                        </a:rPr>
                        <a:t>Ушбу талабалар бузилган тақдирда талабага балл берилмайди.</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10</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dirty="0">
                          <a:effectLst/>
                        </a:rPr>
                        <a:t>«Ижтимоий фаоллик» платформасига ҳар ҳафта 1 маротаба талабанинг кийиниш маданияти (дресскод), одоб-ахлоқ кодексида белгиланган талабларга риоя этиши тьютор томонидан (4 ва ундан юқори курсларда декан ўринбосари) баҳоланди ва тегишли балл қўйилади. “Одоб ахлоқ комиссияси” хулоса берган тақдирда баҳолашда тўлиқ инобатга олинади.</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88408235"/>
                  </a:ext>
                </a:extLst>
              </a:tr>
            </a:tbl>
          </a:graphicData>
        </a:graphic>
      </p:graphicFrame>
    </p:spTree>
    <p:extLst>
      <p:ext uri="{BB962C8B-B14F-4D97-AF65-F5344CB8AC3E}">
        <p14:creationId xmlns:p14="http://schemas.microsoft.com/office/powerpoint/2010/main" val="29840917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17B9E7-01E9-42D5-8F5D-E014825C78C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6" imgW="351" imgH="351" progId="TCLayout.ActiveDocument.1">
                  <p:embed/>
                </p:oleObj>
              </mc:Choice>
              <mc:Fallback>
                <p:oleObj name="think-cell Slide" r:id="rId6" imgW="351" imgH="351" progId="TCLayout.ActiveDocument.1">
                  <p:embed/>
                  <p:pic>
                    <p:nvPicPr>
                      <p:cNvPr id="4" name="Object 3" hidden="1">
                        <a:extLst>
                          <a:ext uri="{FF2B5EF4-FFF2-40B4-BE49-F238E27FC236}">
                            <a16:creationId xmlns:a16="http://schemas.microsoft.com/office/drawing/2014/main" id="{BD17B9E7-01E9-42D5-8F5D-E014825C78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27F9D39-406C-47E5-89D6-F081726E66A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7021FE75-C335-4112-9A8E-80A794B675BF}"/>
              </a:ext>
            </a:extLst>
          </p:cNvPr>
          <p:cNvSpPr>
            <a:spLocks noGrp="1"/>
          </p:cNvSpPr>
          <p:nvPr>
            <p:ph type="title"/>
          </p:nvPr>
        </p:nvSpPr>
        <p:spPr/>
        <p:txBody>
          <a:bodyPr/>
          <a:lstStyle/>
          <a:p>
            <a:r>
              <a:rPr lang="ru-RU" b="1" dirty="0" err="1" smtClean="0"/>
              <a:t>Баҳолаш</a:t>
            </a:r>
            <a:r>
              <a:rPr lang="ru-RU" b="1" dirty="0" smtClean="0"/>
              <a:t> </a:t>
            </a:r>
            <a:r>
              <a:rPr lang="ru-RU" b="1" dirty="0" err="1" smtClean="0"/>
              <a:t>механизмлари</a:t>
            </a:r>
            <a:endParaRPr lang="en-ID" b="1" dirty="0"/>
          </a:p>
        </p:txBody>
      </p:sp>
      <p:sp>
        <p:nvSpPr>
          <p:cNvPr id="25" name="TextBox 24">
            <a:extLst>
              <a:ext uri="{FF2B5EF4-FFF2-40B4-BE49-F238E27FC236}">
                <a16:creationId xmlns:a16="http://schemas.microsoft.com/office/drawing/2014/main" id="{D98FD0C8-9116-4132-BDF9-A5186FAADD1A}"/>
              </a:ext>
            </a:extLst>
          </p:cNvPr>
          <p:cNvSpPr txBox="1"/>
          <p:nvPr/>
        </p:nvSpPr>
        <p:spPr>
          <a:xfrm>
            <a:off x="6675211" y="2234683"/>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1</a:t>
            </a:r>
          </a:p>
        </p:txBody>
      </p:sp>
      <p:sp>
        <p:nvSpPr>
          <p:cNvPr id="26" name="TextBox 25">
            <a:extLst>
              <a:ext uri="{FF2B5EF4-FFF2-40B4-BE49-F238E27FC236}">
                <a16:creationId xmlns:a16="http://schemas.microsoft.com/office/drawing/2014/main" id="{03A486F9-D21F-43F2-9267-47B6ACAB3897}"/>
              </a:ext>
            </a:extLst>
          </p:cNvPr>
          <p:cNvSpPr txBox="1"/>
          <p:nvPr/>
        </p:nvSpPr>
        <p:spPr>
          <a:xfrm>
            <a:off x="6675211" y="5015985"/>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3</a:t>
            </a:r>
          </a:p>
        </p:txBody>
      </p:sp>
      <p:sp>
        <p:nvSpPr>
          <p:cNvPr id="27" name="TextBox 26">
            <a:extLst>
              <a:ext uri="{FF2B5EF4-FFF2-40B4-BE49-F238E27FC236}">
                <a16:creationId xmlns:a16="http://schemas.microsoft.com/office/drawing/2014/main" id="{EEA6E1D3-5C3B-4863-9561-7D0C513D65C2}"/>
              </a:ext>
            </a:extLst>
          </p:cNvPr>
          <p:cNvSpPr txBox="1"/>
          <p:nvPr/>
        </p:nvSpPr>
        <p:spPr>
          <a:xfrm>
            <a:off x="7232195" y="3625334"/>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2</a:t>
            </a:r>
          </a:p>
        </p:txBody>
      </p:sp>
      <p:graphicFrame>
        <p:nvGraphicFramePr>
          <p:cNvPr id="6" name="Таблица 5"/>
          <p:cNvGraphicFramePr>
            <a:graphicFrameLocks noGrp="1"/>
          </p:cNvGraphicFramePr>
          <p:nvPr>
            <p:extLst>
              <p:ext uri="{D42A27DB-BD31-4B8C-83A1-F6EECF244321}">
                <p14:modId xmlns:p14="http://schemas.microsoft.com/office/powerpoint/2010/main" val="4145433906"/>
              </p:ext>
            </p:extLst>
          </p:nvPr>
        </p:nvGraphicFramePr>
        <p:xfrm>
          <a:off x="1145136" y="1579563"/>
          <a:ext cx="9357645" cy="4415346"/>
        </p:xfrm>
        <a:graphic>
          <a:graphicData uri="http://schemas.openxmlformats.org/drawingml/2006/table">
            <a:tbl>
              <a:tblPr firstRow="1" firstCol="1" bandRow="1">
                <a:tableStyleId>{5C22544A-7EE6-4342-B048-85BDC9FD1C3A}</a:tableStyleId>
              </a:tblPr>
              <a:tblGrid>
                <a:gridCol w="319868">
                  <a:extLst>
                    <a:ext uri="{9D8B030D-6E8A-4147-A177-3AD203B41FA5}">
                      <a16:colId xmlns:a16="http://schemas.microsoft.com/office/drawing/2014/main" val="1505633843"/>
                    </a:ext>
                  </a:extLst>
                </a:gridCol>
                <a:gridCol w="1820374">
                  <a:extLst>
                    <a:ext uri="{9D8B030D-6E8A-4147-A177-3AD203B41FA5}">
                      <a16:colId xmlns:a16="http://schemas.microsoft.com/office/drawing/2014/main" val="3223079844"/>
                    </a:ext>
                  </a:extLst>
                </a:gridCol>
                <a:gridCol w="3650931">
                  <a:extLst>
                    <a:ext uri="{9D8B030D-6E8A-4147-A177-3AD203B41FA5}">
                      <a16:colId xmlns:a16="http://schemas.microsoft.com/office/drawing/2014/main" val="3627690306"/>
                    </a:ext>
                  </a:extLst>
                </a:gridCol>
                <a:gridCol w="424694">
                  <a:extLst>
                    <a:ext uri="{9D8B030D-6E8A-4147-A177-3AD203B41FA5}">
                      <a16:colId xmlns:a16="http://schemas.microsoft.com/office/drawing/2014/main" val="1209639056"/>
                    </a:ext>
                  </a:extLst>
                </a:gridCol>
                <a:gridCol w="3141778">
                  <a:extLst>
                    <a:ext uri="{9D8B030D-6E8A-4147-A177-3AD203B41FA5}">
                      <a16:colId xmlns:a16="http://schemas.microsoft.com/office/drawing/2014/main" val="1401068520"/>
                    </a:ext>
                  </a:extLst>
                </a:gridCol>
              </a:tblGrid>
              <a:tr h="2262696">
                <a:tc>
                  <a:txBody>
                    <a:bodyPr/>
                    <a:lstStyle/>
                    <a:p>
                      <a:pPr algn="just">
                        <a:lnSpc>
                          <a:spcPct val="107000"/>
                        </a:lnSpc>
                        <a:spcAft>
                          <a:spcPts val="0"/>
                        </a:spcAft>
                      </a:pPr>
                      <a:r>
                        <a:rPr lang="uz-Cyrl-UZ" sz="1100">
                          <a:effectLst/>
                        </a:rPr>
                        <a:t>5</a:t>
                      </a:r>
                      <a:endParaRPr lang="ru-RU" sz="800">
                        <a:effectLst/>
                        <a:latin typeface="Calibri" panose="020F0502020204030204" pitchFamily="34" charset="0"/>
                        <a:ea typeface="Calibri" panose="020F0502020204030204" pitchFamily="34" charset="0"/>
                        <a:cs typeface="Times New Roman" panose="02020603050405020304" pitchFamily="18" charset="0"/>
                      </a:endParaRPr>
                    </a:p>
                  </a:txBody>
                  <a:tcPr marL="52289" marR="52289" marT="0" marB="0"/>
                </a:tc>
                <a:tc>
                  <a:txBody>
                    <a:bodyPr/>
                    <a:lstStyle/>
                    <a:p>
                      <a:pPr algn="just">
                        <a:lnSpc>
                          <a:spcPct val="107000"/>
                        </a:lnSpc>
                        <a:spcAft>
                          <a:spcPts val="0"/>
                        </a:spcAft>
                      </a:pPr>
                      <a:r>
                        <a:rPr lang="uz-Cyrl-UZ" sz="1100">
                          <a:effectLst/>
                        </a:rPr>
                        <a:t>Халқаро, Республика, вилоят миқёсдаги кўрик-танлов, фан олимпиадалари ва спорт мусобақаларида эришган натижалари </a:t>
                      </a:r>
                      <a:endParaRPr lang="ru-RU" sz="800">
                        <a:effectLst/>
                        <a:latin typeface="Calibri" panose="020F0502020204030204" pitchFamily="34" charset="0"/>
                        <a:ea typeface="Calibri" panose="020F0502020204030204" pitchFamily="34" charset="0"/>
                        <a:cs typeface="Times New Roman" panose="02020603050405020304" pitchFamily="18" charset="0"/>
                      </a:endParaRPr>
                    </a:p>
                  </a:txBody>
                  <a:tcPr marL="52289" marR="52289" marT="0" marB="0"/>
                </a:tc>
                <a:tc>
                  <a:txBody>
                    <a:bodyPr/>
                    <a:lstStyle/>
                    <a:p>
                      <a:pPr algn="just">
                        <a:lnSpc>
                          <a:spcPct val="107000"/>
                        </a:lnSpc>
                        <a:spcAft>
                          <a:spcPts val="0"/>
                        </a:spcAft>
                      </a:pPr>
                      <a:r>
                        <a:rPr lang="uz-Cyrl-UZ" sz="1100">
                          <a:effectLst/>
                        </a:rPr>
                        <a:t>1. Таълим муассасаси босқичида 1, 2, 3-ўрин эгаллаган талабалар мос равишда 1, 3-балл билан баҳоланади;</a:t>
                      </a:r>
                      <a:endParaRPr lang="ru-RU" sz="800">
                        <a:effectLst/>
                      </a:endParaRPr>
                    </a:p>
                    <a:p>
                      <a:pPr algn="just">
                        <a:lnSpc>
                          <a:spcPct val="107000"/>
                        </a:lnSpc>
                        <a:spcAft>
                          <a:spcPts val="0"/>
                        </a:spcAft>
                      </a:pPr>
                      <a:r>
                        <a:rPr lang="uz-Cyrl-UZ" sz="1100">
                          <a:effectLst/>
                        </a:rPr>
                        <a:t>2. Вилоят, ҳудудий босқичларда 1, 2, 3-ўрин эгаллаган талабалар мос равишда 4-6 балл билан баҳоланади.</a:t>
                      </a:r>
                      <a:endParaRPr lang="ru-RU" sz="800">
                        <a:effectLst/>
                      </a:endParaRPr>
                    </a:p>
                    <a:p>
                      <a:pPr algn="just">
                        <a:lnSpc>
                          <a:spcPct val="107000"/>
                        </a:lnSpc>
                        <a:spcAft>
                          <a:spcPts val="0"/>
                        </a:spcAft>
                      </a:pPr>
                      <a:r>
                        <a:rPr lang="uz-Cyrl-UZ" sz="1100">
                          <a:effectLst/>
                        </a:rPr>
                        <a:t>3. Республика босқичда 1, 2, 3-ўрин эгаллаган талабалар мос равишда 7-9 балл билан баҳоланади.</a:t>
                      </a:r>
                      <a:endParaRPr lang="ru-RU" sz="800">
                        <a:effectLst/>
                      </a:endParaRPr>
                    </a:p>
                    <a:p>
                      <a:pPr algn="just">
                        <a:lnSpc>
                          <a:spcPct val="107000"/>
                        </a:lnSpc>
                        <a:spcAft>
                          <a:spcPts val="0"/>
                        </a:spcAft>
                      </a:pPr>
                      <a:r>
                        <a:rPr lang="uz-Cyrl-UZ" sz="1100">
                          <a:effectLst/>
                        </a:rPr>
                        <a:t>4. Халқаро миқёсда  1, 2, 3-ўрин эгаллаган талабалар 10 балл билан баҳоланади.</a:t>
                      </a:r>
                      <a:endParaRPr lang="ru-RU" sz="800">
                        <a:effectLst/>
                        <a:latin typeface="Calibri" panose="020F0502020204030204" pitchFamily="34" charset="0"/>
                        <a:ea typeface="Calibri" panose="020F0502020204030204" pitchFamily="34" charset="0"/>
                        <a:cs typeface="Times New Roman" panose="02020603050405020304" pitchFamily="18" charset="0"/>
                      </a:endParaRPr>
                    </a:p>
                  </a:txBody>
                  <a:tcPr marL="52289" marR="52289" marT="0" marB="0"/>
                </a:tc>
                <a:tc>
                  <a:txBody>
                    <a:bodyPr/>
                    <a:lstStyle/>
                    <a:p>
                      <a:pPr algn="just">
                        <a:lnSpc>
                          <a:spcPct val="107000"/>
                        </a:lnSpc>
                        <a:spcAft>
                          <a:spcPts val="0"/>
                        </a:spcAft>
                      </a:pPr>
                      <a:r>
                        <a:rPr lang="uz-Cyrl-UZ" sz="1100">
                          <a:effectLst/>
                        </a:rPr>
                        <a:t>10</a:t>
                      </a:r>
                      <a:endParaRPr lang="ru-RU" sz="800">
                        <a:effectLst/>
                        <a:latin typeface="Calibri" panose="020F0502020204030204" pitchFamily="34" charset="0"/>
                        <a:ea typeface="Calibri" panose="020F0502020204030204" pitchFamily="34" charset="0"/>
                        <a:cs typeface="Times New Roman" panose="02020603050405020304" pitchFamily="18" charset="0"/>
                      </a:endParaRPr>
                    </a:p>
                  </a:txBody>
                  <a:tcPr marL="52289" marR="52289" marT="0" marB="0"/>
                </a:tc>
                <a:tc>
                  <a:txBody>
                    <a:bodyPr/>
                    <a:lstStyle/>
                    <a:p>
                      <a:pPr algn="just">
                        <a:lnSpc>
                          <a:spcPct val="107000"/>
                        </a:lnSpc>
                        <a:spcAft>
                          <a:spcPts val="0"/>
                        </a:spcAft>
                      </a:pPr>
                      <a:r>
                        <a:rPr lang="uz-Cyrl-UZ" sz="1100">
                          <a:effectLst/>
                        </a:rPr>
                        <a:t>Вазирлик, олий таълим муассасалари томонидан ўтказиладиган кўрик-танловлар, фан олимпиадалари ва спорт мусобақалари рўйхати шакллантирилади ва платформага жойлаштирилади.</a:t>
                      </a:r>
                      <a:endParaRPr lang="ru-RU" sz="800">
                        <a:effectLst/>
                      </a:endParaRPr>
                    </a:p>
                    <a:p>
                      <a:pPr algn="just">
                        <a:lnSpc>
                          <a:spcPct val="107000"/>
                        </a:lnSpc>
                        <a:spcAft>
                          <a:spcPts val="0"/>
                        </a:spcAft>
                      </a:pPr>
                      <a:r>
                        <a:rPr lang="uz-Cyrl-UZ" sz="1100">
                          <a:effectLst/>
                        </a:rPr>
                        <a:t>Баллар ушбу рўйхатга киритилган кўрик-танловлар асосида берилади.</a:t>
                      </a:r>
                      <a:endParaRPr lang="ru-RU" sz="800">
                        <a:effectLst/>
                      </a:endParaRPr>
                    </a:p>
                    <a:p>
                      <a:pPr algn="just">
                        <a:lnSpc>
                          <a:spcPct val="107000"/>
                        </a:lnSpc>
                        <a:spcAft>
                          <a:spcPts val="0"/>
                        </a:spcAft>
                      </a:pPr>
                      <a:r>
                        <a:rPr lang="uz-Cyrl-UZ" sz="1100">
                          <a:effectLst/>
                        </a:rPr>
                        <a:t>Ғолиб бўлган талабалар асословчи ҳужжат (диплом, сертификат) платформага юклайди ва ҳар семестр якунида юкланган ҳужжатлар тьюторлар томонидан ўрганилиб, баллар шакллантирилади.</a:t>
                      </a:r>
                      <a:endParaRPr lang="ru-RU" sz="800">
                        <a:effectLst/>
                        <a:latin typeface="Calibri" panose="020F0502020204030204" pitchFamily="34" charset="0"/>
                        <a:ea typeface="Calibri" panose="020F0502020204030204" pitchFamily="34" charset="0"/>
                        <a:cs typeface="Times New Roman" panose="02020603050405020304" pitchFamily="18" charset="0"/>
                      </a:endParaRPr>
                    </a:p>
                  </a:txBody>
                  <a:tcPr marL="52289" marR="52289" marT="0" marB="0"/>
                </a:tc>
                <a:extLst>
                  <a:ext uri="{0D108BD9-81ED-4DB2-BD59-A6C34878D82A}">
                    <a16:rowId xmlns:a16="http://schemas.microsoft.com/office/drawing/2014/main" val="2050514398"/>
                  </a:ext>
                </a:extLst>
              </a:tr>
              <a:tr h="2088642">
                <a:tc>
                  <a:txBody>
                    <a:bodyPr/>
                    <a:lstStyle/>
                    <a:p>
                      <a:pPr algn="just">
                        <a:lnSpc>
                          <a:spcPct val="107000"/>
                        </a:lnSpc>
                        <a:spcAft>
                          <a:spcPts val="0"/>
                        </a:spcAft>
                      </a:pPr>
                      <a:r>
                        <a:rPr lang="uz-Cyrl-UZ" sz="1100">
                          <a:effectLst/>
                        </a:rPr>
                        <a:t>6</a:t>
                      </a:r>
                      <a:endParaRPr lang="ru-RU" sz="800">
                        <a:effectLst/>
                        <a:latin typeface="Calibri" panose="020F0502020204030204" pitchFamily="34" charset="0"/>
                        <a:ea typeface="Calibri" panose="020F0502020204030204" pitchFamily="34" charset="0"/>
                        <a:cs typeface="Times New Roman" panose="02020603050405020304" pitchFamily="18" charset="0"/>
                      </a:endParaRPr>
                    </a:p>
                  </a:txBody>
                  <a:tcPr marL="52289" marR="52289" marT="0" marB="0"/>
                </a:tc>
                <a:tc>
                  <a:txBody>
                    <a:bodyPr/>
                    <a:lstStyle/>
                    <a:p>
                      <a:pPr algn="just">
                        <a:lnSpc>
                          <a:spcPct val="107000"/>
                        </a:lnSpc>
                        <a:spcAft>
                          <a:spcPts val="0"/>
                        </a:spcAft>
                      </a:pPr>
                      <a:r>
                        <a:rPr lang="uz-Cyrl-UZ" sz="1100">
                          <a:effectLst/>
                        </a:rPr>
                        <a:t>Талабанинг дарсларга тўлиқ, кечикмасдан келиши</a:t>
                      </a:r>
                      <a:endParaRPr lang="ru-RU" sz="800">
                        <a:effectLst/>
                        <a:latin typeface="Calibri" panose="020F0502020204030204" pitchFamily="34" charset="0"/>
                        <a:ea typeface="Calibri" panose="020F0502020204030204" pitchFamily="34" charset="0"/>
                        <a:cs typeface="Times New Roman" panose="02020603050405020304" pitchFamily="18" charset="0"/>
                      </a:endParaRPr>
                    </a:p>
                  </a:txBody>
                  <a:tcPr marL="52289" marR="52289" marT="0" marB="0"/>
                </a:tc>
                <a:tc>
                  <a:txBody>
                    <a:bodyPr/>
                    <a:lstStyle/>
                    <a:p>
                      <a:pPr algn="just">
                        <a:lnSpc>
                          <a:spcPct val="107000"/>
                        </a:lnSpc>
                        <a:spcAft>
                          <a:spcPts val="0"/>
                        </a:spcAft>
                      </a:pPr>
                      <a:r>
                        <a:rPr lang="uz-Cyrl-UZ" sz="1100">
                          <a:effectLst/>
                        </a:rPr>
                        <a:t>Талабанинг дарсларга тўлиқ иштироки (давомати) кунлик таҳлили амалга оширилади.</a:t>
                      </a:r>
                      <a:endParaRPr lang="ru-RU" sz="800">
                        <a:effectLst/>
                      </a:endParaRPr>
                    </a:p>
                    <a:p>
                      <a:pPr algn="just">
                        <a:lnSpc>
                          <a:spcPct val="107000"/>
                        </a:lnSpc>
                        <a:spcAft>
                          <a:spcPts val="0"/>
                        </a:spcAft>
                      </a:pPr>
                      <a:r>
                        <a:rPr lang="uz-Cyrl-UZ" sz="1100">
                          <a:effectLst/>
                        </a:rPr>
                        <a:t>1. 1 семестр давомида сабабли равишда </a:t>
                      </a:r>
                      <a:br>
                        <a:rPr lang="uz-Cyrl-UZ" sz="1100">
                          <a:effectLst/>
                        </a:rPr>
                      </a:br>
                      <a:r>
                        <a:rPr lang="uz-Cyrl-UZ" sz="1100">
                          <a:effectLst/>
                        </a:rPr>
                        <a:t>10 соатгача дарс қолдириш максимал баллнинг тушишига сабаб бўлмайди;</a:t>
                      </a:r>
                      <a:endParaRPr lang="ru-RU" sz="800">
                        <a:effectLst/>
                      </a:endParaRPr>
                    </a:p>
                    <a:p>
                      <a:pPr algn="just">
                        <a:lnSpc>
                          <a:spcPct val="107000"/>
                        </a:lnSpc>
                        <a:spcAft>
                          <a:spcPts val="0"/>
                        </a:spcAft>
                      </a:pPr>
                      <a:r>
                        <a:rPr lang="uz-Cyrl-UZ" sz="1100">
                          <a:effectLst/>
                        </a:rPr>
                        <a:t>2. 1 семестр давомида сабабсиз равишда </a:t>
                      </a:r>
                      <a:br>
                        <a:rPr lang="uz-Cyrl-UZ" sz="1100">
                          <a:effectLst/>
                        </a:rPr>
                      </a:br>
                      <a:r>
                        <a:rPr lang="uz-Cyrl-UZ" sz="1100">
                          <a:effectLst/>
                        </a:rPr>
                        <a:t>10 соатдан 20 соатгача дарс қолдириш 3-4 балл билан баҳоланади;</a:t>
                      </a:r>
                      <a:endParaRPr lang="ru-RU" sz="800">
                        <a:effectLst/>
                      </a:endParaRPr>
                    </a:p>
                    <a:p>
                      <a:pPr algn="just">
                        <a:lnSpc>
                          <a:spcPct val="107000"/>
                        </a:lnSpc>
                        <a:spcAft>
                          <a:spcPts val="0"/>
                        </a:spcAft>
                      </a:pPr>
                      <a:r>
                        <a:rPr lang="uz-Cyrl-UZ" sz="1100">
                          <a:effectLst/>
                        </a:rPr>
                        <a:t>3. 20 соатдан 30 соатгача дарс қолдириш </a:t>
                      </a:r>
                      <a:br>
                        <a:rPr lang="uz-Cyrl-UZ" sz="1100">
                          <a:effectLst/>
                        </a:rPr>
                      </a:br>
                      <a:r>
                        <a:rPr lang="uz-Cyrl-UZ" sz="1100">
                          <a:effectLst/>
                        </a:rPr>
                        <a:t>2-3 балл билан баҳоланади;</a:t>
                      </a:r>
                      <a:endParaRPr lang="ru-RU" sz="800">
                        <a:effectLst/>
                      </a:endParaRPr>
                    </a:p>
                    <a:p>
                      <a:pPr algn="just">
                        <a:lnSpc>
                          <a:spcPct val="107000"/>
                        </a:lnSpc>
                        <a:spcAft>
                          <a:spcPts val="0"/>
                        </a:spcAft>
                      </a:pPr>
                      <a:r>
                        <a:rPr lang="uz-Cyrl-UZ" sz="1100">
                          <a:effectLst/>
                        </a:rPr>
                        <a:t>4. 1 семестр давомида 30 соатдан ортиқ дарс қолдирган талабага балл берилмайди.</a:t>
                      </a:r>
                      <a:endParaRPr lang="ru-RU" sz="800">
                        <a:effectLst/>
                        <a:latin typeface="Calibri" panose="020F0502020204030204" pitchFamily="34" charset="0"/>
                        <a:ea typeface="Calibri" panose="020F0502020204030204" pitchFamily="34" charset="0"/>
                        <a:cs typeface="Times New Roman" panose="02020603050405020304" pitchFamily="18" charset="0"/>
                      </a:endParaRPr>
                    </a:p>
                  </a:txBody>
                  <a:tcPr marL="52289" marR="52289" marT="0" marB="0"/>
                </a:tc>
                <a:tc>
                  <a:txBody>
                    <a:bodyPr/>
                    <a:lstStyle/>
                    <a:p>
                      <a:pPr algn="just">
                        <a:lnSpc>
                          <a:spcPct val="107000"/>
                        </a:lnSpc>
                        <a:spcAft>
                          <a:spcPts val="0"/>
                        </a:spcAft>
                      </a:pPr>
                      <a:r>
                        <a:rPr lang="uz-Cyrl-UZ" sz="1100">
                          <a:effectLst/>
                        </a:rPr>
                        <a:t>5</a:t>
                      </a:r>
                      <a:endParaRPr lang="ru-RU" sz="800">
                        <a:effectLst/>
                        <a:latin typeface="Calibri" panose="020F0502020204030204" pitchFamily="34" charset="0"/>
                        <a:ea typeface="Calibri" panose="020F0502020204030204" pitchFamily="34" charset="0"/>
                        <a:cs typeface="Times New Roman" panose="02020603050405020304" pitchFamily="18" charset="0"/>
                      </a:endParaRPr>
                    </a:p>
                  </a:txBody>
                  <a:tcPr marL="52289" marR="52289" marT="0" marB="0"/>
                </a:tc>
                <a:tc>
                  <a:txBody>
                    <a:bodyPr/>
                    <a:lstStyle/>
                    <a:p>
                      <a:pPr algn="just">
                        <a:lnSpc>
                          <a:spcPct val="107000"/>
                        </a:lnSpc>
                        <a:spcAft>
                          <a:spcPts val="0"/>
                        </a:spcAft>
                      </a:pPr>
                      <a:r>
                        <a:rPr lang="uz-Cyrl-UZ" sz="1100" dirty="0">
                          <a:effectLst/>
                        </a:rPr>
                        <a:t>«Ижтимоий фаоллик» платформаси орқали ҳар бир талабанинг шахсий телефонига ўрнатилган GPS дастури ёрдамида талабаларнинг ҳаракатлар тарихи, дарсларга ўз вақтида келиши ҳамда дарс жадвалига мувофиқ тегишли аудиторияларда дарсларга тўлиқ иштирок этиши қайд этиб борилади ва автоматик тарзда балл берилади</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2289" marR="52289" marT="0" marB="0"/>
                </a:tc>
                <a:extLst>
                  <a:ext uri="{0D108BD9-81ED-4DB2-BD59-A6C34878D82A}">
                    <a16:rowId xmlns:a16="http://schemas.microsoft.com/office/drawing/2014/main" val="1793208822"/>
                  </a:ext>
                </a:extLst>
              </a:tr>
            </a:tbl>
          </a:graphicData>
        </a:graphic>
      </p:graphicFrame>
    </p:spTree>
    <p:extLst>
      <p:ext uri="{BB962C8B-B14F-4D97-AF65-F5344CB8AC3E}">
        <p14:creationId xmlns:p14="http://schemas.microsoft.com/office/powerpoint/2010/main" val="10541118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17B9E7-01E9-42D5-8F5D-E014825C78C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6" imgW="351" imgH="351" progId="TCLayout.ActiveDocument.1">
                  <p:embed/>
                </p:oleObj>
              </mc:Choice>
              <mc:Fallback>
                <p:oleObj name="think-cell Slide" r:id="rId6" imgW="351" imgH="351" progId="TCLayout.ActiveDocument.1">
                  <p:embed/>
                  <p:pic>
                    <p:nvPicPr>
                      <p:cNvPr id="4" name="Object 3" hidden="1">
                        <a:extLst>
                          <a:ext uri="{FF2B5EF4-FFF2-40B4-BE49-F238E27FC236}">
                            <a16:creationId xmlns:a16="http://schemas.microsoft.com/office/drawing/2014/main" id="{BD17B9E7-01E9-42D5-8F5D-E014825C78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27F9D39-406C-47E5-89D6-F081726E66A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7021FE75-C335-4112-9A8E-80A794B675BF}"/>
              </a:ext>
            </a:extLst>
          </p:cNvPr>
          <p:cNvSpPr>
            <a:spLocks noGrp="1"/>
          </p:cNvSpPr>
          <p:nvPr>
            <p:ph type="title"/>
          </p:nvPr>
        </p:nvSpPr>
        <p:spPr/>
        <p:txBody>
          <a:bodyPr/>
          <a:lstStyle/>
          <a:p>
            <a:r>
              <a:rPr lang="ru-RU" b="1" dirty="0" err="1" smtClean="0"/>
              <a:t>Баҳолаш</a:t>
            </a:r>
            <a:r>
              <a:rPr lang="ru-RU" b="1" dirty="0" smtClean="0"/>
              <a:t> </a:t>
            </a:r>
            <a:r>
              <a:rPr lang="ru-RU" b="1" dirty="0" err="1" smtClean="0"/>
              <a:t>механизмлари</a:t>
            </a:r>
            <a:endParaRPr lang="en-ID" b="1" dirty="0"/>
          </a:p>
        </p:txBody>
      </p:sp>
      <p:sp>
        <p:nvSpPr>
          <p:cNvPr id="25" name="TextBox 24">
            <a:extLst>
              <a:ext uri="{FF2B5EF4-FFF2-40B4-BE49-F238E27FC236}">
                <a16:creationId xmlns:a16="http://schemas.microsoft.com/office/drawing/2014/main" id="{D98FD0C8-9116-4132-BDF9-A5186FAADD1A}"/>
              </a:ext>
            </a:extLst>
          </p:cNvPr>
          <p:cNvSpPr txBox="1"/>
          <p:nvPr/>
        </p:nvSpPr>
        <p:spPr>
          <a:xfrm>
            <a:off x="6675211" y="2234683"/>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1</a:t>
            </a:r>
          </a:p>
        </p:txBody>
      </p:sp>
      <p:sp>
        <p:nvSpPr>
          <p:cNvPr id="26" name="TextBox 25">
            <a:extLst>
              <a:ext uri="{FF2B5EF4-FFF2-40B4-BE49-F238E27FC236}">
                <a16:creationId xmlns:a16="http://schemas.microsoft.com/office/drawing/2014/main" id="{03A486F9-D21F-43F2-9267-47B6ACAB3897}"/>
              </a:ext>
            </a:extLst>
          </p:cNvPr>
          <p:cNvSpPr txBox="1"/>
          <p:nvPr/>
        </p:nvSpPr>
        <p:spPr>
          <a:xfrm>
            <a:off x="6675211" y="5015985"/>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3</a:t>
            </a:r>
          </a:p>
        </p:txBody>
      </p:sp>
      <p:sp>
        <p:nvSpPr>
          <p:cNvPr id="27" name="TextBox 26">
            <a:extLst>
              <a:ext uri="{FF2B5EF4-FFF2-40B4-BE49-F238E27FC236}">
                <a16:creationId xmlns:a16="http://schemas.microsoft.com/office/drawing/2014/main" id="{EEA6E1D3-5C3B-4863-9561-7D0C513D65C2}"/>
              </a:ext>
            </a:extLst>
          </p:cNvPr>
          <p:cNvSpPr txBox="1"/>
          <p:nvPr/>
        </p:nvSpPr>
        <p:spPr>
          <a:xfrm>
            <a:off x="7232195" y="3625334"/>
            <a:ext cx="390982" cy="369332"/>
          </a:xfrm>
          <a:prstGeom prst="rect">
            <a:avLst/>
          </a:prstGeom>
          <a:noFill/>
        </p:spPr>
        <p:txBody>
          <a:bodyPr wrap="square" lIns="0" tIns="0" rIns="0" bIns="0" anchor="ctr">
            <a:spAutoFit/>
          </a:bodyPr>
          <a:lstStyle/>
          <a:p>
            <a:pPr algn="ctr"/>
            <a:r>
              <a:rPr lang="en-ID" sz="2400" b="1" i="1" dirty="0">
                <a:solidFill>
                  <a:schemeClr val="bg1"/>
                </a:solidFill>
                <a:effectLst/>
              </a:rPr>
              <a:t>02</a:t>
            </a:r>
          </a:p>
        </p:txBody>
      </p:sp>
      <p:graphicFrame>
        <p:nvGraphicFramePr>
          <p:cNvPr id="5" name="Таблица 4"/>
          <p:cNvGraphicFramePr>
            <a:graphicFrameLocks noGrp="1"/>
          </p:cNvGraphicFramePr>
          <p:nvPr/>
        </p:nvGraphicFramePr>
        <p:xfrm>
          <a:off x="1136015" y="1832610"/>
          <a:ext cx="9919970" cy="4317175"/>
        </p:xfrm>
        <a:graphic>
          <a:graphicData uri="http://schemas.openxmlformats.org/drawingml/2006/table">
            <a:tbl>
              <a:tblPr firstRow="1" firstCol="1" bandRow="1">
                <a:tableStyleId>{5C22544A-7EE6-4342-B048-85BDC9FD1C3A}</a:tableStyleId>
              </a:tblPr>
              <a:tblGrid>
                <a:gridCol w="339090">
                  <a:extLst>
                    <a:ext uri="{9D8B030D-6E8A-4147-A177-3AD203B41FA5}">
                      <a16:colId xmlns:a16="http://schemas.microsoft.com/office/drawing/2014/main" val="2592171282"/>
                    </a:ext>
                  </a:extLst>
                </a:gridCol>
                <a:gridCol w="1929765">
                  <a:extLst>
                    <a:ext uri="{9D8B030D-6E8A-4147-A177-3AD203B41FA5}">
                      <a16:colId xmlns:a16="http://schemas.microsoft.com/office/drawing/2014/main" val="3617542878"/>
                    </a:ext>
                  </a:extLst>
                </a:gridCol>
                <a:gridCol w="3870325">
                  <a:extLst>
                    <a:ext uri="{9D8B030D-6E8A-4147-A177-3AD203B41FA5}">
                      <a16:colId xmlns:a16="http://schemas.microsoft.com/office/drawing/2014/main" val="2753662427"/>
                    </a:ext>
                  </a:extLst>
                </a:gridCol>
                <a:gridCol w="450215">
                  <a:extLst>
                    <a:ext uri="{9D8B030D-6E8A-4147-A177-3AD203B41FA5}">
                      <a16:colId xmlns:a16="http://schemas.microsoft.com/office/drawing/2014/main" val="2347090777"/>
                    </a:ext>
                  </a:extLst>
                </a:gridCol>
                <a:gridCol w="3330575">
                  <a:extLst>
                    <a:ext uri="{9D8B030D-6E8A-4147-A177-3AD203B41FA5}">
                      <a16:colId xmlns:a16="http://schemas.microsoft.com/office/drawing/2014/main" val="1793598964"/>
                    </a:ext>
                  </a:extLst>
                </a:gridCol>
              </a:tblGrid>
              <a:tr h="0">
                <a:tc>
                  <a:txBody>
                    <a:bodyPr/>
                    <a:lstStyle/>
                    <a:p>
                      <a:pPr algn="just">
                        <a:lnSpc>
                          <a:spcPct val="107000"/>
                        </a:lnSpc>
                        <a:spcAft>
                          <a:spcPts val="0"/>
                        </a:spcAft>
                      </a:pPr>
                      <a:r>
                        <a:rPr lang="uz-Cyrl-UZ" sz="1400">
                          <a:effectLst/>
                        </a:rPr>
                        <a:t>7</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Талабаларнинг «Маърифат дарси»даги фаол иштироки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Ҳар ҳафта 1 маротаба ўтказиладиган «Ахборот ва мураббийлик соати»да доимий иштироки – максимал 5 баллгача баҳоланади.</a:t>
                      </a:r>
                      <a:endParaRPr lang="ru-RU" sz="1100">
                        <a:effectLst/>
                      </a:endParaRPr>
                    </a:p>
                    <a:p>
                      <a:pPr algn="just">
                        <a:lnSpc>
                          <a:spcPct val="107000"/>
                        </a:lnSpc>
                        <a:spcAft>
                          <a:spcPts val="0"/>
                        </a:spcAft>
                      </a:pPr>
                      <a:r>
                        <a:rPr lang="uz-Cyrl-UZ" sz="1400">
                          <a:effectLst/>
                        </a:rPr>
                        <a:t>1. 1 ой давомида сабабли равишда 1 маротаба иштирок этмаслик баллнинг тушишига сабаб бўлмайди;</a:t>
                      </a:r>
                      <a:endParaRPr lang="ru-RU" sz="1100">
                        <a:effectLst/>
                      </a:endParaRPr>
                    </a:p>
                    <a:p>
                      <a:pPr algn="just">
                        <a:lnSpc>
                          <a:spcPct val="107000"/>
                        </a:lnSpc>
                        <a:spcAft>
                          <a:spcPts val="0"/>
                        </a:spcAft>
                      </a:pPr>
                      <a:r>
                        <a:rPr lang="uz-Cyrl-UZ" sz="1400">
                          <a:effectLst/>
                        </a:rPr>
                        <a:t>2. 1 ой давомида сабабсиз равишда 1 маротаба иштирок этмаслик 4 балл билан баҳоланади;</a:t>
                      </a:r>
                      <a:endParaRPr lang="ru-RU" sz="1100">
                        <a:effectLst/>
                      </a:endParaRPr>
                    </a:p>
                    <a:p>
                      <a:pPr algn="just">
                        <a:lnSpc>
                          <a:spcPct val="107000"/>
                        </a:lnSpc>
                        <a:spcAft>
                          <a:spcPts val="0"/>
                        </a:spcAft>
                      </a:pPr>
                      <a:r>
                        <a:rPr lang="uz-Cyrl-UZ" sz="1400">
                          <a:effectLst/>
                        </a:rPr>
                        <a:t>3. 1 ой давомида сабабсиз равишда 2 маротаба иштирок этмаслик 2 балл билан баҳоланади;</a:t>
                      </a:r>
                      <a:endParaRPr lang="ru-RU" sz="1100">
                        <a:effectLst/>
                      </a:endParaRPr>
                    </a:p>
                    <a:p>
                      <a:pPr algn="just">
                        <a:lnSpc>
                          <a:spcPct val="107000"/>
                        </a:lnSpc>
                        <a:spcAft>
                          <a:spcPts val="0"/>
                        </a:spcAft>
                      </a:pPr>
                      <a:r>
                        <a:rPr lang="uz-Cyrl-UZ" sz="1400">
                          <a:effectLst/>
                        </a:rPr>
                        <a:t>4. 1 ой давомида сабабсиз равишда 3 маротаба иштирок этмаган талабага балл берилмайди.</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US" sz="1400">
                          <a:effectLst/>
                        </a:rPr>
                        <a:t>5</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Ижтимоий фаоллик» платформаси орқали ҳар бир талабанинг шахсий телефонига ўрнатилган GPS дастури ёрдамида талабаларнинг дарс жадвалига мувофиқ тегишли аудиторияда «Ахборот ва мураббийлик соати»га фаол иштироки қайд этиб борилади ва автоматик тарзда балл берилади</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3525973"/>
                  </a:ext>
                </a:extLst>
              </a:tr>
              <a:tr h="0">
                <a:tc>
                  <a:txBody>
                    <a:bodyPr/>
                    <a:lstStyle/>
                    <a:p>
                      <a:pPr algn="just">
                        <a:lnSpc>
                          <a:spcPct val="107000"/>
                        </a:lnSpc>
                        <a:spcAft>
                          <a:spcPts val="0"/>
                        </a:spcAft>
                      </a:pPr>
                      <a:r>
                        <a:rPr lang="uz-Cyrl-UZ" sz="1400">
                          <a:effectLst/>
                        </a:rPr>
                        <a:t>8</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Волонтёрлик ва жамоат ишларидаги фаоллиги</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1. Турли маънавий-маърифий тадбирлар; </a:t>
                      </a:r>
                      <a:endParaRPr lang="ru-RU" sz="1100">
                        <a:effectLst/>
                      </a:endParaRPr>
                    </a:p>
                    <a:p>
                      <a:pPr algn="just">
                        <a:lnSpc>
                          <a:spcPct val="107000"/>
                        </a:lnSpc>
                        <a:spcAft>
                          <a:spcPts val="0"/>
                        </a:spcAft>
                      </a:pPr>
                      <a:r>
                        <a:rPr lang="uz-Cyrl-UZ" sz="1400">
                          <a:effectLst/>
                        </a:rPr>
                        <a:t>2. Умумхалқ байрамлари;</a:t>
                      </a:r>
                      <a:endParaRPr lang="ru-RU" sz="1100">
                        <a:effectLst/>
                      </a:endParaRPr>
                    </a:p>
                    <a:p>
                      <a:pPr algn="just">
                        <a:lnSpc>
                          <a:spcPct val="107000"/>
                        </a:lnSpc>
                        <a:spcAft>
                          <a:spcPts val="0"/>
                        </a:spcAft>
                      </a:pPr>
                      <a:r>
                        <a:rPr lang="uz-Cyrl-UZ" sz="1400">
                          <a:effectLst/>
                        </a:rPr>
                        <a:t>3. Умумхалқ ҳашарлари;</a:t>
                      </a:r>
                      <a:endParaRPr lang="ru-RU" sz="1100">
                        <a:effectLst/>
                      </a:endParaRPr>
                    </a:p>
                    <a:p>
                      <a:pPr algn="just">
                        <a:lnSpc>
                          <a:spcPct val="107000"/>
                        </a:lnSpc>
                        <a:spcAft>
                          <a:spcPts val="0"/>
                        </a:spcAft>
                      </a:pPr>
                      <a:r>
                        <a:rPr lang="uz-Cyrl-UZ" sz="1400">
                          <a:effectLst/>
                        </a:rPr>
                        <a:t>4. Таълим муассасаси томонидан ташкил этилган жамоатчилик ишлари;</a:t>
                      </a:r>
                      <a:endParaRPr lang="ru-RU" sz="1100">
                        <a:effectLst/>
                      </a:endParaRPr>
                    </a:p>
                    <a:p>
                      <a:pPr algn="just">
                        <a:lnSpc>
                          <a:spcPct val="107000"/>
                        </a:lnSpc>
                        <a:spcAft>
                          <a:spcPts val="0"/>
                        </a:spcAft>
                      </a:pPr>
                      <a:r>
                        <a:rPr lang="uz-Cyrl-UZ" sz="1400">
                          <a:effectLst/>
                        </a:rPr>
                        <a:t>5. Волонтёрлик фаолияти, ташкилотчилиги, ташаббускорлиги инобатга олинади.</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a:effectLst/>
                        </a:rPr>
                        <a:t>5</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uz-Cyrl-UZ" sz="1400" dirty="0">
                          <a:effectLst/>
                        </a:rPr>
                        <a:t>Ҳар семестр якунида тьютор томонидан талабанинг волонтёрлик ва жамоат ишларидаги фаоллиги 5 баллгача баҳоланган ҳолда платформага киритилади.</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341923193"/>
                  </a:ext>
                </a:extLst>
              </a:tr>
            </a:tbl>
          </a:graphicData>
        </a:graphic>
      </p:graphicFrame>
    </p:spTree>
    <p:extLst>
      <p:ext uri="{BB962C8B-B14F-4D97-AF65-F5344CB8AC3E}">
        <p14:creationId xmlns:p14="http://schemas.microsoft.com/office/powerpoint/2010/main" val="37793323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eENiJehwduSO6RgdS14D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eENiJehwduSO6RgdS14D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eENiJehwduSO6RgdS14D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eENiJehwduSO6RgdS14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eENiJehwduSO6RgdS14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eENiJehwduSO6RgdS14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eENiJehwduSO6RgdS14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eENiJehwduSO6RgdS14D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Другая 4">
      <a:dk1>
        <a:srgbClr val="002060"/>
      </a:dk1>
      <a:lt1>
        <a:sysClr val="window" lastClr="FFFFFF"/>
      </a:lt1>
      <a:dk2>
        <a:srgbClr val="2C3C43"/>
      </a:dk2>
      <a:lt2>
        <a:srgbClr val="EBEBEB"/>
      </a:lt2>
      <a:accent1>
        <a:srgbClr val="0F7597"/>
      </a:accent1>
      <a:accent2>
        <a:srgbClr val="002060"/>
      </a:accent2>
      <a:accent3>
        <a:srgbClr val="42D0A2"/>
      </a:accent3>
      <a:accent4>
        <a:srgbClr val="2E946B"/>
      </a:accent4>
      <a:accent5>
        <a:srgbClr val="42B051"/>
      </a:accent5>
      <a:accent6>
        <a:srgbClr val="96D141"/>
      </a:accent6>
      <a:hlink>
        <a:srgbClr val="3FCDE7"/>
      </a:hlink>
      <a:folHlink>
        <a:srgbClr val="A9D3E1"/>
      </a:folHlink>
    </a:clrScheme>
    <a:fontScheme name="Тема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72</TotalTime>
  <Words>1478</Words>
  <Application>Microsoft Office PowerPoint</Application>
  <PresentationFormat>Широкоэкранный</PresentationFormat>
  <Paragraphs>188</Paragraphs>
  <Slides>12</Slides>
  <Notes>8</Notes>
  <HiddenSlides>0</HiddenSlides>
  <MMClips>0</MMClips>
  <ScaleCrop>false</ScaleCrop>
  <HeadingPairs>
    <vt:vector size="8" baseType="variant">
      <vt:variant>
        <vt:lpstr>Использованные шрифты</vt:lpstr>
      </vt:variant>
      <vt:variant>
        <vt:i4>6</vt:i4>
      </vt:variant>
      <vt:variant>
        <vt:lpstr>Тема</vt:lpstr>
      </vt:variant>
      <vt:variant>
        <vt:i4>1</vt:i4>
      </vt:variant>
      <vt:variant>
        <vt:lpstr>Внедренные серверы OLE</vt:lpstr>
      </vt:variant>
      <vt:variant>
        <vt:i4>1</vt:i4>
      </vt:variant>
      <vt:variant>
        <vt:lpstr>Заголовки слайдов</vt:lpstr>
      </vt:variant>
      <vt:variant>
        <vt:i4>12</vt:i4>
      </vt:variant>
    </vt:vector>
  </HeadingPairs>
  <TitlesOfParts>
    <vt:vector size="20" baseType="lpstr">
      <vt:lpstr>Arial</vt:lpstr>
      <vt:lpstr>Calibri</vt:lpstr>
      <vt:lpstr>Calibri Light</vt:lpstr>
      <vt:lpstr>Georgia</vt:lpstr>
      <vt:lpstr>Segoe UI</vt:lpstr>
      <vt:lpstr>Times New Roman</vt:lpstr>
      <vt:lpstr>Office Theme</vt:lpstr>
      <vt:lpstr>think-cell Slide</vt:lpstr>
      <vt:lpstr>Презентация PowerPoint</vt:lpstr>
      <vt:lpstr>Презентация PowerPoint</vt:lpstr>
      <vt:lpstr>Кредит-модул тизимида маънавий-маърифий тарбия жараёни </vt:lpstr>
      <vt:lpstr>Баҳолаш механизмлари</vt:lpstr>
      <vt:lpstr>Баҳолаш механизмлари</vt:lpstr>
      <vt:lpstr>Баҳолаш механизмлари</vt:lpstr>
      <vt:lpstr>Баҳолаш механизмлари</vt:lpstr>
      <vt:lpstr>Баҳолаш механизмлари</vt:lpstr>
      <vt:lpstr>Баҳолаш механизмлари</vt:lpstr>
      <vt:lpstr>Баҳолаш механизмлари</vt:lpstr>
      <vt:lpstr>Баҳолаш механизмлари</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ME OF  PRESENTATION</dc:title>
  <dc:creator>user</dc:creator>
  <cp:lastModifiedBy>Lenovo</cp:lastModifiedBy>
  <cp:revision>179</cp:revision>
  <dcterms:created xsi:type="dcterms:W3CDTF">2021-06-25T08:46:26Z</dcterms:created>
  <dcterms:modified xsi:type="dcterms:W3CDTF">2025-04-21T06:12:38Z</dcterms:modified>
</cp:coreProperties>
</file>